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327" r:id="rId2"/>
    <p:sldId id="328" r:id="rId3"/>
    <p:sldId id="329" r:id="rId4"/>
    <p:sldId id="330" r:id="rId5"/>
    <p:sldId id="331" r:id="rId6"/>
    <p:sldId id="332" r:id="rId7"/>
    <p:sldId id="333" r:id="rId8"/>
    <p:sldId id="334" r:id="rId9"/>
    <p:sldId id="335" r:id="rId10"/>
    <p:sldId id="274" r:id="rId11"/>
    <p:sldId id="336" r:id="rId12"/>
    <p:sldId id="337" r:id="rId13"/>
    <p:sldId id="338" r:id="rId14"/>
    <p:sldId id="339" r:id="rId15"/>
    <p:sldId id="340" r:id="rId16"/>
    <p:sldId id="341" r:id="rId17"/>
    <p:sldId id="342" r:id="rId18"/>
    <p:sldId id="34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0000"/>
    <a:srgbClr val="F6443B"/>
    <a:srgbClr val="B0F7F4"/>
    <a:srgbClr val="125680"/>
    <a:srgbClr val="0C152C"/>
    <a:srgbClr val="070C1E"/>
    <a:srgbClr val="1221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99" autoAdjust="0"/>
    <p:restoredTop sz="94660"/>
  </p:normalViewPr>
  <p:slideViewPr>
    <p:cSldViewPr snapToGrid="0">
      <p:cViewPr varScale="1">
        <p:scale>
          <a:sx n="111" d="100"/>
          <a:sy n="111" d="100"/>
        </p:scale>
        <p:origin x="58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lumMod val="50000"/>
                </a:schemeClr>
              </a:solidFill>
              <a:ln>
                <a:noFill/>
              </a:ln>
              <a:effectLst/>
            </c:spPr>
            <c:extLst>
              <c:ext xmlns:c16="http://schemas.microsoft.com/office/drawing/2014/chart" uri="{C3380CC4-5D6E-409C-BE32-E72D297353CC}">
                <c16:uniqueId val="{00000004-1F5A-4660-9880-BC2FFE62A223}"/>
              </c:ext>
            </c:extLst>
          </c:dPt>
          <c:dPt>
            <c:idx val="1"/>
            <c:invertIfNegative val="0"/>
            <c:bubble3D val="0"/>
            <c:spPr>
              <a:solidFill>
                <a:schemeClr val="accent1">
                  <a:lumMod val="75000"/>
                </a:schemeClr>
              </a:solidFill>
              <a:ln>
                <a:noFill/>
              </a:ln>
              <a:effectLst/>
            </c:spPr>
            <c:extLst>
              <c:ext xmlns:c16="http://schemas.microsoft.com/office/drawing/2014/chart" uri="{C3380CC4-5D6E-409C-BE32-E72D297353CC}">
                <c16:uniqueId val="{00000006-1F5A-4660-9880-BC2FFE62A223}"/>
              </c:ext>
            </c:extLst>
          </c:dPt>
          <c:dPt>
            <c:idx val="2"/>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5-1F5A-4660-9880-BC2FFE62A223}"/>
              </c:ext>
            </c:extLst>
          </c:dPt>
          <c:dPt>
            <c:idx val="3"/>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7-1F5A-4660-9880-BC2FFE62A22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F5A-4660-9880-BC2FFE62A223}"/>
            </c:ext>
          </c:extLst>
        </c:ser>
        <c:dLbls>
          <c:showLegendKey val="0"/>
          <c:showVal val="0"/>
          <c:showCatName val="0"/>
          <c:showSerName val="0"/>
          <c:showPercent val="0"/>
          <c:showBubbleSize val="0"/>
        </c:dLbls>
        <c:gapWidth val="106"/>
        <c:overlap val="-17"/>
        <c:axId val="1547025200"/>
        <c:axId val="1547025616"/>
      </c:barChart>
      <c:catAx>
        <c:axId val="1547025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47025616"/>
        <c:crosses val="autoZero"/>
        <c:auto val="1"/>
        <c:lblAlgn val="ctr"/>
        <c:lblOffset val="100"/>
        <c:noMultiLvlLbl val="0"/>
      </c:catAx>
      <c:valAx>
        <c:axId val="1547025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47025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1">
                  <a:lumMod val="75000"/>
                </a:schemeClr>
              </a:solidFill>
              <a:ln w="19050">
                <a:noFill/>
              </a:ln>
              <a:effectLst/>
            </c:spPr>
            <c:extLst>
              <c:ext xmlns:c16="http://schemas.microsoft.com/office/drawing/2014/chart" uri="{C3380CC4-5D6E-409C-BE32-E72D297353CC}">
                <c16:uniqueId val="{00000001-2DB3-46EA-82FA-166030EF326E}"/>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2DB3-46EA-82FA-166030EF326E}"/>
              </c:ext>
            </c:extLst>
          </c:dPt>
          <c:cat>
            <c:strRef>
              <c:f>Sheet1!$A$2:$A$3</c:f>
              <c:strCache>
                <c:ptCount val="2"/>
                <c:pt idx="0">
                  <c:v>1st Qtr</c:v>
                </c:pt>
                <c:pt idx="1">
                  <c:v>2nd Qtr</c:v>
                </c:pt>
              </c:strCache>
            </c:strRef>
          </c:cat>
          <c:val>
            <c:numRef>
              <c:f>Sheet1!$B$2:$B$3</c:f>
              <c:numCache>
                <c:formatCode>0%</c:formatCode>
                <c:ptCount val="2"/>
                <c:pt idx="0">
                  <c:v>0.75</c:v>
                </c:pt>
                <c:pt idx="1">
                  <c:v>0.25</c:v>
                </c:pt>
              </c:numCache>
            </c:numRef>
          </c:val>
          <c:extLst>
            <c:ext xmlns:c16="http://schemas.microsoft.com/office/drawing/2014/chart" uri="{C3380CC4-5D6E-409C-BE32-E72D297353CC}">
              <c16:uniqueId val="{00000004-2DB3-46EA-82FA-166030EF326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3">
                  <a:lumMod val="20000"/>
                  <a:lumOff val="80000"/>
                </a:schemeClr>
              </a:solidFill>
              <a:ln w="19050">
                <a:noFill/>
              </a:ln>
              <a:effectLst/>
            </c:spPr>
            <c:extLst>
              <c:ext xmlns:c16="http://schemas.microsoft.com/office/drawing/2014/chart" uri="{C3380CC4-5D6E-409C-BE32-E72D297353CC}">
                <c16:uniqueId val="{00000001-5780-4014-B3A0-2BD1E4929AE8}"/>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5780-4014-B3A0-2BD1E4929AE8}"/>
              </c:ext>
            </c:extLst>
          </c:dPt>
          <c:cat>
            <c:strRef>
              <c:f>Sheet1!$A$2:$A$3</c:f>
              <c:strCache>
                <c:ptCount val="2"/>
                <c:pt idx="0">
                  <c:v>1st Qtr</c:v>
                </c:pt>
                <c:pt idx="1">
                  <c:v>2nd Qtr</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4-5780-4014-B3A0-2BD1E4929AE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3">
                  <a:lumMod val="40000"/>
                  <a:lumOff val="60000"/>
                </a:schemeClr>
              </a:solidFill>
              <a:ln w="19050">
                <a:noFill/>
              </a:ln>
              <a:effectLst/>
            </c:spPr>
            <c:extLst>
              <c:ext xmlns:c16="http://schemas.microsoft.com/office/drawing/2014/chart" uri="{C3380CC4-5D6E-409C-BE32-E72D297353CC}">
                <c16:uniqueId val="{00000001-89BE-458A-8566-37FC9EB79D5D}"/>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89BE-458A-8566-37FC9EB79D5D}"/>
              </c:ext>
            </c:extLst>
          </c:dPt>
          <c:cat>
            <c:strRef>
              <c:f>Sheet1!$A$2:$A$3</c:f>
              <c:strCache>
                <c:ptCount val="2"/>
                <c:pt idx="0">
                  <c:v>1st Qtr</c:v>
                </c:pt>
                <c:pt idx="1">
                  <c:v>2nd Qtr</c:v>
                </c:pt>
              </c:strCache>
            </c:strRef>
          </c:cat>
          <c:val>
            <c:numRef>
              <c:f>Sheet1!$B$2:$B$3</c:f>
              <c:numCache>
                <c:formatCode>0%</c:formatCode>
                <c:ptCount val="2"/>
                <c:pt idx="0">
                  <c:v>0.86699999999999999</c:v>
                </c:pt>
                <c:pt idx="1">
                  <c:v>0.13300000000000001</c:v>
                </c:pt>
              </c:numCache>
            </c:numRef>
          </c:val>
          <c:extLst>
            <c:ext xmlns:c16="http://schemas.microsoft.com/office/drawing/2014/chart" uri="{C3380CC4-5D6E-409C-BE32-E72D297353CC}">
              <c16:uniqueId val="{00000004-89BE-458A-8566-37FC9EB79D5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lumMod val="20000"/>
                <a:lumOff val="80000"/>
              </a:schemeClr>
            </a:solidFill>
            <a:ln>
              <a:noFill/>
            </a:ln>
          </c:spPr>
          <c:dPt>
            <c:idx val="0"/>
            <c:bubble3D val="0"/>
            <c:spPr>
              <a:solidFill>
                <a:schemeClr val="accent1">
                  <a:lumMod val="90000"/>
                </a:schemeClr>
              </a:solidFill>
              <a:ln w="19050">
                <a:noFill/>
              </a:ln>
              <a:effectLst/>
            </c:spPr>
            <c:extLst>
              <c:ext xmlns:c16="http://schemas.microsoft.com/office/drawing/2014/chart" uri="{C3380CC4-5D6E-409C-BE32-E72D297353CC}">
                <c16:uniqueId val="{00000001-A4E2-4022-9613-9C6763EA0818}"/>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A4E2-4022-9613-9C6763EA0818}"/>
              </c:ext>
            </c:extLst>
          </c:dPt>
          <c:cat>
            <c:strRef>
              <c:f>Sheet1!$A$2:$A$3</c:f>
              <c:strCache>
                <c:ptCount val="2"/>
                <c:pt idx="0">
                  <c:v>1st Qtr</c:v>
                </c:pt>
                <c:pt idx="1">
                  <c:v>2nd Qtr</c:v>
                </c:pt>
              </c:strCache>
            </c:strRef>
          </c:cat>
          <c:val>
            <c:numRef>
              <c:f>Sheet1!$B$2:$B$3</c:f>
              <c:numCache>
                <c:formatCode>0%</c:formatCode>
                <c:ptCount val="2"/>
                <c:pt idx="0">
                  <c:v>0.57799999999999996</c:v>
                </c:pt>
                <c:pt idx="1">
                  <c:v>0.42199999999999999</c:v>
                </c:pt>
              </c:numCache>
            </c:numRef>
          </c:val>
          <c:extLst>
            <c:ext xmlns:c16="http://schemas.microsoft.com/office/drawing/2014/chart" uri="{C3380CC4-5D6E-409C-BE32-E72D297353CC}">
              <c16:uniqueId val="{00000004-A4E2-4022-9613-9C6763EA081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1E6909-83F1-4324-83D2-287D668823ED}" type="datetimeFigureOut">
              <a:rPr lang="en-US" smtClean="0"/>
              <a:t>4/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B29122-58DF-4E14-BE8A-E1ABE85C67C7}" type="slidenum">
              <a:rPr lang="en-US" smtClean="0"/>
              <a:t>‹#›</a:t>
            </a:fld>
            <a:endParaRPr lang="en-US"/>
          </a:p>
        </p:txBody>
      </p:sp>
    </p:spTree>
    <p:extLst>
      <p:ext uri="{BB962C8B-B14F-4D97-AF65-F5344CB8AC3E}">
        <p14:creationId xmlns:p14="http://schemas.microsoft.com/office/powerpoint/2010/main" val="2086008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medienstuermer?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business?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www.pexels.com/id-id/foto/wanita-kreatif-buku-catatan-kafe-4350172/?utm_content=attributionCopyText&amp;utm_medium=referral&amp;utm_source=pexels" TargetMode="External"/><Relationship Id="rId3" Type="http://schemas.openxmlformats.org/officeDocument/2006/relationships/hyperlink" Target="https://www.pexels.com/id-id/@elsimage?utm_content=attributionCopyText&amp;utm_medium=referral&amp;utm_source=pexels" TargetMode="External"/><Relationship Id="rId7" Type="http://schemas.openxmlformats.org/officeDocument/2006/relationships/hyperlink" Target="https://www.pexels.com/id-id/@ketut-subiyanto?utm_content=attributionCopyText&amp;utm_medium=referral&amp;utm_source=pexels"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pexels.com/id-id/foto/pengusaha-pebisnis-pria-laki-laki-3778876/?utm_content=attributionCopyText&amp;utm_medium=referral&amp;utm_source=pexels" TargetMode="External"/><Relationship Id="rId5" Type="http://schemas.openxmlformats.org/officeDocument/2006/relationships/hyperlink" Target="https://www.pexels.com/id-id/@olly?utm_content=attributionCopyText&amp;utm_medium=referral&amp;utm_source=pexels" TargetMode="External"/><Relationship Id="rId10" Type="http://schemas.openxmlformats.org/officeDocument/2006/relationships/hyperlink" Target="https://www.pexels.com/id-id/foto/pria-laki-laki-lelaki-orang-3759057/?utm_content=attributionCopyText&amp;utm_medium=referral&amp;utm_source=pexels" TargetMode="External"/><Relationship Id="rId4" Type="http://schemas.openxmlformats.org/officeDocument/2006/relationships/hyperlink" Target="https://www.pexels.com/id-id/foto/fashion-fesyen-ganteng-gaya-2216607/?utm_content=attributionCopyText&amp;utm_medium=referral&amp;utm_source=pexels" TargetMode="External"/><Relationship Id="rId9" Type="http://schemas.openxmlformats.org/officeDocument/2006/relationships/hyperlink" Target="https://www.pexels.com/id-id/@bongkarn-thanyakij-683719?utm_content=attributionCopyText&amp;utm_medium=referral&amp;utm_source=pexels" TargetMode="Externa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unsplash.com/@eastmeetsdress?utm_source=unsplash&amp;utm_medium=referral&amp;utm_content=creditCopyText" TargetMode="External"/><Relationship Id="rId13" Type="http://schemas.openxmlformats.org/officeDocument/2006/relationships/hyperlink" Target="https://unsplash.com/s/photos/business-woman?utm_source=unsplash&amp;utm_medium=referral&amp;utm_content=creditCopyText" TargetMode="External"/><Relationship Id="rId3" Type="http://schemas.openxmlformats.org/officeDocument/2006/relationships/hyperlink" Target="https://unsplash.com/@alimorshedlou?utm_source=unsplash&amp;utm_medium=referral&amp;utm_content=creditCopyText" TargetMode="External"/><Relationship Id="rId7" Type="http://schemas.openxmlformats.org/officeDocument/2006/relationships/hyperlink" Target="https://unsplash.com/s/photos/african-business-man?utm_source=unsplash&amp;utm_medium=referral&amp;utm_content=creditCopyText" TargetMode="External"/><Relationship Id="rId12" Type="http://schemas.openxmlformats.org/officeDocument/2006/relationships/hyperlink" Target="https://unsplash.com/@wocintechchat?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unsplash.com/@fortunevieyra?utm_source=unsplash&amp;utm_medium=referral&amp;utm_content=creditCopyText" TargetMode="External"/><Relationship Id="rId11" Type="http://schemas.openxmlformats.org/officeDocument/2006/relationships/hyperlink" Target="https://unsplash.com/s/photos/asian-business-man?utm_source=unsplash&amp;utm_medium=referral&amp;utm_content=creditCopyText" TargetMode="External"/><Relationship Id="rId5" Type="http://schemas.openxmlformats.org/officeDocument/2006/relationships/hyperlink" Target="https://unsplash.com/@linkedinsalesnavigator?utm_source=unsplash&amp;utm_medium=referral&amp;utm_content=creditCopyText" TargetMode="External"/><Relationship Id="rId10" Type="http://schemas.openxmlformats.org/officeDocument/2006/relationships/hyperlink" Target="https://unsplash.com/@bryanp?utm_source=unsplash&amp;utm_medium=referral&amp;utm_content=creditCopyText" TargetMode="External"/><Relationship Id="rId4" Type="http://schemas.openxmlformats.org/officeDocument/2006/relationships/hyperlink" Target="https://unsplash.com/s/photos/business-man?utm_source=unsplash&amp;utm_medium=referral&amp;utm_content=creditCopyText" TargetMode="External"/><Relationship Id="rId9" Type="http://schemas.openxmlformats.org/officeDocument/2006/relationships/hyperlink" Target="https://unsplash.com/s/photos/chinese-girl?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hazardos?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customer-service?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Medienstürmer</a:t>
            </a:r>
            <a:r>
              <a:rPr lang="en-US" dirty="0"/>
              <a:t> on </a:t>
            </a:r>
            <a:r>
              <a:rPr lang="en-US" dirty="0" err="1">
                <a:hlinkClick r:id="rId4"/>
              </a:rPr>
              <a:t>Unsplash</a:t>
            </a:r>
            <a:r>
              <a:rPr lang="en-US" dirty="0"/>
              <a:t> </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1081689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b="0" i="0" dirty="0" err="1">
                <a:solidFill>
                  <a:srgbClr val="1A1A1A"/>
                </a:solidFill>
                <a:effectLst/>
                <a:latin typeface="-apple-system"/>
              </a:rPr>
              <a:t>Foto</a:t>
            </a:r>
            <a:r>
              <a:rPr lang="en-ID" b="0" i="0" dirty="0">
                <a:solidFill>
                  <a:srgbClr val="1A1A1A"/>
                </a:solidFill>
                <a:effectLst/>
                <a:latin typeface="-apple-system"/>
              </a:rPr>
              <a:t> oleh </a:t>
            </a:r>
            <a:r>
              <a:rPr lang="en-ID" b="1" i="0" u="none" strike="noStrike" dirty="0" err="1">
                <a:solidFill>
                  <a:srgbClr val="1A1A1A"/>
                </a:solidFill>
                <a:effectLst/>
                <a:latin typeface="-apple-system"/>
                <a:hlinkClick r:id="rId3"/>
              </a:rPr>
              <a:t>Dellon</a:t>
            </a:r>
            <a:r>
              <a:rPr lang="en-ID" b="1" i="0" u="none" strike="noStrike" dirty="0">
                <a:solidFill>
                  <a:srgbClr val="1A1A1A"/>
                </a:solidFill>
                <a:effectLst/>
                <a:latin typeface="-apple-system"/>
                <a:hlinkClick r:id="rId3"/>
              </a:rPr>
              <a:t> Thomas</a:t>
            </a:r>
            <a:r>
              <a:rPr lang="en-ID" b="0" i="0" dirty="0">
                <a:solidFill>
                  <a:srgbClr val="1A1A1A"/>
                </a:solidFill>
                <a:effectLst/>
                <a:latin typeface="-apple-system"/>
              </a:rPr>
              <a:t> </a:t>
            </a:r>
            <a:r>
              <a:rPr lang="en-ID" b="0" i="0" dirty="0" err="1">
                <a:solidFill>
                  <a:srgbClr val="1A1A1A"/>
                </a:solidFill>
                <a:effectLst/>
                <a:latin typeface="-apple-system"/>
              </a:rPr>
              <a:t>dari</a:t>
            </a:r>
            <a:r>
              <a:rPr lang="en-ID" b="0" i="0" dirty="0">
                <a:solidFill>
                  <a:srgbClr val="1A1A1A"/>
                </a:solidFill>
                <a:effectLst/>
                <a:latin typeface="-apple-system"/>
              </a:rPr>
              <a:t> </a:t>
            </a:r>
            <a:r>
              <a:rPr lang="en-ID" b="1" i="0" u="none" strike="noStrike" dirty="0" err="1">
                <a:solidFill>
                  <a:srgbClr val="1A1A1A"/>
                </a:solidFill>
                <a:effectLst/>
                <a:latin typeface="-apple-system"/>
                <a:hlinkClick r:id="rId4"/>
              </a:rPr>
              <a:t>Pexels</a:t>
            </a:r>
            <a:endParaRPr lang="en-ID" b="1" i="0" u="none" strike="noStrike" dirty="0">
              <a:solidFill>
                <a:srgbClr val="1A1A1A"/>
              </a:solidFill>
              <a:effectLst/>
              <a:latin typeface="-apple-system"/>
            </a:endParaRPr>
          </a:p>
          <a:p>
            <a:r>
              <a:rPr lang="it-IT" b="0" i="0" dirty="0">
                <a:solidFill>
                  <a:srgbClr val="1A1A1A"/>
                </a:solidFill>
                <a:effectLst/>
                <a:latin typeface="-apple-system"/>
              </a:rPr>
              <a:t>Foto oleh </a:t>
            </a:r>
            <a:r>
              <a:rPr lang="it-IT" b="1" i="0" u="none" strike="noStrike" dirty="0">
                <a:solidFill>
                  <a:srgbClr val="1A1A1A"/>
                </a:solidFill>
                <a:effectLst/>
                <a:latin typeface="-apple-system"/>
                <a:hlinkClick r:id="rId5"/>
              </a:rPr>
              <a:t>Andrea Piacquadio</a:t>
            </a:r>
            <a:r>
              <a:rPr lang="it-IT" b="0" i="0" dirty="0">
                <a:solidFill>
                  <a:srgbClr val="1A1A1A"/>
                </a:solidFill>
                <a:effectLst/>
                <a:latin typeface="-apple-system"/>
              </a:rPr>
              <a:t> dari </a:t>
            </a:r>
            <a:r>
              <a:rPr lang="it-IT" b="1" i="0" u="none" strike="noStrike" dirty="0">
                <a:solidFill>
                  <a:srgbClr val="1A1A1A"/>
                </a:solidFill>
                <a:effectLst/>
                <a:latin typeface="-apple-system"/>
                <a:hlinkClick r:id="rId6"/>
              </a:rPr>
              <a:t>Pexels</a:t>
            </a:r>
            <a:endParaRPr lang="en-ID" b="1" i="0" u="none" strike="noStrike" dirty="0">
              <a:solidFill>
                <a:srgbClr val="1A1A1A"/>
              </a:solidFill>
              <a:effectLst/>
              <a:latin typeface="-apple-system"/>
            </a:endParaRPr>
          </a:p>
          <a:p>
            <a:r>
              <a:rPr lang="it-IT" b="0" i="0" dirty="0">
                <a:solidFill>
                  <a:srgbClr val="1A1A1A"/>
                </a:solidFill>
                <a:effectLst/>
                <a:latin typeface="-apple-system"/>
              </a:rPr>
              <a:t>Foto oleh </a:t>
            </a:r>
            <a:r>
              <a:rPr lang="it-IT" b="1" i="0" u="none" strike="noStrike" dirty="0">
                <a:solidFill>
                  <a:srgbClr val="1A1A1A"/>
                </a:solidFill>
                <a:effectLst/>
                <a:latin typeface="-apple-system"/>
                <a:hlinkClick r:id="rId7"/>
              </a:rPr>
              <a:t>Ketut Subiyanto</a:t>
            </a:r>
            <a:r>
              <a:rPr lang="it-IT" b="0" i="0" dirty="0">
                <a:solidFill>
                  <a:srgbClr val="1A1A1A"/>
                </a:solidFill>
                <a:effectLst/>
                <a:latin typeface="-apple-system"/>
              </a:rPr>
              <a:t> dari </a:t>
            </a:r>
            <a:r>
              <a:rPr lang="it-IT" b="1" i="0" u="none" strike="noStrike" dirty="0">
                <a:solidFill>
                  <a:srgbClr val="1A1A1A"/>
                </a:solidFill>
                <a:effectLst/>
                <a:latin typeface="-apple-system"/>
                <a:hlinkClick r:id="rId8"/>
              </a:rPr>
              <a:t>Pexels</a:t>
            </a:r>
            <a:endParaRPr lang="it-IT" b="1" i="0" u="none" strike="noStrike" dirty="0">
              <a:solidFill>
                <a:srgbClr val="1A1A1A"/>
              </a:solidFill>
              <a:effectLst/>
              <a:latin typeface="-apple-system"/>
            </a:endParaRPr>
          </a:p>
          <a:p>
            <a:r>
              <a:rPr lang="en-ID" b="0" i="0" dirty="0" err="1">
                <a:solidFill>
                  <a:srgbClr val="1A1A1A"/>
                </a:solidFill>
                <a:effectLst/>
                <a:latin typeface="-apple-system"/>
              </a:rPr>
              <a:t>Foto</a:t>
            </a:r>
            <a:r>
              <a:rPr lang="en-ID" b="0" i="0" dirty="0">
                <a:solidFill>
                  <a:srgbClr val="1A1A1A"/>
                </a:solidFill>
                <a:effectLst/>
                <a:latin typeface="-apple-system"/>
              </a:rPr>
              <a:t> oleh </a:t>
            </a:r>
            <a:r>
              <a:rPr lang="en-ID" b="1" i="0" u="none" strike="noStrike" dirty="0" err="1">
                <a:solidFill>
                  <a:srgbClr val="1A1A1A"/>
                </a:solidFill>
                <a:effectLst/>
                <a:latin typeface="-apple-system"/>
                <a:hlinkClick r:id="rId9"/>
              </a:rPr>
              <a:t>bongkarn</a:t>
            </a:r>
            <a:r>
              <a:rPr lang="en-ID" b="1" i="0" u="none" strike="noStrike" dirty="0">
                <a:solidFill>
                  <a:srgbClr val="1A1A1A"/>
                </a:solidFill>
                <a:effectLst/>
                <a:latin typeface="-apple-system"/>
                <a:hlinkClick r:id="rId9"/>
              </a:rPr>
              <a:t> </a:t>
            </a:r>
            <a:r>
              <a:rPr lang="en-ID" b="1" i="0" u="none" strike="noStrike" dirty="0" err="1">
                <a:solidFill>
                  <a:srgbClr val="1A1A1A"/>
                </a:solidFill>
                <a:effectLst/>
                <a:latin typeface="-apple-system"/>
                <a:hlinkClick r:id="rId9"/>
              </a:rPr>
              <a:t>thanyakij</a:t>
            </a:r>
            <a:r>
              <a:rPr lang="en-ID" b="0" i="0" dirty="0">
                <a:solidFill>
                  <a:srgbClr val="1A1A1A"/>
                </a:solidFill>
                <a:effectLst/>
                <a:latin typeface="-apple-system"/>
              </a:rPr>
              <a:t> </a:t>
            </a:r>
            <a:r>
              <a:rPr lang="en-ID" b="0" i="0" dirty="0" err="1">
                <a:solidFill>
                  <a:srgbClr val="1A1A1A"/>
                </a:solidFill>
                <a:effectLst/>
                <a:latin typeface="-apple-system"/>
              </a:rPr>
              <a:t>dari</a:t>
            </a:r>
            <a:r>
              <a:rPr lang="en-ID" b="0" i="0" dirty="0">
                <a:solidFill>
                  <a:srgbClr val="1A1A1A"/>
                </a:solidFill>
                <a:effectLst/>
                <a:latin typeface="-apple-system"/>
              </a:rPr>
              <a:t> </a:t>
            </a:r>
            <a:r>
              <a:rPr lang="en-ID" b="1" i="0" u="none" strike="noStrike" dirty="0" err="1">
                <a:solidFill>
                  <a:srgbClr val="1A1A1A"/>
                </a:solidFill>
                <a:effectLst/>
                <a:latin typeface="-apple-system"/>
                <a:hlinkClick r:id="rId10"/>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2</a:t>
            </a:fld>
            <a:endParaRPr lang="en-ID"/>
          </a:p>
        </p:txBody>
      </p:sp>
    </p:spTree>
    <p:extLst>
      <p:ext uri="{BB962C8B-B14F-4D97-AF65-F5344CB8AC3E}">
        <p14:creationId xmlns:p14="http://schemas.microsoft.com/office/powerpoint/2010/main" val="4265592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Ali </a:t>
            </a:r>
            <a:r>
              <a:rPr lang="en-US" dirty="0" err="1">
                <a:hlinkClick r:id="rId3"/>
              </a:rPr>
              <a:t>Morshedlou</a:t>
            </a:r>
            <a:r>
              <a:rPr lang="en-US" dirty="0"/>
              <a:t> on </a:t>
            </a:r>
            <a:r>
              <a:rPr lang="en-US" dirty="0" err="1">
                <a:hlinkClick r:id="rId4"/>
              </a:rPr>
              <a:t>Unsplash</a:t>
            </a:r>
            <a:r>
              <a:rPr lang="en-US" dirty="0"/>
              <a:t> </a:t>
            </a:r>
          </a:p>
          <a:p>
            <a:r>
              <a:rPr lang="en-US" dirty="0"/>
              <a:t>Photo by </a:t>
            </a:r>
            <a:r>
              <a:rPr lang="en-US" dirty="0">
                <a:hlinkClick r:id="rId5"/>
              </a:rPr>
              <a:t>LinkedIn Sales Solutions</a:t>
            </a:r>
            <a:r>
              <a:rPr lang="en-US" dirty="0"/>
              <a:t> on </a:t>
            </a:r>
            <a:r>
              <a:rPr lang="en-US" dirty="0" err="1">
                <a:hlinkClick r:id="rId4"/>
              </a:rPr>
              <a:t>Unsplash</a:t>
            </a:r>
            <a:r>
              <a:rPr lang="en-US" dirty="0"/>
              <a:t> </a:t>
            </a:r>
          </a:p>
          <a:p>
            <a:r>
              <a:rPr lang="en-US" dirty="0"/>
              <a:t>Photo by </a:t>
            </a:r>
            <a:r>
              <a:rPr lang="en-US" dirty="0">
                <a:hlinkClick r:id="rId6"/>
              </a:rPr>
              <a:t>Fortune </a:t>
            </a:r>
            <a:r>
              <a:rPr lang="en-US" dirty="0" err="1">
                <a:hlinkClick r:id="rId6"/>
              </a:rPr>
              <a:t>Vieyra</a:t>
            </a:r>
            <a:r>
              <a:rPr lang="en-US" dirty="0"/>
              <a:t> on </a:t>
            </a:r>
            <a:r>
              <a:rPr lang="en-US" dirty="0" err="1">
                <a:hlinkClick r:id="rId7"/>
              </a:rPr>
              <a:t>Unsplash</a:t>
            </a:r>
            <a:r>
              <a:rPr lang="en-US" dirty="0"/>
              <a:t> </a:t>
            </a:r>
          </a:p>
          <a:p>
            <a:r>
              <a:rPr lang="en-US" dirty="0"/>
              <a:t>Photo by </a:t>
            </a:r>
            <a:r>
              <a:rPr lang="en-US" dirty="0">
                <a:hlinkClick r:id="rId8"/>
              </a:rPr>
              <a:t>East Meets Dress</a:t>
            </a:r>
            <a:r>
              <a:rPr lang="en-US" dirty="0"/>
              <a:t> on </a:t>
            </a:r>
            <a:r>
              <a:rPr lang="en-US" dirty="0" err="1">
                <a:hlinkClick r:id="rId9"/>
              </a:rPr>
              <a:t>Unsplash</a:t>
            </a:r>
            <a:r>
              <a:rPr lang="en-US" dirty="0"/>
              <a:t> </a:t>
            </a:r>
          </a:p>
          <a:p>
            <a:r>
              <a:rPr lang="en-US" dirty="0"/>
              <a:t>Photo by </a:t>
            </a:r>
            <a:r>
              <a:rPr lang="en-US" dirty="0">
                <a:hlinkClick r:id="rId10"/>
              </a:rPr>
              <a:t>Bryan </a:t>
            </a:r>
            <a:r>
              <a:rPr lang="en-US" dirty="0" err="1">
                <a:hlinkClick r:id="rId10"/>
              </a:rPr>
              <a:t>Pulgar</a:t>
            </a:r>
            <a:r>
              <a:rPr lang="en-US" dirty="0"/>
              <a:t> on </a:t>
            </a:r>
            <a:r>
              <a:rPr lang="en-US" dirty="0" err="1">
                <a:hlinkClick r:id="rId11"/>
              </a:rPr>
              <a:t>Unsplash</a:t>
            </a:r>
            <a:r>
              <a:rPr lang="en-US" dirty="0"/>
              <a:t> </a:t>
            </a:r>
          </a:p>
          <a:p>
            <a:r>
              <a:rPr lang="en-US" dirty="0"/>
              <a:t>Photo by </a:t>
            </a:r>
            <a:r>
              <a:rPr lang="en-US" dirty="0">
                <a:hlinkClick r:id="rId12"/>
              </a:rPr>
              <a:t>Christina @ wocintechchat.com</a:t>
            </a:r>
            <a:r>
              <a:rPr lang="en-US" dirty="0"/>
              <a:t> on </a:t>
            </a:r>
            <a:r>
              <a:rPr lang="en-US" dirty="0" err="1">
                <a:hlinkClick r:id="rId13"/>
              </a:rPr>
              <a:t>Unsplash</a:t>
            </a:r>
            <a:r>
              <a:rPr lang="en-US" dirty="0"/>
              <a:t> </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5</a:t>
            </a:fld>
            <a:endParaRPr lang="en-ID"/>
          </a:p>
        </p:txBody>
      </p:sp>
    </p:spTree>
    <p:extLst>
      <p:ext uri="{BB962C8B-B14F-4D97-AF65-F5344CB8AC3E}">
        <p14:creationId xmlns:p14="http://schemas.microsoft.com/office/powerpoint/2010/main" val="3324834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Hassan OUAJBIR</a:t>
            </a:r>
            <a:r>
              <a:rPr lang="en-US" dirty="0"/>
              <a:t> on </a:t>
            </a:r>
            <a:r>
              <a:rPr lang="en-US" dirty="0" err="1">
                <a:hlinkClick r:id="rId4"/>
              </a:rPr>
              <a:t>Unsplash</a:t>
            </a:r>
            <a:r>
              <a:rPr lang="en-US" dirty="0"/>
              <a:t> </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2489961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www.businessnewsdaily.com/4679-corporate-social-responsibility.html </a:t>
            </a:r>
          </a:p>
        </p:txBody>
      </p:sp>
      <p:sp>
        <p:nvSpPr>
          <p:cNvPr id="4" name="Slide Number Placeholder 3"/>
          <p:cNvSpPr>
            <a:spLocks noGrp="1"/>
          </p:cNvSpPr>
          <p:nvPr>
            <p:ph type="sldNum" sz="quarter" idx="5"/>
          </p:nvPr>
        </p:nvSpPr>
        <p:spPr/>
        <p:txBody>
          <a:bodyPr/>
          <a:lstStyle/>
          <a:p>
            <a:fld id="{CDA0A86D-5024-4350-A9C6-9389693B08CB}" type="slidenum">
              <a:rPr lang="en-US" smtClean="0"/>
              <a:t>7</a:t>
            </a:fld>
            <a:endParaRPr lang="en-US"/>
          </a:p>
        </p:txBody>
      </p:sp>
    </p:spTree>
    <p:extLst>
      <p:ext uri="{BB962C8B-B14F-4D97-AF65-F5344CB8AC3E}">
        <p14:creationId xmlns:p14="http://schemas.microsoft.com/office/powerpoint/2010/main" val="352281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886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7039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D40A7A7-E9A0-4E04-A49D-FE5DEC9F4FB7}"/>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a:extLst>
              <a:ext uri="{FF2B5EF4-FFF2-40B4-BE49-F238E27FC236}">
                <a16:creationId xmlns:a16="http://schemas.microsoft.com/office/drawing/2014/main" id="{073F6A6D-2933-4FAD-B95C-A0D8298AC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a:extLst>
              <a:ext uri="{FF2B5EF4-FFF2-40B4-BE49-F238E27FC236}">
                <a16:creationId xmlns:a16="http://schemas.microsoft.com/office/drawing/2014/main" id="{0A1EC83C-127F-430C-A981-D8CDF8DD6D86}"/>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5" name="Marcador de pie de página 4">
            <a:extLst>
              <a:ext uri="{FF2B5EF4-FFF2-40B4-BE49-F238E27FC236}">
                <a16:creationId xmlns:a16="http://schemas.microsoft.com/office/drawing/2014/main" id="{FE88149A-BEF0-4F7B-8175-F5136B8410E5}"/>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A9C567D5-4742-4738-9BE8-8148B19D55FA}"/>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731252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B989F7A-3FC7-4D7B-A4B2-D67DFE33F6EF}"/>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26E80C77-C77E-4F04-95FA-A187125D826F}"/>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B2B80840-17DC-4527-848A-2965F90D1B39}"/>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5" name="Marcador de pie de página 4">
            <a:extLst>
              <a:ext uri="{FF2B5EF4-FFF2-40B4-BE49-F238E27FC236}">
                <a16:creationId xmlns:a16="http://schemas.microsoft.com/office/drawing/2014/main" id="{F07D085F-FFE8-4455-BF30-920907E47D2A}"/>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6CB9C9C8-5946-4A60-8BD1-963B288BE194}"/>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39679232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48EC17D5-2304-44C5-B1E5-0D6966D77D7C}"/>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8AD8E4A2-2AA6-442C-AAE8-B13FA90D816E}"/>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DE569C75-6D8F-4695-8C85-B3F92DC67E9B}"/>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5" name="Marcador de pie de página 4">
            <a:extLst>
              <a:ext uri="{FF2B5EF4-FFF2-40B4-BE49-F238E27FC236}">
                <a16:creationId xmlns:a16="http://schemas.microsoft.com/office/drawing/2014/main" id="{270D4CDB-2F02-4BFB-AA4F-D0C1E4C03E9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5299153B-8F05-4C01-8841-58CE5AB57D83}"/>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1668832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631645-05F2-42CC-990A-FE1E442CF390}"/>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4AF4B2AF-0EAB-4DD5-BA8A-594AB3F72363}"/>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1175CA05-DE11-4821-87B3-2594A7DE9439}"/>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5" name="Marcador de pie de página 4">
            <a:extLst>
              <a:ext uri="{FF2B5EF4-FFF2-40B4-BE49-F238E27FC236}">
                <a16:creationId xmlns:a16="http://schemas.microsoft.com/office/drawing/2014/main" id="{C0150A0A-D7E0-4856-8B04-710F7951141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993F59CB-1332-4175-A659-1310144096D1}"/>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2018160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5A922D-7AA7-45C9-A6C4-19F6B07A8AD9}"/>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98353FFD-4116-4527-841E-470B837377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E0CF3870-B2B5-44D6-8FA5-890A275DC0C9}"/>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5" name="Marcador de pie de página 4">
            <a:extLst>
              <a:ext uri="{FF2B5EF4-FFF2-40B4-BE49-F238E27FC236}">
                <a16:creationId xmlns:a16="http://schemas.microsoft.com/office/drawing/2014/main" id="{22E72FE6-5D19-451F-9CB6-B637EDBBB631}"/>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2E3AB048-EF6A-4A0B-88FC-E805A7B6710B}"/>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30276893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96024D-A637-4D3D-A3C3-E51849E4EA71}"/>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A8794A67-D5A5-469A-B1CD-1C83C442CB1E}"/>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contenido 3">
            <a:extLst>
              <a:ext uri="{FF2B5EF4-FFF2-40B4-BE49-F238E27FC236}">
                <a16:creationId xmlns:a16="http://schemas.microsoft.com/office/drawing/2014/main" id="{4C095398-59CD-4A6B-AD9F-B35E537922C4}"/>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fecha 4">
            <a:extLst>
              <a:ext uri="{FF2B5EF4-FFF2-40B4-BE49-F238E27FC236}">
                <a16:creationId xmlns:a16="http://schemas.microsoft.com/office/drawing/2014/main" id="{3EE7AEF0-32FF-481B-A002-5B012F2BB04B}"/>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6" name="Marcador de pie de página 5">
            <a:extLst>
              <a:ext uri="{FF2B5EF4-FFF2-40B4-BE49-F238E27FC236}">
                <a16:creationId xmlns:a16="http://schemas.microsoft.com/office/drawing/2014/main" id="{6D61269F-754D-4A95-B0C9-9F38D8A6C482}"/>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18BFB2A5-1F5A-47E9-A384-0947F1A48B24}"/>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2227321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A333A92-F24E-406B-993A-04C5534153F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F9DB3173-72F6-46FE-9F12-9F7FF252C1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4B527B14-E58F-4D40-827C-6B4E752B23D4}"/>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texto 4">
            <a:extLst>
              <a:ext uri="{FF2B5EF4-FFF2-40B4-BE49-F238E27FC236}">
                <a16:creationId xmlns:a16="http://schemas.microsoft.com/office/drawing/2014/main" id="{26AD5A4D-45D3-4702-81CE-C77E2FA5D3D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F926C578-FF78-42C9-A43F-677D66D6CCAE}"/>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Marcador de fecha 6">
            <a:extLst>
              <a:ext uri="{FF2B5EF4-FFF2-40B4-BE49-F238E27FC236}">
                <a16:creationId xmlns:a16="http://schemas.microsoft.com/office/drawing/2014/main" id="{D83E1B79-BD75-4F0A-A671-CB4F1BD5C6C7}"/>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8" name="Marcador de pie de página 7">
            <a:extLst>
              <a:ext uri="{FF2B5EF4-FFF2-40B4-BE49-F238E27FC236}">
                <a16:creationId xmlns:a16="http://schemas.microsoft.com/office/drawing/2014/main" id="{5C43D1EF-194D-4B37-B04D-484158711EE2}"/>
              </a:ext>
            </a:extLst>
          </p:cNvPr>
          <p:cNvSpPr>
            <a:spLocks noGrp="1"/>
          </p:cNvSpPr>
          <p:nvPr>
            <p:ph type="ftr" sz="quarter" idx="11"/>
          </p:nvPr>
        </p:nvSpPr>
        <p:spPr/>
        <p:txBody>
          <a:bodyPr/>
          <a:lstStyle/>
          <a:p>
            <a:endParaRPr lang="en-US"/>
          </a:p>
        </p:txBody>
      </p:sp>
      <p:sp>
        <p:nvSpPr>
          <p:cNvPr id="9" name="Marcador de número de diapositiva 8">
            <a:extLst>
              <a:ext uri="{FF2B5EF4-FFF2-40B4-BE49-F238E27FC236}">
                <a16:creationId xmlns:a16="http://schemas.microsoft.com/office/drawing/2014/main" id="{6C3FF4F0-A418-498B-964B-874AF65A6CE5}"/>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691497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825A8A-E789-477D-A451-59584E87905E}"/>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fecha 2">
            <a:extLst>
              <a:ext uri="{FF2B5EF4-FFF2-40B4-BE49-F238E27FC236}">
                <a16:creationId xmlns:a16="http://schemas.microsoft.com/office/drawing/2014/main" id="{63D12ECF-C450-4B6B-BBA5-08F75FF3DE20}"/>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4" name="Marcador de pie de página 3">
            <a:extLst>
              <a:ext uri="{FF2B5EF4-FFF2-40B4-BE49-F238E27FC236}">
                <a16:creationId xmlns:a16="http://schemas.microsoft.com/office/drawing/2014/main" id="{7594BD71-31AC-4C72-A7B4-F48F8DC72EB3}"/>
              </a:ext>
            </a:extLst>
          </p:cNvPr>
          <p:cNvSpPr>
            <a:spLocks noGrp="1"/>
          </p:cNvSpPr>
          <p:nvPr>
            <p:ph type="ftr" sz="quarter" idx="11"/>
          </p:nvPr>
        </p:nvSpPr>
        <p:spPr/>
        <p:txBody>
          <a:bodyPr/>
          <a:lstStyle/>
          <a:p>
            <a:endParaRPr lang="en-US"/>
          </a:p>
        </p:txBody>
      </p:sp>
      <p:sp>
        <p:nvSpPr>
          <p:cNvPr id="5" name="Marcador de número de diapositiva 4">
            <a:extLst>
              <a:ext uri="{FF2B5EF4-FFF2-40B4-BE49-F238E27FC236}">
                <a16:creationId xmlns:a16="http://schemas.microsoft.com/office/drawing/2014/main" id="{1BEB595B-4295-4B15-9AAD-F198E9577821}"/>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2367545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EDEB6072-05AA-4752-80DA-AE6F56C8626B}"/>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3" name="Marcador de pie de página 2">
            <a:extLst>
              <a:ext uri="{FF2B5EF4-FFF2-40B4-BE49-F238E27FC236}">
                <a16:creationId xmlns:a16="http://schemas.microsoft.com/office/drawing/2014/main" id="{1A5C52C8-F3E6-4DC5-897D-93B274658B46}"/>
              </a:ext>
            </a:extLst>
          </p:cNvPr>
          <p:cNvSpPr>
            <a:spLocks noGrp="1"/>
          </p:cNvSpPr>
          <p:nvPr>
            <p:ph type="ftr" sz="quarter" idx="11"/>
          </p:nvPr>
        </p:nvSpPr>
        <p:spPr/>
        <p:txBody>
          <a:bodyPr/>
          <a:lstStyle/>
          <a:p>
            <a:endParaRPr lang="en-US"/>
          </a:p>
        </p:txBody>
      </p:sp>
      <p:sp>
        <p:nvSpPr>
          <p:cNvPr id="4" name="Marcador de número de diapositiva 3">
            <a:extLst>
              <a:ext uri="{FF2B5EF4-FFF2-40B4-BE49-F238E27FC236}">
                <a16:creationId xmlns:a16="http://schemas.microsoft.com/office/drawing/2014/main" id="{D75D5AC2-1AB1-41D5-8809-5F6B837BB453}"/>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887903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CAE93C-5CB0-42CE-8ABB-DE34A38106B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6219579B-188C-4737-84D1-489AF37F83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texto 3">
            <a:extLst>
              <a:ext uri="{FF2B5EF4-FFF2-40B4-BE49-F238E27FC236}">
                <a16:creationId xmlns:a16="http://schemas.microsoft.com/office/drawing/2014/main" id="{A3C1D86F-43C7-4764-A6DE-2054B14F38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EA4B1755-41EE-4596-AF6B-7B7AC6521A76}"/>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6" name="Marcador de pie de página 5">
            <a:extLst>
              <a:ext uri="{FF2B5EF4-FFF2-40B4-BE49-F238E27FC236}">
                <a16:creationId xmlns:a16="http://schemas.microsoft.com/office/drawing/2014/main" id="{C817AFD1-24CA-4858-98E9-D3FB4BFE796F}"/>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370F2F19-CC95-41B5-BEC0-07E40A502A26}"/>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3023681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79839E-A93F-4AE9-B777-42DAD35F187B}"/>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posición de imagen 2">
            <a:extLst>
              <a:ext uri="{FF2B5EF4-FFF2-40B4-BE49-F238E27FC236}">
                <a16:creationId xmlns:a16="http://schemas.microsoft.com/office/drawing/2014/main" id="{33CF7405-E3F4-4791-863E-C6EF68F954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arcador de texto 3">
            <a:extLst>
              <a:ext uri="{FF2B5EF4-FFF2-40B4-BE49-F238E27FC236}">
                <a16:creationId xmlns:a16="http://schemas.microsoft.com/office/drawing/2014/main" id="{A7C3DB3E-F861-45AF-8148-34918DAD4A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E49FE0F-292E-4746-8C08-25C3F8DF8D68}"/>
              </a:ext>
            </a:extLst>
          </p:cNvPr>
          <p:cNvSpPr>
            <a:spLocks noGrp="1"/>
          </p:cNvSpPr>
          <p:nvPr>
            <p:ph type="dt" sz="half" idx="10"/>
          </p:nvPr>
        </p:nvSpPr>
        <p:spPr/>
        <p:txBody>
          <a:bodyPr/>
          <a:lstStyle/>
          <a:p>
            <a:fld id="{CD1AF5FE-C9EF-4E41-B249-757B17A47A1B}" type="datetimeFigureOut">
              <a:rPr lang="en-US" smtClean="0"/>
              <a:t>4/7/2024</a:t>
            </a:fld>
            <a:endParaRPr lang="en-US"/>
          </a:p>
        </p:txBody>
      </p:sp>
      <p:sp>
        <p:nvSpPr>
          <p:cNvPr id="6" name="Marcador de pie de página 5">
            <a:extLst>
              <a:ext uri="{FF2B5EF4-FFF2-40B4-BE49-F238E27FC236}">
                <a16:creationId xmlns:a16="http://schemas.microsoft.com/office/drawing/2014/main" id="{8694BCFF-F1B8-4296-AD1A-ADFCADAD11D2}"/>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4D71DB56-B6EE-4609-8CB3-30A1A79A5B69}"/>
              </a:ext>
            </a:extLst>
          </p:cNvPr>
          <p:cNvSpPr>
            <a:spLocks noGrp="1"/>
          </p:cNvSpPr>
          <p:nvPr>
            <p:ph type="sldNum" sz="quarter" idx="12"/>
          </p:nvPr>
        </p:nvSpPr>
        <p:spPr/>
        <p:txBody>
          <a:bodyPr/>
          <a:lstStyle/>
          <a:p>
            <a:fld id="{1828B8C2-75A7-42D6-850C-10E8C2027B35}" type="slidenum">
              <a:rPr lang="en-US" smtClean="0"/>
              <a:t>‹#›</a:t>
            </a:fld>
            <a:endParaRPr lang="en-US"/>
          </a:p>
        </p:txBody>
      </p:sp>
    </p:spTree>
    <p:extLst>
      <p:ext uri="{BB962C8B-B14F-4D97-AF65-F5344CB8AC3E}">
        <p14:creationId xmlns:p14="http://schemas.microsoft.com/office/powerpoint/2010/main" val="3629643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08B790-5212-4C17-9F64-1BB6A6995A2D}"/>
              </a:ext>
            </a:extLst>
          </p:cNvPr>
          <p:cNvGraphicFramePr>
            <a:graphicFrameLocks noChangeAspect="1"/>
          </p:cNvGraphicFramePr>
          <p:nvPr userDrawn="1">
            <p:custDataLst>
              <p:tags r:id="rId13"/>
            </p:custDataLst>
            <p:extLst>
              <p:ext uri="{D42A27DB-BD31-4B8C-83A1-F6EECF244321}">
                <p14:modId xmlns:p14="http://schemas.microsoft.com/office/powerpoint/2010/main" val="1012664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D108B790-5212-4C17-9F64-1BB6A6995A2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A474207-4A5F-4A30-8C50-83C7F03A259A}"/>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a:extLst>
              <a:ext uri="{FF2B5EF4-FFF2-40B4-BE49-F238E27FC236}">
                <a16:creationId xmlns:a16="http://schemas.microsoft.com/office/drawing/2014/main" id="{6C9F4F55-DD75-4B22-A02D-60616CE849E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89DB8B19-48EC-4A01-AB1C-6B0DA56200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28F6F3C4-BC08-462F-9268-5C9F6B78A7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1AF5FE-C9EF-4E41-B249-757B17A47A1B}" type="datetimeFigureOut">
              <a:rPr lang="en-US" smtClean="0"/>
              <a:t>4/7/2024</a:t>
            </a:fld>
            <a:endParaRPr lang="en-US"/>
          </a:p>
        </p:txBody>
      </p:sp>
      <p:sp>
        <p:nvSpPr>
          <p:cNvPr id="5" name="Marcador de pie de página 4">
            <a:extLst>
              <a:ext uri="{FF2B5EF4-FFF2-40B4-BE49-F238E27FC236}">
                <a16:creationId xmlns:a16="http://schemas.microsoft.com/office/drawing/2014/main" id="{01BD2215-ED0A-4ECD-AEFD-D1211E4C15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Marcador de número de diapositiva 5">
            <a:extLst>
              <a:ext uri="{FF2B5EF4-FFF2-40B4-BE49-F238E27FC236}">
                <a16:creationId xmlns:a16="http://schemas.microsoft.com/office/drawing/2014/main" id="{23FCAEF1-AD48-4328-A590-63C6EA282D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28B8C2-75A7-42D6-850C-10E8C2027B35}" type="slidenum">
              <a:rPr lang="en-US" smtClean="0"/>
              <a:t>‹#›</a:t>
            </a:fld>
            <a:endParaRPr lang="en-US"/>
          </a:p>
        </p:txBody>
      </p:sp>
    </p:spTree>
    <p:extLst>
      <p:ext uri="{BB962C8B-B14F-4D97-AF65-F5344CB8AC3E}">
        <p14:creationId xmlns:p14="http://schemas.microsoft.com/office/powerpoint/2010/main" val="39141396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8.jpeg"/><Relationship Id="rId13" Type="http://schemas.microsoft.com/office/2007/relationships/hdphoto" Target="../media/hdphoto1.wdp"/><Relationship Id="rId3" Type="http://schemas.openxmlformats.org/officeDocument/2006/relationships/image" Target="../media/image23.png"/><Relationship Id="rId7" Type="http://schemas.openxmlformats.org/officeDocument/2006/relationships/image" Target="../media/image27.jpeg"/><Relationship Id="rId12" Type="http://schemas.openxmlformats.org/officeDocument/2006/relationships/image" Target="../media/image32.png"/><Relationship Id="rId17" Type="http://schemas.openxmlformats.org/officeDocument/2006/relationships/image" Target="../media/image36.png"/><Relationship Id="rId2" Type="http://schemas.openxmlformats.org/officeDocument/2006/relationships/notesSlide" Target="../notesSlides/notesSlide7.xml"/><Relationship Id="rId16"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26.emf"/><Relationship Id="rId11" Type="http://schemas.openxmlformats.org/officeDocument/2006/relationships/image" Target="../media/image31.emf"/><Relationship Id="rId5" Type="http://schemas.openxmlformats.org/officeDocument/2006/relationships/image" Target="../media/image25.emf"/><Relationship Id="rId15" Type="http://schemas.openxmlformats.org/officeDocument/2006/relationships/image" Target="../media/image34.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3.tif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hyperlink" Target="https://24slides.com/blog/24slides-launches-its-first-volunteer-program/?utm_source=Templates&amp;utm_medium=ppt&amp;utm_campaign=CSR-analysis&amp;utm_content=anchor-text%20&amp;utm_term=volunteer" TargetMode="External"/><Relationship Id="rId2" Type="http://schemas.openxmlformats.org/officeDocument/2006/relationships/hyperlink" Target="https://24slides.com/blog/24slides-emergency-loan-program/?utm_source=Templates&amp;utm_medium=ppt&amp;utm_campaign=CSR-analysis&amp;utm_content=anchor-text%20&amp;utm_term=emerg-loan" TargetMode="External"/><Relationship Id="rId1" Type="http://schemas.openxmlformats.org/officeDocument/2006/relationships/slideLayout" Target="../slideLayouts/slideLayout7.xml"/><Relationship Id="rId5" Type="http://schemas.openxmlformats.org/officeDocument/2006/relationships/hyperlink" Target="https://24slides.com/blog/facing-the-mental-health-issues-of-the-peruvian-lockdown/?utm_source=Templates&amp;utm_medium=ppt&amp;utm_campaign=CSR-analysis&amp;utm_content=anchor-text%20&amp;utm_term=psychology" TargetMode="External"/><Relationship Id="rId4" Type="http://schemas.openxmlformats.org/officeDocument/2006/relationships/hyperlink" Target="https://24slides.com/blog/24slides-global-challenge-bringing-a-global-team-together-for-a-cause/?utm_source=Templates&amp;utm_medium=ppt&amp;utm_campaign=CSR-analysis&amp;utm_content=anchor-text%20&amp;utm_term=glob-chall" TargetMode="Externa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chart" Target="../charts/chart5.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2" Type="http://schemas.openxmlformats.org/officeDocument/2006/relationships/hyperlink" Target="https://24slides.com/about/purpose?utm_source=Templates&amp;utm_medium=ppt&amp;utm_campaign=CSR-analysis&amp;utm_content=anchor-text%20&amp;utm_term=certified-bcorp"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jpg"/><Relationship Id="rId4" Type="http://schemas.openxmlformats.org/officeDocument/2006/relationships/image" Target="../media/image4.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descr="A picture containing person, outdoor, grass, sport&#10;&#10;Description automatically generated">
            <a:extLst>
              <a:ext uri="{FF2B5EF4-FFF2-40B4-BE49-F238E27FC236}">
                <a16:creationId xmlns:a16="http://schemas.microsoft.com/office/drawing/2014/main" id="{9F40C807-C1EB-450B-84E5-B819EA9A624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618" r="39063"/>
          <a:stretch/>
        </p:blipFill>
        <p:spPr>
          <a:xfrm>
            <a:off x="8191500" y="1524000"/>
            <a:ext cx="4000500" cy="4724400"/>
          </a:xfrm>
          <a:prstGeom prst="rect">
            <a:avLst/>
          </a:prstGeom>
        </p:spPr>
      </p:pic>
      <p:sp>
        <p:nvSpPr>
          <p:cNvPr id="2" name="Title 1">
            <a:extLst>
              <a:ext uri="{FF2B5EF4-FFF2-40B4-BE49-F238E27FC236}">
                <a16:creationId xmlns:a16="http://schemas.microsoft.com/office/drawing/2014/main" id="{5C2410F8-6A19-40F4-8F3A-BF76D3250EA5}"/>
              </a:ext>
            </a:extLst>
          </p:cNvPr>
          <p:cNvSpPr>
            <a:spLocks noGrp="1"/>
          </p:cNvSpPr>
          <p:nvPr>
            <p:ph type="title"/>
          </p:nvPr>
        </p:nvSpPr>
        <p:spPr/>
        <p:txBody>
          <a:bodyPr/>
          <a:lstStyle/>
          <a:p>
            <a:r>
              <a:rPr lang="en-US" dirty="0"/>
              <a:t>Business Goals</a:t>
            </a:r>
          </a:p>
        </p:txBody>
      </p:sp>
      <p:sp>
        <p:nvSpPr>
          <p:cNvPr id="4" name="Rectangle 3">
            <a:extLst>
              <a:ext uri="{FF2B5EF4-FFF2-40B4-BE49-F238E27FC236}">
                <a16:creationId xmlns:a16="http://schemas.microsoft.com/office/drawing/2014/main" id="{2E65DD2E-F02E-4EC7-8B26-5814FF9FB12C}"/>
              </a:ext>
            </a:extLst>
          </p:cNvPr>
          <p:cNvSpPr/>
          <p:nvPr/>
        </p:nvSpPr>
        <p:spPr>
          <a:xfrm>
            <a:off x="533400" y="1524000"/>
            <a:ext cx="7658100" cy="472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Rectangle: Single Corner Snipped 5">
            <a:extLst>
              <a:ext uri="{FF2B5EF4-FFF2-40B4-BE49-F238E27FC236}">
                <a16:creationId xmlns:a16="http://schemas.microsoft.com/office/drawing/2014/main" id="{3F2DCC2A-9E41-4085-A301-7A9D018EE2AD}"/>
              </a:ext>
            </a:extLst>
          </p:cNvPr>
          <p:cNvSpPr/>
          <p:nvPr/>
        </p:nvSpPr>
        <p:spPr>
          <a:xfrm>
            <a:off x="0" y="2006600"/>
            <a:ext cx="2921000" cy="3759200"/>
          </a:xfrm>
          <a:prstGeom prst="snip1Rect">
            <a:avLst>
              <a:gd name="adj" fmla="val 12885"/>
            </a:avLst>
          </a:prstGeom>
          <a:solidFill>
            <a:srgbClr val="8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Box 6">
            <a:extLst>
              <a:ext uri="{FF2B5EF4-FFF2-40B4-BE49-F238E27FC236}">
                <a16:creationId xmlns:a16="http://schemas.microsoft.com/office/drawing/2014/main" id="{B986E54A-46EB-402C-820C-CF997D9E79B7}"/>
              </a:ext>
            </a:extLst>
          </p:cNvPr>
          <p:cNvSpPr txBox="1"/>
          <p:nvPr/>
        </p:nvSpPr>
        <p:spPr>
          <a:xfrm>
            <a:off x="533400" y="2901315"/>
            <a:ext cx="2044700" cy="1969770"/>
          </a:xfrm>
          <a:prstGeom prst="rect">
            <a:avLst/>
          </a:prstGeom>
          <a:noFill/>
        </p:spPr>
        <p:txBody>
          <a:bodyPr wrap="square" lIns="0" tIns="0" rIns="0" bIns="0" rtlCol="0" anchor="ctr">
            <a:spAutoFit/>
          </a:bodyPr>
          <a:lstStyle/>
          <a:p>
            <a:pPr>
              <a:spcAft>
                <a:spcPts val="300"/>
              </a:spcAft>
            </a:pPr>
            <a:r>
              <a:rPr lang="da-DK" sz="1600" b="1" i="1" dirty="0" err="1">
                <a:solidFill>
                  <a:schemeClr val="bg1"/>
                </a:solidFill>
                <a:latin typeface="+mj-lt"/>
                <a:cs typeface="Segoe UI Light" panose="020B0502040204020203" pitchFamily="34" charset="0"/>
              </a:rPr>
              <a:t>Lorem</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ipsum</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dolor</a:t>
            </a:r>
            <a:r>
              <a:rPr lang="da-DK" sz="1600" b="1" i="1" dirty="0">
                <a:solidFill>
                  <a:schemeClr val="bg1"/>
                </a:solidFill>
                <a:latin typeface="+mj-lt"/>
                <a:cs typeface="Segoe UI Light" panose="020B0502040204020203" pitchFamily="34" charset="0"/>
              </a:rPr>
              <a:t> sit </a:t>
            </a:r>
            <a:r>
              <a:rPr lang="da-DK" sz="1600" b="1" i="1" dirty="0" err="1">
                <a:solidFill>
                  <a:schemeClr val="bg1"/>
                </a:solidFill>
                <a:latin typeface="+mj-lt"/>
                <a:cs typeface="Segoe UI Light" panose="020B0502040204020203" pitchFamily="34" charset="0"/>
              </a:rPr>
              <a:t>amet</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consectetur</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adipiscing</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elit</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sed</a:t>
            </a:r>
            <a:r>
              <a:rPr lang="da-DK" sz="1600" b="1" i="1" dirty="0">
                <a:solidFill>
                  <a:schemeClr val="bg1"/>
                </a:solidFill>
                <a:latin typeface="+mj-lt"/>
                <a:cs typeface="Segoe UI Light" panose="020B0502040204020203" pitchFamily="34" charset="0"/>
              </a:rPr>
              <a:t> do </a:t>
            </a:r>
            <a:r>
              <a:rPr lang="da-DK" sz="1600" b="1" i="1" dirty="0" err="1">
                <a:solidFill>
                  <a:schemeClr val="bg1"/>
                </a:solidFill>
                <a:latin typeface="+mj-lt"/>
                <a:cs typeface="Segoe UI Light" panose="020B0502040204020203" pitchFamily="34" charset="0"/>
              </a:rPr>
              <a:t>eiusmod</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tempor</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incididunt</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ut</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labore</a:t>
            </a:r>
            <a:r>
              <a:rPr lang="da-DK" sz="1600" b="1" i="1" dirty="0">
                <a:solidFill>
                  <a:schemeClr val="bg1"/>
                </a:solidFill>
                <a:latin typeface="+mj-lt"/>
                <a:cs typeface="Segoe UI Light" panose="020B0502040204020203" pitchFamily="34" charset="0"/>
              </a:rPr>
              <a:t> et </a:t>
            </a:r>
            <a:r>
              <a:rPr lang="da-DK" sz="1600" b="1" i="1" dirty="0" err="1">
                <a:solidFill>
                  <a:schemeClr val="bg1"/>
                </a:solidFill>
                <a:latin typeface="+mj-lt"/>
                <a:cs typeface="Segoe UI Light" panose="020B0502040204020203" pitchFamily="34" charset="0"/>
              </a:rPr>
              <a:t>dolore</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magna</a:t>
            </a:r>
            <a:r>
              <a:rPr lang="da-DK" sz="1600" b="1" i="1" dirty="0">
                <a:solidFill>
                  <a:schemeClr val="bg1"/>
                </a:solidFill>
                <a:latin typeface="+mj-lt"/>
                <a:cs typeface="Segoe UI Light" panose="020B0502040204020203" pitchFamily="34" charset="0"/>
              </a:rPr>
              <a:t> </a:t>
            </a:r>
            <a:r>
              <a:rPr lang="da-DK" sz="1600" b="1" i="1" dirty="0" err="1">
                <a:solidFill>
                  <a:schemeClr val="bg1"/>
                </a:solidFill>
                <a:latin typeface="+mj-lt"/>
                <a:cs typeface="Segoe UI Light" panose="020B0502040204020203" pitchFamily="34" charset="0"/>
              </a:rPr>
              <a:t>aliqua</a:t>
            </a:r>
            <a:r>
              <a:rPr lang="da-DK" sz="1600" b="1" i="1" dirty="0">
                <a:solidFill>
                  <a:schemeClr val="bg1"/>
                </a:solidFill>
                <a:latin typeface="+mj-lt"/>
                <a:cs typeface="Segoe UI Light" panose="020B0502040204020203" pitchFamily="34" charset="0"/>
              </a:rPr>
              <a:t>. Ut enim ad minim veniam.. </a:t>
            </a:r>
          </a:p>
        </p:txBody>
      </p:sp>
      <p:sp>
        <p:nvSpPr>
          <p:cNvPr id="9" name="Title 1">
            <a:extLst>
              <a:ext uri="{FF2B5EF4-FFF2-40B4-BE49-F238E27FC236}">
                <a16:creationId xmlns:a16="http://schemas.microsoft.com/office/drawing/2014/main" id="{B5186B7B-B9A0-4F01-AE4B-62A33F4C2BF5}"/>
              </a:ext>
            </a:extLst>
          </p:cNvPr>
          <p:cNvSpPr txBox="1">
            <a:spLocks/>
          </p:cNvSpPr>
          <p:nvPr/>
        </p:nvSpPr>
        <p:spPr>
          <a:xfrm>
            <a:off x="4000501" y="2006600"/>
            <a:ext cx="3822700"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mn-lt"/>
                <a:cs typeface="Segoe UI" panose="020B0502040204020203" pitchFamily="34" charset="0"/>
              </a:rPr>
              <a:t>Lorem ipsum dolor sit </a:t>
            </a:r>
            <a:r>
              <a:rPr lang="en-US" sz="1400" b="0" dirty="0" err="1">
                <a:solidFill>
                  <a:schemeClr val="tx2"/>
                </a:solidFill>
                <a:latin typeface="+mn-lt"/>
                <a:cs typeface="Segoe UI" panose="020B0502040204020203" pitchFamily="34" charset="0"/>
              </a:rPr>
              <a:t>amet</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consectetur</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adipiscing</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elit</a:t>
            </a:r>
            <a:r>
              <a:rPr lang="en-US" sz="1400" b="0" dirty="0">
                <a:solidFill>
                  <a:schemeClr val="tx2"/>
                </a:solidFill>
                <a:latin typeface="+mn-lt"/>
                <a:cs typeface="Segoe UI" panose="020B0502040204020203" pitchFamily="34" charset="0"/>
              </a:rPr>
              <a:t>, sed do </a:t>
            </a:r>
            <a:r>
              <a:rPr lang="en-US" sz="1400" b="0" dirty="0" err="1">
                <a:solidFill>
                  <a:schemeClr val="tx2"/>
                </a:solidFill>
                <a:latin typeface="+mn-lt"/>
                <a:cs typeface="Segoe UI" panose="020B0502040204020203" pitchFamily="34" charset="0"/>
              </a:rPr>
              <a:t>eiusmod</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tempor</a:t>
            </a:r>
            <a:r>
              <a:rPr lang="en-US" sz="1400" b="0" dirty="0">
                <a:solidFill>
                  <a:schemeClr val="tx2"/>
                </a:solidFill>
                <a:latin typeface="+mn-lt"/>
                <a:cs typeface="Segoe UI" panose="020B0502040204020203" pitchFamily="34" charset="0"/>
              </a:rPr>
              <a:t>.</a:t>
            </a:r>
          </a:p>
        </p:txBody>
      </p:sp>
      <p:cxnSp>
        <p:nvCxnSpPr>
          <p:cNvPr id="10" name="Straight Connector 9">
            <a:extLst>
              <a:ext uri="{FF2B5EF4-FFF2-40B4-BE49-F238E27FC236}">
                <a16:creationId xmlns:a16="http://schemas.microsoft.com/office/drawing/2014/main" id="{DA7CD6CC-4C78-402A-9148-686E364A9FAC}"/>
              </a:ext>
            </a:extLst>
          </p:cNvPr>
          <p:cNvCxnSpPr>
            <a:cxnSpLocks/>
          </p:cNvCxnSpPr>
          <p:nvPr/>
        </p:nvCxnSpPr>
        <p:spPr>
          <a:xfrm>
            <a:off x="3324224" y="2621924"/>
            <a:ext cx="44989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562DD3FC-3CA2-4EB9-90C9-9446B01416C7}"/>
              </a:ext>
            </a:extLst>
          </p:cNvPr>
          <p:cNvSpPr txBox="1">
            <a:spLocks/>
          </p:cNvSpPr>
          <p:nvPr/>
        </p:nvSpPr>
        <p:spPr>
          <a:xfrm>
            <a:off x="4000501" y="2849450"/>
            <a:ext cx="3822700"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mn-lt"/>
                <a:cs typeface="Segoe UI" panose="020B0502040204020203" pitchFamily="34" charset="0"/>
              </a:rPr>
              <a:t>Lorem ipsum dolor sit </a:t>
            </a:r>
            <a:r>
              <a:rPr lang="en-US" sz="1400" b="0" dirty="0" err="1">
                <a:solidFill>
                  <a:schemeClr val="tx2"/>
                </a:solidFill>
                <a:latin typeface="+mn-lt"/>
                <a:cs typeface="Segoe UI" panose="020B0502040204020203" pitchFamily="34" charset="0"/>
              </a:rPr>
              <a:t>amet</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consectetur</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adipiscing</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elit</a:t>
            </a:r>
            <a:r>
              <a:rPr lang="en-US" sz="1400" b="0" dirty="0">
                <a:solidFill>
                  <a:schemeClr val="tx2"/>
                </a:solidFill>
                <a:latin typeface="+mn-lt"/>
                <a:cs typeface="Segoe UI" panose="020B0502040204020203" pitchFamily="34" charset="0"/>
              </a:rPr>
              <a:t>, sed do </a:t>
            </a:r>
            <a:r>
              <a:rPr lang="en-US" sz="1400" b="0" dirty="0" err="1">
                <a:solidFill>
                  <a:schemeClr val="tx2"/>
                </a:solidFill>
                <a:latin typeface="+mn-lt"/>
                <a:cs typeface="Segoe UI" panose="020B0502040204020203" pitchFamily="34" charset="0"/>
              </a:rPr>
              <a:t>eiusmod</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tempor</a:t>
            </a:r>
            <a:r>
              <a:rPr lang="en-US" sz="1400" b="0" dirty="0">
                <a:solidFill>
                  <a:schemeClr val="tx2"/>
                </a:solidFill>
                <a:latin typeface="+mn-lt"/>
                <a:cs typeface="Segoe UI" panose="020B0502040204020203" pitchFamily="34" charset="0"/>
              </a:rPr>
              <a:t>.</a:t>
            </a:r>
          </a:p>
        </p:txBody>
      </p:sp>
      <p:sp>
        <p:nvSpPr>
          <p:cNvPr id="13" name="Title 1">
            <a:extLst>
              <a:ext uri="{FF2B5EF4-FFF2-40B4-BE49-F238E27FC236}">
                <a16:creationId xmlns:a16="http://schemas.microsoft.com/office/drawing/2014/main" id="{9B9D4B61-ED56-4EA5-B4A4-69252BFEF63E}"/>
              </a:ext>
            </a:extLst>
          </p:cNvPr>
          <p:cNvSpPr txBox="1">
            <a:spLocks/>
          </p:cNvSpPr>
          <p:nvPr/>
        </p:nvSpPr>
        <p:spPr>
          <a:xfrm>
            <a:off x="4000501" y="3692300"/>
            <a:ext cx="3822700"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mn-lt"/>
                <a:cs typeface="Segoe UI" panose="020B0502040204020203" pitchFamily="34" charset="0"/>
              </a:rPr>
              <a:t>Lorem ipsum dolor sit </a:t>
            </a:r>
            <a:r>
              <a:rPr lang="en-US" sz="1400" b="0" dirty="0" err="1">
                <a:solidFill>
                  <a:schemeClr val="tx2"/>
                </a:solidFill>
                <a:latin typeface="+mn-lt"/>
                <a:cs typeface="Segoe UI" panose="020B0502040204020203" pitchFamily="34" charset="0"/>
              </a:rPr>
              <a:t>amet</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consectetur</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adipiscing</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elit</a:t>
            </a:r>
            <a:r>
              <a:rPr lang="en-US" sz="1400" b="0" dirty="0">
                <a:solidFill>
                  <a:schemeClr val="tx2"/>
                </a:solidFill>
                <a:latin typeface="+mn-lt"/>
                <a:cs typeface="Segoe UI" panose="020B0502040204020203" pitchFamily="34" charset="0"/>
              </a:rPr>
              <a:t>, sed do </a:t>
            </a:r>
            <a:r>
              <a:rPr lang="en-US" sz="1400" b="0" dirty="0" err="1">
                <a:solidFill>
                  <a:schemeClr val="tx2"/>
                </a:solidFill>
                <a:latin typeface="+mn-lt"/>
                <a:cs typeface="Segoe UI" panose="020B0502040204020203" pitchFamily="34" charset="0"/>
              </a:rPr>
              <a:t>eiusmod</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tempor</a:t>
            </a:r>
            <a:r>
              <a:rPr lang="en-US" sz="1400" b="0" dirty="0">
                <a:solidFill>
                  <a:schemeClr val="tx2"/>
                </a:solidFill>
                <a:latin typeface="+mn-lt"/>
                <a:cs typeface="Segoe UI" panose="020B0502040204020203" pitchFamily="34" charset="0"/>
              </a:rPr>
              <a:t>.</a:t>
            </a:r>
          </a:p>
        </p:txBody>
      </p:sp>
      <p:sp>
        <p:nvSpPr>
          <p:cNvPr id="14" name="Title 1">
            <a:extLst>
              <a:ext uri="{FF2B5EF4-FFF2-40B4-BE49-F238E27FC236}">
                <a16:creationId xmlns:a16="http://schemas.microsoft.com/office/drawing/2014/main" id="{299BFFD5-13AA-4AC6-A7E5-0EFD7E69842C}"/>
              </a:ext>
            </a:extLst>
          </p:cNvPr>
          <p:cNvSpPr txBox="1">
            <a:spLocks/>
          </p:cNvSpPr>
          <p:nvPr/>
        </p:nvSpPr>
        <p:spPr>
          <a:xfrm>
            <a:off x="4000501" y="4535150"/>
            <a:ext cx="3822700"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mn-lt"/>
                <a:cs typeface="Segoe UI" panose="020B0502040204020203" pitchFamily="34" charset="0"/>
              </a:rPr>
              <a:t>Lorem ipsum dolor sit </a:t>
            </a:r>
            <a:r>
              <a:rPr lang="en-US" sz="1400" b="0" dirty="0" err="1">
                <a:solidFill>
                  <a:schemeClr val="tx2"/>
                </a:solidFill>
                <a:latin typeface="+mn-lt"/>
                <a:cs typeface="Segoe UI" panose="020B0502040204020203" pitchFamily="34" charset="0"/>
              </a:rPr>
              <a:t>amet</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consectetur</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adipiscing</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elit</a:t>
            </a:r>
            <a:r>
              <a:rPr lang="en-US" sz="1400" b="0" dirty="0">
                <a:solidFill>
                  <a:schemeClr val="tx2"/>
                </a:solidFill>
                <a:latin typeface="+mn-lt"/>
                <a:cs typeface="Segoe UI" panose="020B0502040204020203" pitchFamily="34" charset="0"/>
              </a:rPr>
              <a:t>, sed do </a:t>
            </a:r>
            <a:r>
              <a:rPr lang="en-US" sz="1400" b="0" dirty="0" err="1">
                <a:solidFill>
                  <a:schemeClr val="tx2"/>
                </a:solidFill>
                <a:latin typeface="+mn-lt"/>
                <a:cs typeface="Segoe UI" panose="020B0502040204020203" pitchFamily="34" charset="0"/>
              </a:rPr>
              <a:t>eiusmod</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tempor</a:t>
            </a:r>
            <a:r>
              <a:rPr lang="en-US" sz="1400" b="0" dirty="0">
                <a:solidFill>
                  <a:schemeClr val="tx2"/>
                </a:solidFill>
                <a:latin typeface="+mn-lt"/>
                <a:cs typeface="Segoe UI" panose="020B0502040204020203" pitchFamily="34" charset="0"/>
              </a:rPr>
              <a:t>.</a:t>
            </a:r>
          </a:p>
        </p:txBody>
      </p:sp>
      <p:sp>
        <p:nvSpPr>
          <p:cNvPr id="15" name="Title 1">
            <a:extLst>
              <a:ext uri="{FF2B5EF4-FFF2-40B4-BE49-F238E27FC236}">
                <a16:creationId xmlns:a16="http://schemas.microsoft.com/office/drawing/2014/main" id="{755A6A00-7449-416B-B53E-90F1DB5D60CA}"/>
              </a:ext>
            </a:extLst>
          </p:cNvPr>
          <p:cNvSpPr txBox="1">
            <a:spLocks/>
          </p:cNvSpPr>
          <p:nvPr/>
        </p:nvSpPr>
        <p:spPr>
          <a:xfrm>
            <a:off x="4000501" y="5378001"/>
            <a:ext cx="3822700"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mn-lt"/>
                <a:cs typeface="Segoe UI" panose="020B0502040204020203" pitchFamily="34" charset="0"/>
              </a:rPr>
              <a:t>Lorem ipsum dolor sit </a:t>
            </a:r>
            <a:r>
              <a:rPr lang="en-US" sz="1400" b="0" dirty="0" err="1">
                <a:solidFill>
                  <a:schemeClr val="tx2"/>
                </a:solidFill>
                <a:latin typeface="+mn-lt"/>
                <a:cs typeface="Segoe UI" panose="020B0502040204020203" pitchFamily="34" charset="0"/>
              </a:rPr>
              <a:t>amet</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consectetur</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adipiscing</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elit</a:t>
            </a:r>
            <a:r>
              <a:rPr lang="en-US" sz="1400" b="0" dirty="0">
                <a:solidFill>
                  <a:schemeClr val="tx2"/>
                </a:solidFill>
                <a:latin typeface="+mn-lt"/>
                <a:cs typeface="Segoe UI" panose="020B0502040204020203" pitchFamily="34" charset="0"/>
              </a:rPr>
              <a:t>, sed do </a:t>
            </a:r>
            <a:r>
              <a:rPr lang="en-US" sz="1400" b="0" dirty="0" err="1">
                <a:solidFill>
                  <a:schemeClr val="tx2"/>
                </a:solidFill>
                <a:latin typeface="+mn-lt"/>
                <a:cs typeface="Segoe UI" panose="020B0502040204020203" pitchFamily="34" charset="0"/>
              </a:rPr>
              <a:t>eiusmod</a:t>
            </a:r>
            <a:r>
              <a:rPr lang="en-US" sz="1400" b="0" dirty="0">
                <a:solidFill>
                  <a:schemeClr val="tx2"/>
                </a:solidFill>
                <a:latin typeface="+mn-lt"/>
                <a:cs typeface="Segoe UI" panose="020B0502040204020203" pitchFamily="34" charset="0"/>
              </a:rPr>
              <a:t> </a:t>
            </a:r>
            <a:r>
              <a:rPr lang="en-US" sz="1400" b="0" dirty="0" err="1">
                <a:solidFill>
                  <a:schemeClr val="tx2"/>
                </a:solidFill>
                <a:latin typeface="+mn-lt"/>
                <a:cs typeface="Segoe UI" panose="020B0502040204020203" pitchFamily="34" charset="0"/>
              </a:rPr>
              <a:t>tempor</a:t>
            </a:r>
            <a:r>
              <a:rPr lang="en-US" sz="1400" b="0" dirty="0">
                <a:solidFill>
                  <a:schemeClr val="tx2"/>
                </a:solidFill>
                <a:latin typeface="+mn-lt"/>
                <a:cs typeface="Segoe UI" panose="020B0502040204020203" pitchFamily="34" charset="0"/>
              </a:rPr>
              <a:t>.</a:t>
            </a:r>
          </a:p>
        </p:txBody>
      </p:sp>
      <p:cxnSp>
        <p:nvCxnSpPr>
          <p:cNvPr id="16" name="Straight Connector 15">
            <a:extLst>
              <a:ext uri="{FF2B5EF4-FFF2-40B4-BE49-F238E27FC236}">
                <a16:creationId xmlns:a16="http://schemas.microsoft.com/office/drawing/2014/main" id="{DEFCEAC2-2BD7-48D1-8F8A-6287DDA574F1}"/>
              </a:ext>
            </a:extLst>
          </p:cNvPr>
          <p:cNvCxnSpPr>
            <a:cxnSpLocks/>
          </p:cNvCxnSpPr>
          <p:nvPr/>
        </p:nvCxnSpPr>
        <p:spPr>
          <a:xfrm>
            <a:off x="3324224" y="3464774"/>
            <a:ext cx="44989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A55CA0D-54EF-4A56-B25E-01EA5E99C880}"/>
              </a:ext>
            </a:extLst>
          </p:cNvPr>
          <p:cNvCxnSpPr>
            <a:cxnSpLocks/>
          </p:cNvCxnSpPr>
          <p:nvPr/>
        </p:nvCxnSpPr>
        <p:spPr>
          <a:xfrm>
            <a:off x="3324224" y="4307624"/>
            <a:ext cx="44989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ECAA0D8-2290-4EF2-B272-44B674BA6C10}"/>
              </a:ext>
            </a:extLst>
          </p:cNvPr>
          <p:cNvCxnSpPr>
            <a:cxnSpLocks/>
          </p:cNvCxnSpPr>
          <p:nvPr/>
        </p:nvCxnSpPr>
        <p:spPr>
          <a:xfrm>
            <a:off x="3324224" y="5150474"/>
            <a:ext cx="44989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1362173-00D8-4774-9FD4-B327C39E4390}"/>
              </a:ext>
            </a:extLst>
          </p:cNvPr>
          <p:cNvGrpSpPr/>
          <p:nvPr/>
        </p:nvGrpSpPr>
        <p:grpSpPr>
          <a:xfrm>
            <a:off x="3346494" y="3738938"/>
            <a:ext cx="321426" cy="294522"/>
            <a:chOff x="2670175" y="1458913"/>
            <a:chExt cx="360363" cy="330201"/>
          </a:xfrm>
          <a:solidFill>
            <a:srgbClr val="860000"/>
          </a:solidFill>
        </p:grpSpPr>
        <p:sp>
          <p:nvSpPr>
            <p:cNvPr id="20" name="Freeform 84">
              <a:extLst>
                <a:ext uri="{FF2B5EF4-FFF2-40B4-BE49-F238E27FC236}">
                  <a16:creationId xmlns:a16="http://schemas.microsoft.com/office/drawing/2014/main" id="{5909A7AE-2392-45F2-BF3E-48F4B963829A}"/>
                </a:ext>
              </a:extLst>
            </p:cNvPr>
            <p:cNvSpPr>
              <a:spLocks/>
            </p:cNvSpPr>
            <p:nvPr/>
          </p:nvSpPr>
          <p:spPr bwMode="auto">
            <a:xfrm>
              <a:off x="2670175" y="1458913"/>
              <a:ext cx="349250" cy="206375"/>
            </a:xfrm>
            <a:custGeom>
              <a:avLst/>
              <a:gdLst>
                <a:gd name="T0" fmla="*/ 1 w 93"/>
                <a:gd name="T1" fmla="*/ 38 h 55"/>
                <a:gd name="T2" fmla="*/ 0 w 93"/>
                <a:gd name="T3" fmla="*/ 40 h 55"/>
                <a:gd name="T4" fmla="*/ 1 w 93"/>
                <a:gd name="T5" fmla="*/ 42 h 55"/>
                <a:gd name="T6" fmla="*/ 34 w 93"/>
                <a:gd name="T7" fmla="*/ 55 h 55"/>
                <a:gd name="T8" fmla="*/ 93 w 93"/>
                <a:gd name="T9" fmla="*/ 0 h 55"/>
                <a:gd name="T10" fmla="*/ 1 w 93"/>
                <a:gd name="T11" fmla="*/ 38 h 55"/>
              </a:gdLst>
              <a:ahLst/>
              <a:cxnLst>
                <a:cxn ang="0">
                  <a:pos x="T0" y="T1"/>
                </a:cxn>
                <a:cxn ang="0">
                  <a:pos x="T2" y="T3"/>
                </a:cxn>
                <a:cxn ang="0">
                  <a:pos x="T4" y="T5"/>
                </a:cxn>
                <a:cxn ang="0">
                  <a:pos x="T6" y="T7"/>
                </a:cxn>
                <a:cxn ang="0">
                  <a:pos x="T8" y="T9"/>
                </a:cxn>
                <a:cxn ang="0">
                  <a:pos x="T10" y="T11"/>
                </a:cxn>
              </a:cxnLst>
              <a:rect l="0" t="0" r="r" b="b"/>
              <a:pathLst>
                <a:path w="93" h="55">
                  <a:moveTo>
                    <a:pt x="1" y="38"/>
                  </a:moveTo>
                  <a:cubicBezTo>
                    <a:pt x="0" y="38"/>
                    <a:pt x="0" y="39"/>
                    <a:pt x="0" y="40"/>
                  </a:cubicBezTo>
                  <a:cubicBezTo>
                    <a:pt x="0" y="41"/>
                    <a:pt x="1" y="42"/>
                    <a:pt x="1" y="42"/>
                  </a:cubicBezTo>
                  <a:cubicBezTo>
                    <a:pt x="34" y="55"/>
                    <a:pt x="34" y="55"/>
                    <a:pt x="34" y="55"/>
                  </a:cubicBezTo>
                  <a:cubicBezTo>
                    <a:pt x="93" y="0"/>
                    <a:pt x="93" y="0"/>
                    <a:pt x="93" y="0"/>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85">
              <a:extLst>
                <a:ext uri="{FF2B5EF4-FFF2-40B4-BE49-F238E27FC236}">
                  <a16:creationId xmlns:a16="http://schemas.microsoft.com/office/drawing/2014/main" id="{A21BA1EB-0099-4FA6-BC88-0A173C4A4F69}"/>
                </a:ext>
              </a:extLst>
            </p:cNvPr>
            <p:cNvSpPr>
              <a:spLocks/>
            </p:cNvSpPr>
            <p:nvPr/>
          </p:nvSpPr>
          <p:spPr bwMode="auto">
            <a:xfrm>
              <a:off x="2805113" y="1470026"/>
              <a:ext cx="225425" cy="319088"/>
            </a:xfrm>
            <a:custGeom>
              <a:avLst/>
              <a:gdLst>
                <a:gd name="T0" fmla="*/ 0 w 60"/>
                <a:gd name="T1" fmla="*/ 56 h 85"/>
                <a:gd name="T2" fmla="*/ 0 w 60"/>
                <a:gd name="T3" fmla="*/ 56 h 85"/>
                <a:gd name="T4" fmla="*/ 0 w 60"/>
                <a:gd name="T5" fmla="*/ 83 h 85"/>
                <a:gd name="T6" fmla="*/ 2 w 60"/>
                <a:gd name="T7" fmla="*/ 85 h 85"/>
                <a:gd name="T8" fmla="*/ 4 w 60"/>
                <a:gd name="T9" fmla="*/ 84 h 85"/>
                <a:gd name="T10" fmla="*/ 17 w 60"/>
                <a:gd name="T11" fmla="*/ 61 h 85"/>
                <a:gd name="T12" fmla="*/ 41 w 60"/>
                <a:gd name="T13" fmla="*/ 75 h 85"/>
                <a:gd name="T14" fmla="*/ 43 w 60"/>
                <a:gd name="T15" fmla="*/ 75 h 85"/>
                <a:gd name="T16" fmla="*/ 44 w 60"/>
                <a:gd name="T17" fmla="*/ 73 h 85"/>
                <a:gd name="T18" fmla="*/ 60 w 60"/>
                <a:gd name="T19" fmla="*/ 0 h 85"/>
                <a:gd name="T20" fmla="*/ 0 w 60"/>
                <a:gd name="T2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85">
                  <a:moveTo>
                    <a:pt x="0" y="56"/>
                  </a:moveTo>
                  <a:cubicBezTo>
                    <a:pt x="0" y="56"/>
                    <a:pt x="0" y="56"/>
                    <a:pt x="0" y="56"/>
                  </a:cubicBezTo>
                  <a:cubicBezTo>
                    <a:pt x="0" y="83"/>
                    <a:pt x="0" y="83"/>
                    <a:pt x="0" y="83"/>
                  </a:cubicBezTo>
                  <a:cubicBezTo>
                    <a:pt x="0" y="84"/>
                    <a:pt x="1" y="85"/>
                    <a:pt x="2" y="85"/>
                  </a:cubicBezTo>
                  <a:cubicBezTo>
                    <a:pt x="3" y="85"/>
                    <a:pt x="3" y="85"/>
                    <a:pt x="4" y="84"/>
                  </a:cubicBezTo>
                  <a:cubicBezTo>
                    <a:pt x="17" y="61"/>
                    <a:pt x="17" y="61"/>
                    <a:pt x="17" y="61"/>
                  </a:cubicBezTo>
                  <a:cubicBezTo>
                    <a:pt x="41" y="75"/>
                    <a:pt x="41" y="75"/>
                    <a:pt x="41" y="75"/>
                  </a:cubicBezTo>
                  <a:cubicBezTo>
                    <a:pt x="42" y="75"/>
                    <a:pt x="42" y="75"/>
                    <a:pt x="43" y="75"/>
                  </a:cubicBezTo>
                  <a:cubicBezTo>
                    <a:pt x="43" y="75"/>
                    <a:pt x="44" y="74"/>
                    <a:pt x="44" y="73"/>
                  </a:cubicBezTo>
                  <a:cubicBezTo>
                    <a:pt x="60" y="0"/>
                    <a:pt x="60" y="0"/>
                    <a:pt x="60"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2" name="Group 21">
            <a:extLst>
              <a:ext uri="{FF2B5EF4-FFF2-40B4-BE49-F238E27FC236}">
                <a16:creationId xmlns:a16="http://schemas.microsoft.com/office/drawing/2014/main" id="{0362B686-F70A-4576-B168-F80A22E3E59B}"/>
              </a:ext>
            </a:extLst>
          </p:cNvPr>
          <p:cNvGrpSpPr/>
          <p:nvPr/>
        </p:nvGrpSpPr>
        <p:grpSpPr>
          <a:xfrm>
            <a:off x="3340714" y="2888591"/>
            <a:ext cx="332986" cy="309516"/>
            <a:chOff x="6276975" y="3981450"/>
            <a:chExt cx="360363" cy="334963"/>
          </a:xfrm>
          <a:solidFill>
            <a:srgbClr val="860000"/>
          </a:solidFill>
        </p:grpSpPr>
        <p:sp>
          <p:nvSpPr>
            <p:cNvPr id="23" name="Freeform 98">
              <a:extLst>
                <a:ext uri="{FF2B5EF4-FFF2-40B4-BE49-F238E27FC236}">
                  <a16:creationId xmlns:a16="http://schemas.microsoft.com/office/drawing/2014/main" id="{B7D3B909-AB92-4558-ADAE-EB9B46074F29}"/>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99">
              <a:extLst>
                <a:ext uri="{FF2B5EF4-FFF2-40B4-BE49-F238E27FC236}">
                  <a16:creationId xmlns:a16="http://schemas.microsoft.com/office/drawing/2014/main" id="{438313F0-D31E-435E-99FD-42F92DFC0BC0}"/>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100">
              <a:extLst>
                <a:ext uri="{FF2B5EF4-FFF2-40B4-BE49-F238E27FC236}">
                  <a16:creationId xmlns:a16="http://schemas.microsoft.com/office/drawing/2014/main" id="{17CA0BA4-1A9C-4210-8654-619268FFDD61}"/>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101">
              <a:extLst>
                <a:ext uri="{FF2B5EF4-FFF2-40B4-BE49-F238E27FC236}">
                  <a16:creationId xmlns:a16="http://schemas.microsoft.com/office/drawing/2014/main" id="{FB4F8DB5-67E7-4D09-98E6-C9C926064AFA}"/>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7" name="Freeform 18">
            <a:extLst>
              <a:ext uri="{FF2B5EF4-FFF2-40B4-BE49-F238E27FC236}">
                <a16:creationId xmlns:a16="http://schemas.microsoft.com/office/drawing/2014/main" id="{568A56C9-CC66-490F-B609-44A549042338}"/>
              </a:ext>
            </a:extLst>
          </p:cNvPr>
          <p:cNvSpPr>
            <a:spLocks noEditPoints="1"/>
          </p:cNvSpPr>
          <p:nvPr/>
        </p:nvSpPr>
        <p:spPr bwMode="auto">
          <a:xfrm>
            <a:off x="3353801" y="2045743"/>
            <a:ext cx="306812" cy="309514"/>
          </a:xfrm>
          <a:custGeom>
            <a:avLst/>
            <a:gdLst>
              <a:gd name="T0" fmla="*/ 94 w 96"/>
              <a:gd name="T1" fmla="*/ 0 h 96"/>
              <a:gd name="T2" fmla="*/ 2 w 96"/>
              <a:gd name="T3" fmla="*/ 0 h 96"/>
              <a:gd name="T4" fmla="*/ 0 w 96"/>
              <a:gd name="T5" fmla="*/ 2 h 96"/>
              <a:gd name="T6" fmla="*/ 0 w 96"/>
              <a:gd name="T7" fmla="*/ 94 h 96"/>
              <a:gd name="T8" fmla="*/ 2 w 96"/>
              <a:gd name="T9" fmla="*/ 96 h 96"/>
              <a:gd name="T10" fmla="*/ 94 w 96"/>
              <a:gd name="T11" fmla="*/ 96 h 96"/>
              <a:gd name="T12" fmla="*/ 96 w 96"/>
              <a:gd name="T13" fmla="*/ 94 h 96"/>
              <a:gd name="T14" fmla="*/ 96 w 96"/>
              <a:gd name="T15" fmla="*/ 2 h 96"/>
              <a:gd name="T16" fmla="*/ 94 w 96"/>
              <a:gd name="T17" fmla="*/ 0 h 96"/>
              <a:gd name="T18" fmla="*/ 43 w 96"/>
              <a:gd name="T19" fmla="*/ 55 h 96"/>
              <a:gd name="T20" fmla="*/ 23 w 96"/>
              <a:gd name="T21" fmla="*/ 75 h 96"/>
              <a:gd name="T22" fmla="*/ 22 w 96"/>
              <a:gd name="T23" fmla="*/ 76 h 96"/>
              <a:gd name="T24" fmla="*/ 21 w 96"/>
              <a:gd name="T25" fmla="*/ 75 h 96"/>
              <a:gd name="T26" fmla="*/ 13 w 96"/>
              <a:gd name="T27" fmla="*/ 67 h 96"/>
              <a:gd name="T28" fmla="*/ 13 w 96"/>
              <a:gd name="T29" fmla="*/ 65 h 96"/>
              <a:gd name="T30" fmla="*/ 15 w 96"/>
              <a:gd name="T31" fmla="*/ 65 h 96"/>
              <a:gd name="T32" fmla="*/ 22 w 96"/>
              <a:gd name="T33" fmla="*/ 71 h 96"/>
              <a:gd name="T34" fmla="*/ 41 w 96"/>
              <a:gd name="T35" fmla="*/ 53 h 96"/>
              <a:gd name="T36" fmla="*/ 43 w 96"/>
              <a:gd name="T37" fmla="*/ 53 h 96"/>
              <a:gd name="T38" fmla="*/ 43 w 96"/>
              <a:gd name="T39" fmla="*/ 55 h 96"/>
              <a:gd name="T40" fmla="*/ 43 w 96"/>
              <a:gd name="T41" fmla="*/ 17 h 96"/>
              <a:gd name="T42" fmla="*/ 23 w 96"/>
              <a:gd name="T43" fmla="*/ 37 h 96"/>
              <a:gd name="T44" fmla="*/ 22 w 96"/>
              <a:gd name="T45" fmla="*/ 38 h 96"/>
              <a:gd name="T46" fmla="*/ 21 w 96"/>
              <a:gd name="T47" fmla="*/ 37 h 96"/>
              <a:gd name="T48" fmla="*/ 13 w 96"/>
              <a:gd name="T49" fmla="*/ 29 h 96"/>
              <a:gd name="T50" fmla="*/ 13 w 96"/>
              <a:gd name="T51" fmla="*/ 27 h 96"/>
              <a:gd name="T52" fmla="*/ 15 w 96"/>
              <a:gd name="T53" fmla="*/ 27 h 96"/>
              <a:gd name="T54" fmla="*/ 22 w 96"/>
              <a:gd name="T55" fmla="*/ 33 h 96"/>
              <a:gd name="T56" fmla="*/ 41 w 96"/>
              <a:gd name="T57" fmla="*/ 15 h 96"/>
              <a:gd name="T58" fmla="*/ 43 w 96"/>
              <a:gd name="T59" fmla="*/ 15 h 96"/>
              <a:gd name="T60" fmla="*/ 43 w 96"/>
              <a:gd name="T61" fmla="*/ 17 h 96"/>
              <a:gd name="T62" fmla="*/ 82 w 96"/>
              <a:gd name="T63" fmla="*/ 72 h 96"/>
              <a:gd name="T64" fmla="*/ 50 w 96"/>
              <a:gd name="T65" fmla="*/ 72 h 96"/>
              <a:gd name="T66" fmla="*/ 48 w 96"/>
              <a:gd name="T67" fmla="*/ 70 h 96"/>
              <a:gd name="T68" fmla="*/ 50 w 96"/>
              <a:gd name="T69" fmla="*/ 68 h 96"/>
              <a:gd name="T70" fmla="*/ 82 w 96"/>
              <a:gd name="T71" fmla="*/ 68 h 96"/>
              <a:gd name="T72" fmla="*/ 84 w 96"/>
              <a:gd name="T73" fmla="*/ 70 h 96"/>
              <a:gd name="T74" fmla="*/ 82 w 96"/>
              <a:gd name="T75" fmla="*/ 72 h 96"/>
              <a:gd name="T76" fmla="*/ 82 w 96"/>
              <a:gd name="T77" fmla="*/ 36 h 96"/>
              <a:gd name="T78" fmla="*/ 50 w 96"/>
              <a:gd name="T79" fmla="*/ 36 h 96"/>
              <a:gd name="T80" fmla="*/ 48 w 96"/>
              <a:gd name="T81" fmla="*/ 34 h 96"/>
              <a:gd name="T82" fmla="*/ 50 w 96"/>
              <a:gd name="T83" fmla="*/ 32 h 96"/>
              <a:gd name="T84" fmla="*/ 82 w 96"/>
              <a:gd name="T85" fmla="*/ 32 h 96"/>
              <a:gd name="T86" fmla="*/ 84 w 96"/>
              <a:gd name="T87" fmla="*/ 34 h 96"/>
              <a:gd name="T88" fmla="*/ 82 w 96"/>
              <a:gd name="T89" fmla="*/ 3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 h="96">
                <a:moveTo>
                  <a:pt x="94" y="0"/>
                </a:moveTo>
                <a:cubicBezTo>
                  <a:pt x="2" y="0"/>
                  <a:pt x="2" y="0"/>
                  <a:pt x="2" y="0"/>
                </a:cubicBezTo>
                <a:cubicBezTo>
                  <a:pt x="1" y="0"/>
                  <a:pt x="0" y="1"/>
                  <a:pt x="0" y="2"/>
                </a:cubicBezTo>
                <a:cubicBezTo>
                  <a:pt x="0" y="94"/>
                  <a:pt x="0" y="94"/>
                  <a:pt x="0" y="94"/>
                </a:cubicBezTo>
                <a:cubicBezTo>
                  <a:pt x="0" y="95"/>
                  <a:pt x="1" y="96"/>
                  <a:pt x="2" y="96"/>
                </a:cubicBezTo>
                <a:cubicBezTo>
                  <a:pt x="94" y="96"/>
                  <a:pt x="94" y="96"/>
                  <a:pt x="94" y="96"/>
                </a:cubicBezTo>
                <a:cubicBezTo>
                  <a:pt x="95" y="96"/>
                  <a:pt x="96" y="95"/>
                  <a:pt x="96" y="94"/>
                </a:cubicBezTo>
                <a:cubicBezTo>
                  <a:pt x="96" y="2"/>
                  <a:pt x="96" y="2"/>
                  <a:pt x="96" y="2"/>
                </a:cubicBezTo>
                <a:cubicBezTo>
                  <a:pt x="96" y="1"/>
                  <a:pt x="95" y="0"/>
                  <a:pt x="94" y="0"/>
                </a:cubicBezTo>
                <a:close/>
                <a:moveTo>
                  <a:pt x="43" y="55"/>
                </a:moveTo>
                <a:cubicBezTo>
                  <a:pt x="23" y="75"/>
                  <a:pt x="23" y="75"/>
                  <a:pt x="23" y="75"/>
                </a:cubicBezTo>
                <a:cubicBezTo>
                  <a:pt x="23" y="76"/>
                  <a:pt x="23" y="76"/>
                  <a:pt x="22" y="76"/>
                </a:cubicBezTo>
                <a:cubicBezTo>
                  <a:pt x="21" y="76"/>
                  <a:pt x="21" y="76"/>
                  <a:pt x="21" y="75"/>
                </a:cubicBezTo>
                <a:cubicBezTo>
                  <a:pt x="13" y="67"/>
                  <a:pt x="13" y="67"/>
                  <a:pt x="13" y="67"/>
                </a:cubicBezTo>
                <a:cubicBezTo>
                  <a:pt x="12" y="67"/>
                  <a:pt x="12" y="65"/>
                  <a:pt x="13" y="65"/>
                </a:cubicBezTo>
                <a:cubicBezTo>
                  <a:pt x="13" y="64"/>
                  <a:pt x="15" y="64"/>
                  <a:pt x="15" y="65"/>
                </a:cubicBezTo>
                <a:cubicBezTo>
                  <a:pt x="22" y="71"/>
                  <a:pt x="22" y="71"/>
                  <a:pt x="22" y="71"/>
                </a:cubicBezTo>
                <a:cubicBezTo>
                  <a:pt x="41" y="53"/>
                  <a:pt x="41" y="53"/>
                  <a:pt x="41" y="53"/>
                </a:cubicBezTo>
                <a:cubicBezTo>
                  <a:pt x="41" y="52"/>
                  <a:pt x="43" y="52"/>
                  <a:pt x="43" y="53"/>
                </a:cubicBezTo>
                <a:cubicBezTo>
                  <a:pt x="44" y="53"/>
                  <a:pt x="44" y="55"/>
                  <a:pt x="43" y="55"/>
                </a:cubicBezTo>
                <a:close/>
                <a:moveTo>
                  <a:pt x="43" y="17"/>
                </a:moveTo>
                <a:cubicBezTo>
                  <a:pt x="23" y="37"/>
                  <a:pt x="23" y="37"/>
                  <a:pt x="23" y="37"/>
                </a:cubicBezTo>
                <a:cubicBezTo>
                  <a:pt x="23" y="38"/>
                  <a:pt x="23" y="38"/>
                  <a:pt x="22" y="38"/>
                </a:cubicBezTo>
                <a:cubicBezTo>
                  <a:pt x="21" y="38"/>
                  <a:pt x="21" y="38"/>
                  <a:pt x="21" y="37"/>
                </a:cubicBezTo>
                <a:cubicBezTo>
                  <a:pt x="13" y="29"/>
                  <a:pt x="13" y="29"/>
                  <a:pt x="13" y="29"/>
                </a:cubicBezTo>
                <a:cubicBezTo>
                  <a:pt x="12" y="29"/>
                  <a:pt x="12" y="27"/>
                  <a:pt x="13" y="27"/>
                </a:cubicBezTo>
                <a:cubicBezTo>
                  <a:pt x="13" y="26"/>
                  <a:pt x="15" y="26"/>
                  <a:pt x="15" y="27"/>
                </a:cubicBezTo>
                <a:cubicBezTo>
                  <a:pt x="22" y="33"/>
                  <a:pt x="22" y="33"/>
                  <a:pt x="22" y="33"/>
                </a:cubicBezTo>
                <a:cubicBezTo>
                  <a:pt x="41" y="15"/>
                  <a:pt x="41" y="15"/>
                  <a:pt x="41" y="15"/>
                </a:cubicBezTo>
                <a:cubicBezTo>
                  <a:pt x="41" y="14"/>
                  <a:pt x="43" y="14"/>
                  <a:pt x="43" y="15"/>
                </a:cubicBezTo>
                <a:cubicBezTo>
                  <a:pt x="44" y="15"/>
                  <a:pt x="44" y="17"/>
                  <a:pt x="43" y="17"/>
                </a:cubicBezTo>
                <a:close/>
                <a:moveTo>
                  <a:pt x="82" y="72"/>
                </a:moveTo>
                <a:cubicBezTo>
                  <a:pt x="50" y="72"/>
                  <a:pt x="50" y="72"/>
                  <a:pt x="50" y="72"/>
                </a:cubicBezTo>
                <a:cubicBezTo>
                  <a:pt x="49" y="72"/>
                  <a:pt x="48" y="71"/>
                  <a:pt x="48" y="70"/>
                </a:cubicBezTo>
                <a:cubicBezTo>
                  <a:pt x="48" y="69"/>
                  <a:pt x="49" y="68"/>
                  <a:pt x="50" y="68"/>
                </a:cubicBezTo>
                <a:cubicBezTo>
                  <a:pt x="82" y="68"/>
                  <a:pt x="82" y="68"/>
                  <a:pt x="82" y="68"/>
                </a:cubicBezTo>
                <a:cubicBezTo>
                  <a:pt x="83" y="68"/>
                  <a:pt x="84" y="69"/>
                  <a:pt x="84" y="70"/>
                </a:cubicBezTo>
                <a:cubicBezTo>
                  <a:pt x="84" y="71"/>
                  <a:pt x="83" y="72"/>
                  <a:pt x="82" y="72"/>
                </a:cubicBezTo>
                <a:close/>
                <a:moveTo>
                  <a:pt x="82" y="36"/>
                </a:moveTo>
                <a:cubicBezTo>
                  <a:pt x="50" y="36"/>
                  <a:pt x="50" y="36"/>
                  <a:pt x="50" y="36"/>
                </a:cubicBezTo>
                <a:cubicBezTo>
                  <a:pt x="49" y="36"/>
                  <a:pt x="48" y="35"/>
                  <a:pt x="48" y="34"/>
                </a:cubicBezTo>
                <a:cubicBezTo>
                  <a:pt x="48" y="33"/>
                  <a:pt x="49" y="32"/>
                  <a:pt x="50" y="32"/>
                </a:cubicBezTo>
                <a:cubicBezTo>
                  <a:pt x="82" y="32"/>
                  <a:pt x="82" y="32"/>
                  <a:pt x="82" y="32"/>
                </a:cubicBezTo>
                <a:cubicBezTo>
                  <a:pt x="83" y="32"/>
                  <a:pt x="84" y="33"/>
                  <a:pt x="84" y="34"/>
                </a:cubicBezTo>
                <a:cubicBezTo>
                  <a:pt x="84" y="35"/>
                  <a:pt x="83" y="36"/>
                  <a:pt x="82" y="36"/>
                </a:cubicBezTo>
                <a:close/>
              </a:path>
            </a:pathLst>
          </a:custGeom>
          <a:solidFill>
            <a:srgbClr val="860000"/>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28" name="Group 27">
            <a:extLst>
              <a:ext uri="{FF2B5EF4-FFF2-40B4-BE49-F238E27FC236}">
                <a16:creationId xmlns:a16="http://schemas.microsoft.com/office/drawing/2014/main" id="{7777F9FC-72AE-46DD-A451-C53772082FA5}"/>
              </a:ext>
            </a:extLst>
          </p:cNvPr>
          <p:cNvGrpSpPr/>
          <p:nvPr/>
        </p:nvGrpSpPr>
        <p:grpSpPr>
          <a:xfrm>
            <a:off x="3346494" y="4565454"/>
            <a:ext cx="321426" cy="327190"/>
            <a:chOff x="8447088" y="3609976"/>
            <a:chExt cx="354013" cy="360362"/>
          </a:xfrm>
          <a:solidFill>
            <a:srgbClr val="860000"/>
          </a:solidFill>
        </p:grpSpPr>
        <p:sp>
          <p:nvSpPr>
            <p:cNvPr id="29" name="Oval 161">
              <a:extLst>
                <a:ext uri="{FF2B5EF4-FFF2-40B4-BE49-F238E27FC236}">
                  <a16:creationId xmlns:a16="http://schemas.microsoft.com/office/drawing/2014/main" id="{3AC23AAD-5F37-41BA-A8F0-71B7E66B6049}"/>
                </a:ext>
              </a:extLst>
            </p:cNvPr>
            <p:cNvSpPr>
              <a:spLocks noChangeArrowheads="1"/>
            </p:cNvSpPr>
            <p:nvPr/>
          </p:nvSpPr>
          <p:spPr bwMode="auto">
            <a:xfrm>
              <a:off x="8477250"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162">
              <a:extLst>
                <a:ext uri="{FF2B5EF4-FFF2-40B4-BE49-F238E27FC236}">
                  <a16:creationId xmlns:a16="http://schemas.microsoft.com/office/drawing/2014/main" id="{EE958E5F-2F34-42F5-9504-D38F8C5E3829}"/>
                </a:ext>
              </a:extLst>
            </p:cNvPr>
            <p:cNvSpPr>
              <a:spLocks/>
            </p:cNvSpPr>
            <p:nvPr/>
          </p:nvSpPr>
          <p:spPr bwMode="auto">
            <a:xfrm>
              <a:off x="8447088"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163">
              <a:extLst>
                <a:ext uri="{FF2B5EF4-FFF2-40B4-BE49-F238E27FC236}">
                  <a16:creationId xmlns:a16="http://schemas.microsoft.com/office/drawing/2014/main" id="{867C40C0-DC5F-4D96-928E-DDDC7DA29B0D}"/>
                </a:ext>
              </a:extLst>
            </p:cNvPr>
            <p:cNvSpPr>
              <a:spLocks noEditPoints="1"/>
            </p:cNvSpPr>
            <p:nvPr/>
          </p:nvSpPr>
          <p:spPr bwMode="auto">
            <a:xfrm>
              <a:off x="8583613"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2" name="Group 31">
            <a:extLst>
              <a:ext uri="{FF2B5EF4-FFF2-40B4-BE49-F238E27FC236}">
                <a16:creationId xmlns:a16="http://schemas.microsoft.com/office/drawing/2014/main" id="{0E43766B-B1BE-46D5-93B6-63A70136188D}"/>
              </a:ext>
            </a:extLst>
          </p:cNvPr>
          <p:cNvGrpSpPr/>
          <p:nvPr/>
        </p:nvGrpSpPr>
        <p:grpSpPr>
          <a:xfrm>
            <a:off x="3348560" y="5383035"/>
            <a:ext cx="317294" cy="377731"/>
            <a:chOff x="4143375" y="3613150"/>
            <a:chExt cx="300038" cy="357188"/>
          </a:xfrm>
          <a:solidFill>
            <a:srgbClr val="860000"/>
          </a:solidFill>
        </p:grpSpPr>
        <p:sp>
          <p:nvSpPr>
            <p:cNvPr id="33" name="Freeform 172">
              <a:extLst>
                <a:ext uri="{FF2B5EF4-FFF2-40B4-BE49-F238E27FC236}">
                  <a16:creationId xmlns:a16="http://schemas.microsoft.com/office/drawing/2014/main" id="{069730E3-D37C-4D45-8B8C-9484A23E4E8F}"/>
                </a:ext>
              </a:extLst>
            </p:cNvPr>
            <p:cNvSpPr>
              <a:spLocks/>
            </p:cNvSpPr>
            <p:nvPr/>
          </p:nvSpPr>
          <p:spPr bwMode="auto">
            <a:xfrm>
              <a:off x="4143375" y="3695700"/>
              <a:ext cx="300038" cy="274638"/>
            </a:xfrm>
            <a:custGeom>
              <a:avLst/>
              <a:gdLst>
                <a:gd name="T0" fmla="*/ 63 w 80"/>
                <a:gd name="T1" fmla="*/ 0 h 73"/>
                <a:gd name="T2" fmla="*/ 55 w 80"/>
                <a:gd name="T3" fmla="*/ 7 h 73"/>
                <a:gd name="T4" fmla="*/ 58 w 80"/>
                <a:gd name="T5" fmla="*/ 17 h 73"/>
                <a:gd name="T6" fmla="*/ 64 w 80"/>
                <a:gd name="T7" fmla="*/ 33 h 73"/>
                <a:gd name="T8" fmla="*/ 40 w 80"/>
                <a:gd name="T9" fmla="*/ 57 h 73"/>
                <a:gd name="T10" fmla="*/ 16 w 80"/>
                <a:gd name="T11" fmla="*/ 33 h 73"/>
                <a:gd name="T12" fmla="*/ 22 w 80"/>
                <a:gd name="T13" fmla="*/ 17 h 73"/>
                <a:gd name="T14" fmla="*/ 25 w 80"/>
                <a:gd name="T15" fmla="*/ 7 h 73"/>
                <a:gd name="T16" fmla="*/ 17 w 80"/>
                <a:gd name="T17" fmla="*/ 0 h 73"/>
                <a:gd name="T18" fmla="*/ 0 w 80"/>
                <a:gd name="T19" fmla="*/ 33 h 73"/>
                <a:gd name="T20" fmla="*/ 40 w 80"/>
                <a:gd name="T21" fmla="*/ 73 h 73"/>
                <a:gd name="T22" fmla="*/ 80 w 80"/>
                <a:gd name="T23" fmla="*/ 33 h 73"/>
                <a:gd name="T24" fmla="*/ 63 w 80"/>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73">
                  <a:moveTo>
                    <a:pt x="63" y="0"/>
                  </a:moveTo>
                  <a:cubicBezTo>
                    <a:pt x="55" y="7"/>
                    <a:pt x="55" y="7"/>
                    <a:pt x="55" y="7"/>
                  </a:cubicBezTo>
                  <a:cubicBezTo>
                    <a:pt x="58" y="17"/>
                    <a:pt x="58" y="17"/>
                    <a:pt x="58" y="17"/>
                  </a:cubicBezTo>
                  <a:cubicBezTo>
                    <a:pt x="62" y="21"/>
                    <a:pt x="64" y="27"/>
                    <a:pt x="64" y="33"/>
                  </a:cubicBezTo>
                  <a:cubicBezTo>
                    <a:pt x="64" y="46"/>
                    <a:pt x="53" y="57"/>
                    <a:pt x="40" y="57"/>
                  </a:cubicBezTo>
                  <a:cubicBezTo>
                    <a:pt x="27" y="57"/>
                    <a:pt x="16" y="46"/>
                    <a:pt x="16" y="33"/>
                  </a:cubicBezTo>
                  <a:cubicBezTo>
                    <a:pt x="16" y="27"/>
                    <a:pt x="18" y="21"/>
                    <a:pt x="22" y="17"/>
                  </a:cubicBezTo>
                  <a:cubicBezTo>
                    <a:pt x="25" y="7"/>
                    <a:pt x="25" y="7"/>
                    <a:pt x="25" y="7"/>
                  </a:cubicBezTo>
                  <a:cubicBezTo>
                    <a:pt x="17" y="0"/>
                    <a:pt x="17" y="0"/>
                    <a:pt x="17" y="0"/>
                  </a:cubicBezTo>
                  <a:cubicBezTo>
                    <a:pt x="7" y="8"/>
                    <a:pt x="0" y="20"/>
                    <a:pt x="0" y="33"/>
                  </a:cubicBezTo>
                  <a:cubicBezTo>
                    <a:pt x="0" y="55"/>
                    <a:pt x="18" y="73"/>
                    <a:pt x="40" y="73"/>
                  </a:cubicBezTo>
                  <a:cubicBezTo>
                    <a:pt x="62" y="73"/>
                    <a:pt x="80" y="55"/>
                    <a:pt x="80" y="33"/>
                  </a:cubicBezTo>
                  <a:cubicBezTo>
                    <a:pt x="80" y="20"/>
                    <a:pt x="73" y="8"/>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173">
              <a:extLst>
                <a:ext uri="{FF2B5EF4-FFF2-40B4-BE49-F238E27FC236}">
                  <a16:creationId xmlns:a16="http://schemas.microsoft.com/office/drawing/2014/main" id="{6539B243-91A2-4D9D-8A21-FD8D9CD12D7E}"/>
                </a:ext>
              </a:extLst>
            </p:cNvPr>
            <p:cNvSpPr>
              <a:spLocks/>
            </p:cNvSpPr>
            <p:nvPr/>
          </p:nvSpPr>
          <p:spPr bwMode="auto">
            <a:xfrm>
              <a:off x="4210050" y="3613150"/>
              <a:ext cx="165100" cy="173038"/>
            </a:xfrm>
            <a:custGeom>
              <a:avLst/>
              <a:gdLst>
                <a:gd name="T0" fmla="*/ 44 w 44"/>
                <a:gd name="T1" fmla="*/ 16 h 46"/>
                <a:gd name="T2" fmla="*/ 42 w 44"/>
                <a:gd name="T3" fmla="*/ 15 h 46"/>
                <a:gd name="T4" fmla="*/ 29 w 44"/>
                <a:gd name="T5" fmla="*/ 15 h 46"/>
                <a:gd name="T6" fmla="*/ 24 w 44"/>
                <a:gd name="T7" fmla="*/ 2 h 46"/>
                <a:gd name="T8" fmla="*/ 20 w 44"/>
                <a:gd name="T9" fmla="*/ 2 h 46"/>
                <a:gd name="T10" fmla="*/ 15 w 44"/>
                <a:gd name="T11" fmla="*/ 15 h 46"/>
                <a:gd name="T12" fmla="*/ 2 w 44"/>
                <a:gd name="T13" fmla="*/ 15 h 46"/>
                <a:gd name="T14" fmla="*/ 0 w 44"/>
                <a:gd name="T15" fmla="*/ 16 h 46"/>
                <a:gd name="T16" fmla="*/ 1 w 44"/>
                <a:gd name="T17" fmla="*/ 18 h 46"/>
                <a:gd name="T18" fmla="*/ 11 w 44"/>
                <a:gd name="T19" fmla="*/ 28 h 46"/>
                <a:gd name="T20" fmla="*/ 7 w 44"/>
                <a:gd name="T21" fmla="*/ 43 h 46"/>
                <a:gd name="T22" fmla="*/ 8 w 44"/>
                <a:gd name="T23" fmla="*/ 45 h 46"/>
                <a:gd name="T24" fmla="*/ 9 w 44"/>
                <a:gd name="T25" fmla="*/ 46 h 46"/>
                <a:gd name="T26" fmla="*/ 10 w 44"/>
                <a:gd name="T27" fmla="*/ 45 h 46"/>
                <a:gd name="T28" fmla="*/ 22 w 44"/>
                <a:gd name="T29" fmla="*/ 36 h 46"/>
                <a:gd name="T30" fmla="*/ 34 w 44"/>
                <a:gd name="T31" fmla="*/ 45 h 46"/>
                <a:gd name="T32" fmla="*/ 36 w 44"/>
                <a:gd name="T33" fmla="*/ 45 h 46"/>
                <a:gd name="T34" fmla="*/ 37 w 44"/>
                <a:gd name="T35" fmla="*/ 43 h 46"/>
                <a:gd name="T36" fmla="*/ 33 w 44"/>
                <a:gd name="T37" fmla="*/ 28 h 46"/>
                <a:gd name="T38" fmla="*/ 43 w 44"/>
                <a:gd name="T39" fmla="*/ 18 h 46"/>
                <a:gd name="T40" fmla="*/ 44 w 44"/>
                <a:gd name="T41"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6">
                  <a:moveTo>
                    <a:pt x="44" y="16"/>
                  </a:moveTo>
                  <a:cubicBezTo>
                    <a:pt x="44" y="16"/>
                    <a:pt x="43" y="15"/>
                    <a:pt x="42" y="15"/>
                  </a:cubicBezTo>
                  <a:cubicBezTo>
                    <a:pt x="29" y="15"/>
                    <a:pt x="29" y="15"/>
                    <a:pt x="29" y="15"/>
                  </a:cubicBezTo>
                  <a:cubicBezTo>
                    <a:pt x="24" y="2"/>
                    <a:pt x="24" y="2"/>
                    <a:pt x="24" y="2"/>
                  </a:cubicBezTo>
                  <a:cubicBezTo>
                    <a:pt x="23" y="0"/>
                    <a:pt x="21" y="0"/>
                    <a:pt x="20" y="2"/>
                  </a:cubicBezTo>
                  <a:cubicBezTo>
                    <a:pt x="15" y="15"/>
                    <a:pt x="15" y="15"/>
                    <a:pt x="15" y="15"/>
                  </a:cubicBezTo>
                  <a:cubicBezTo>
                    <a:pt x="2" y="15"/>
                    <a:pt x="2" y="15"/>
                    <a:pt x="2" y="15"/>
                  </a:cubicBezTo>
                  <a:cubicBezTo>
                    <a:pt x="1" y="15"/>
                    <a:pt x="0" y="16"/>
                    <a:pt x="0" y="16"/>
                  </a:cubicBezTo>
                  <a:cubicBezTo>
                    <a:pt x="0" y="17"/>
                    <a:pt x="0" y="18"/>
                    <a:pt x="1" y="18"/>
                  </a:cubicBezTo>
                  <a:cubicBezTo>
                    <a:pt x="11" y="28"/>
                    <a:pt x="11" y="28"/>
                    <a:pt x="11" y="28"/>
                  </a:cubicBezTo>
                  <a:cubicBezTo>
                    <a:pt x="7" y="43"/>
                    <a:pt x="7" y="43"/>
                    <a:pt x="7" y="43"/>
                  </a:cubicBezTo>
                  <a:cubicBezTo>
                    <a:pt x="7" y="44"/>
                    <a:pt x="7" y="45"/>
                    <a:pt x="8" y="45"/>
                  </a:cubicBezTo>
                  <a:cubicBezTo>
                    <a:pt x="8" y="45"/>
                    <a:pt x="9" y="46"/>
                    <a:pt x="9" y="46"/>
                  </a:cubicBezTo>
                  <a:cubicBezTo>
                    <a:pt x="10" y="46"/>
                    <a:pt x="10" y="45"/>
                    <a:pt x="10" y="45"/>
                  </a:cubicBezTo>
                  <a:cubicBezTo>
                    <a:pt x="22" y="36"/>
                    <a:pt x="22" y="36"/>
                    <a:pt x="22" y="36"/>
                  </a:cubicBezTo>
                  <a:cubicBezTo>
                    <a:pt x="34" y="45"/>
                    <a:pt x="34" y="45"/>
                    <a:pt x="34" y="45"/>
                  </a:cubicBezTo>
                  <a:cubicBezTo>
                    <a:pt x="34" y="46"/>
                    <a:pt x="35" y="46"/>
                    <a:pt x="36" y="45"/>
                  </a:cubicBezTo>
                  <a:cubicBezTo>
                    <a:pt x="37" y="45"/>
                    <a:pt x="37" y="44"/>
                    <a:pt x="37" y="43"/>
                  </a:cubicBezTo>
                  <a:cubicBezTo>
                    <a:pt x="33" y="28"/>
                    <a:pt x="33" y="28"/>
                    <a:pt x="33" y="28"/>
                  </a:cubicBezTo>
                  <a:cubicBezTo>
                    <a:pt x="43" y="18"/>
                    <a:pt x="43" y="18"/>
                    <a:pt x="43" y="18"/>
                  </a:cubicBezTo>
                  <a:cubicBezTo>
                    <a:pt x="44" y="18"/>
                    <a:pt x="44" y="17"/>
                    <a:pt x="4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74">
              <a:extLst>
                <a:ext uri="{FF2B5EF4-FFF2-40B4-BE49-F238E27FC236}">
                  <a16:creationId xmlns:a16="http://schemas.microsoft.com/office/drawing/2014/main" id="{099D1D0D-6D65-4D91-A2C2-CB3B5402906B}"/>
                </a:ext>
              </a:extLst>
            </p:cNvPr>
            <p:cNvSpPr>
              <a:spLocks/>
            </p:cNvSpPr>
            <p:nvPr/>
          </p:nvSpPr>
          <p:spPr bwMode="auto">
            <a:xfrm>
              <a:off x="4248150" y="3767138"/>
              <a:ext cx="90488" cy="120650"/>
            </a:xfrm>
            <a:custGeom>
              <a:avLst/>
              <a:gdLst>
                <a:gd name="T0" fmla="*/ 24 w 24"/>
                <a:gd name="T1" fmla="*/ 28 h 32"/>
                <a:gd name="T2" fmla="*/ 14 w 24"/>
                <a:gd name="T3" fmla="*/ 1 h 32"/>
                <a:gd name="T4" fmla="*/ 12 w 24"/>
                <a:gd name="T5" fmla="*/ 0 h 32"/>
                <a:gd name="T6" fmla="*/ 10 w 24"/>
                <a:gd name="T7" fmla="*/ 1 h 32"/>
                <a:gd name="T8" fmla="*/ 0 w 24"/>
                <a:gd name="T9" fmla="*/ 29 h 32"/>
                <a:gd name="T10" fmla="*/ 0 w 24"/>
                <a:gd name="T11" fmla="*/ 31 h 32"/>
                <a:gd name="T12" fmla="*/ 2 w 24"/>
                <a:gd name="T13" fmla="*/ 32 h 32"/>
                <a:gd name="T14" fmla="*/ 22 w 24"/>
                <a:gd name="T15" fmla="*/ 32 h 32"/>
                <a:gd name="T16" fmla="*/ 22 w 24"/>
                <a:gd name="T17" fmla="*/ 32 h 32"/>
                <a:gd name="T18" fmla="*/ 24 w 24"/>
                <a:gd name="T19" fmla="*/ 30 h 32"/>
                <a:gd name="T20" fmla="*/ 24 w 24"/>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24" y="28"/>
                  </a:moveTo>
                  <a:cubicBezTo>
                    <a:pt x="14" y="1"/>
                    <a:pt x="14" y="1"/>
                    <a:pt x="14" y="1"/>
                  </a:cubicBezTo>
                  <a:cubicBezTo>
                    <a:pt x="14" y="1"/>
                    <a:pt x="13" y="0"/>
                    <a:pt x="12" y="0"/>
                  </a:cubicBezTo>
                  <a:cubicBezTo>
                    <a:pt x="11" y="0"/>
                    <a:pt x="10" y="1"/>
                    <a:pt x="10" y="1"/>
                  </a:cubicBezTo>
                  <a:cubicBezTo>
                    <a:pt x="0" y="29"/>
                    <a:pt x="0" y="29"/>
                    <a:pt x="0" y="29"/>
                  </a:cubicBezTo>
                  <a:cubicBezTo>
                    <a:pt x="0" y="29"/>
                    <a:pt x="0" y="30"/>
                    <a:pt x="0" y="31"/>
                  </a:cubicBezTo>
                  <a:cubicBezTo>
                    <a:pt x="1" y="31"/>
                    <a:pt x="1" y="32"/>
                    <a:pt x="2" y="32"/>
                  </a:cubicBezTo>
                  <a:cubicBezTo>
                    <a:pt x="22" y="32"/>
                    <a:pt x="22" y="32"/>
                    <a:pt x="22" y="32"/>
                  </a:cubicBezTo>
                  <a:cubicBezTo>
                    <a:pt x="22" y="32"/>
                    <a:pt x="22" y="32"/>
                    <a:pt x="22" y="32"/>
                  </a:cubicBezTo>
                  <a:cubicBezTo>
                    <a:pt x="23" y="32"/>
                    <a:pt x="24" y="31"/>
                    <a:pt x="24" y="30"/>
                  </a:cubicBezTo>
                  <a:cubicBezTo>
                    <a:pt x="24" y="29"/>
                    <a:pt x="24" y="29"/>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14339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9" name="Group 178">
            <a:extLst>
              <a:ext uri="{FF2B5EF4-FFF2-40B4-BE49-F238E27FC236}">
                <a16:creationId xmlns:a16="http://schemas.microsoft.com/office/drawing/2014/main" id="{32BD925E-0CE8-4479-AE6E-09E372CA2F19}"/>
              </a:ext>
            </a:extLst>
          </p:cNvPr>
          <p:cNvGrpSpPr/>
          <p:nvPr/>
        </p:nvGrpSpPr>
        <p:grpSpPr>
          <a:xfrm>
            <a:off x="1938308" y="4774358"/>
            <a:ext cx="8315383" cy="908475"/>
            <a:chOff x="1715637" y="4908708"/>
            <a:chExt cx="8315383" cy="908475"/>
          </a:xfrm>
        </p:grpSpPr>
        <p:grpSp>
          <p:nvGrpSpPr>
            <p:cNvPr id="178" name="Group 177">
              <a:extLst>
                <a:ext uri="{FF2B5EF4-FFF2-40B4-BE49-F238E27FC236}">
                  <a16:creationId xmlns:a16="http://schemas.microsoft.com/office/drawing/2014/main" id="{4A0C7763-58C7-4971-85F2-47EB4C2FD1C7}"/>
                </a:ext>
              </a:extLst>
            </p:cNvPr>
            <p:cNvGrpSpPr/>
            <p:nvPr/>
          </p:nvGrpSpPr>
          <p:grpSpPr>
            <a:xfrm>
              <a:off x="1715637" y="5113940"/>
              <a:ext cx="8315383" cy="703243"/>
              <a:chOff x="407242" y="5207636"/>
              <a:chExt cx="8315383" cy="703243"/>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144" y="5601841"/>
                <a:ext cx="3388816" cy="261050"/>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242" y="5353156"/>
                <a:ext cx="3505467" cy="270036"/>
              </a:xfrm>
              <a:prstGeom prst="rect">
                <a:avLst/>
              </a:prstGeom>
            </p:spPr>
          </p:pic>
          <p:pic>
            <p:nvPicPr>
              <p:cNvPr id="34" name="Picture 33"/>
              <p:cNvPicPr>
                <a:picLocks noChangeAspect="1"/>
              </p:cNvPicPr>
              <p:nvPr/>
            </p:nvPicPr>
            <p:blipFill>
              <a:blip r:embed="rId5">
                <a:duotone>
                  <a:schemeClr val="bg2">
                    <a:shade val="45000"/>
                    <a:satMod val="135000"/>
                  </a:schemeClr>
                  <a:prstClr val="white"/>
                </a:duotone>
              </a:blip>
              <a:stretch>
                <a:fillRect/>
              </a:stretch>
            </p:blipFill>
            <p:spPr>
              <a:xfrm>
                <a:off x="4881962" y="5438321"/>
                <a:ext cx="324541" cy="95886"/>
              </a:xfrm>
              <a:prstGeom prst="rect">
                <a:avLst/>
              </a:prstGeom>
            </p:spPr>
          </p:pic>
          <p:pic>
            <p:nvPicPr>
              <p:cNvPr id="35" name="Picture 34"/>
              <p:cNvPicPr>
                <a:picLocks noChangeAspect="1"/>
              </p:cNvPicPr>
              <p:nvPr/>
            </p:nvPicPr>
            <p:blipFill>
              <a:blip r:embed="rId6">
                <a:duotone>
                  <a:schemeClr val="bg2">
                    <a:shade val="45000"/>
                    <a:satMod val="135000"/>
                  </a:schemeClr>
                  <a:prstClr val="white"/>
                </a:duotone>
              </a:blip>
              <a:stretch>
                <a:fillRect/>
              </a:stretch>
            </p:blipFill>
            <p:spPr>
              <a:xfrm>
                <a:off x="4334094" y="5699241"/>
                <a:ext cx="510796" cy="109758"/>
              </a:xfrm>
              <a:prstGeom prst="rect">
                <a:avLst/>
              </a:prstGeom>
            </p:spPr>
          </p:pic>
          <p:pic>
            <p:nvPicPr>
              <p:cNvPr id="45" name="Picture 44"/>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064727" y="5207636"/>
                <a:ext cx="745507" cy="521855"/>
              </a:xfrm>
              <a:prstGeom prst="rect">
                <a:avLst/>
              </a:prstGeom>
            </p:spPr>
          </p:pic>
          <p:pic>
            <p:nvPicPr>
              <p:cNvPr id="43" name="Picture 42"/>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t="28593" b="28061"/>
              <a:stretch/>
            </p:blipFill>
            <p:spPr>
              <a:xfrm>
                <a:off x="6613249" y="5678706"/>
                <a:ext cx="1019828" cy="207812"/>
              </a:xfrm>
              <a:prstGeom prst="rect">
                <a:avLst/>
              </a:prstGeom>
            </p:spPr>
          </p:pic>
          <p:pic>
            <p:nvPicPr>
              <p:cNvPr id="42" name="Picture 41"/>
              <p:cNvPicPr>
                <a:picLocks noChangeAspect="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96903" y="5650502"/>
                <a:ext cx="1094595" cy="158497"/>
              </a:xfrm>
              <a:prstGeom prst="rect">
                <a:avLst/>
              </a:prstGeom>
            </p:spPr>
          </p:pic>
          <p:pic>
            <p:nvPicPr>
              <p:cNvPr id="41" name="Picture 40"/>
              <p:cNvPicPr>
                <a:picLocks noChangeAspect="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039723" y="5345024"/>
                <a:ext cx="682902" cy="517867"/>
              </a:xfrm>
              <a:prstGeom prst="rect">
                <a:avLst/>
              </a:prstGeom>
            </p:spPr>
          </p:pic>
          <p:pic>
            <p:nvPicPr>
              <p:cNvPr id="33" name="Picture 32"/>
              <p:cNvPicPr>
                <a:picLocks noChangeAspect="1"/>
              </p:cNvPicPr>
              <p:nvPr/>
            </p:nvPicPr>
            <p:blipFill>
              <a:blip r:embed="rId11">
                <a:duotone>
                  <a:schemeClr val="bg2">
                    <a:shade val="45000"/>
                    <a:satMod val="135000"/>
                  </a:schemeClr>
                  <a:prstClr val="white"/>
                </a:duotone>
              </a:blip>
              <a:stretch>
                <a:fillRect/>
              </a:stretch>
            </p:blipFill>
            <p:spPr>
              <a:xfrm>
                <a:off x="7516975" y="5627366"/>
                <a:ext cx="436325" cy="240853"/>
              </a:xfrm>
              <a:prstGeom prst="rect">
                <a:avLst/>
              </a:prstGeom>
            </p:spPr>
          </p:pic>
          <p:pic>
            <p:nvPicPr>
              <p:cNvPr id="46" name="Picture 45"/>
              <p:cNvPicPr>
                <a:picLocks noChangeAspect="1"/>
              </p:cNvPicPr>
              <p:nvPr/>
            </p:nvPicPr>
            <p:blipFill>
              <a:blip r:embed="rId12" cstate="print">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tretch>
                <a:fillRect/>
              </a:stretch>
            </p:blipFill>
            <p:spPr>
              <a:xfrm>
                <a:off x="3984382" y="5455054"/>
                <a:ext cx="699423" cy="64257"/>
              </a:xfrm>
              <a:prstGeom prst="rect">
                <a:avLst/>
              </a:prstGeom>
            </p:spPr>
          </p:pic>
          <p:pic>
            <p:nvPicPr>
              <p:cNvPr id="47" name="Picture 46"/>
              <p:cNvPicPr>
                <a:picLocks noChangeAspect="1"/>
              </p:cNvPicPr>
              <p:nvPr/>
            </p:nvPicPr>
            <p:blipFill>
              <a:blip r:embed="rId14">
                <a:duotone>
                  <a:schemeClr val="bg2">
                    <a:shade val="45000"/>
                    <a:satMod val="135000"/>
                  </a:schemeClr>
                  <a:prstClr val="white"/>
                </a:duotone>
              </a:blip>
              <a:stretch>
                <a:fillRect/>
              </a:stretch>
            </p:blipFill>
            <p:spPr>
              <a:xfrm>
                <a:off x="5300540" y="5343036"/>
                <a:ext cx="737634" cy="193217"/>
              </a:xfrm>
              <a:prstGeom prst="rect">
                <a:avLst/>
              </a:prstGeom>
            </p:spPr>
          </p:pic>
          <p:pic>
            <p:nvPicPr>
              <p:cNvPr id="48" name="Picture 47"/>
              <p:cNvPicPr>
                <a:picLocks noChangeAspect="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919649" y="5298338"/>
                <a:ext cx="959088" cy="340452"/>
              </a:xfrm>
              <a:prstGeom prst="rect">
                <a:avLst/>
              </a:prstGeom>
            </p:spPr>
          </p:pic>
          <p:pic>
            <p:nvPicPr>
              <p:cNvPr id="49" name="Picture 48"/>
              <p:cNvPicPr>
                <a:picLocks noChangeAspect="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94805" y="5599122"/>
                <a:ext cx="415676" cy="311757"/>
              </a:xfrm>
              <a:prstGeom prst="rect">
                <a:avLst/>
              </a:prstGeom>
            </p:spPr>
          </p:pic>
          <p:pic>
            <p:nvPicPr>
              <p:cNvPr id="50" name="Picture 49"/>
              <p:cNvPicPr>
                <a:picLocks noChangeAspect="1"/>
              </p:cNvPicPr>
              <p:nvPr/>
            </p:nvPicPr>
            <p:blipFill>
              <a:blip r:embed="rId1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049540" y="5699241"/>
                <a:ext cx="435442" cy="97104"/>
              </a:xfrm>
              <a:prstGeom prst="rect">
                <a:avLst/>
              </a:prstGeom>
            </p:spPr>
          </p:pic>
        </p:grpSp>
        <p:sp>
          <p:nvSpPr>
            <p:cNvPr id="51" name="TextBox 50"/>
            <p:cNvSpPr txBox="1"/>
            <p:nvPr/>
          </p:nvSpPr>
          <p:spPr>
            <a:xfrm>
              <a:off x="5349787" y="4908708"/>
              <a:ext cx="1047083" cy="215444"/>
            </a:xfrm>
            <a:prstGeom prst="rect">
              <a:avLst/>
            </a:prstGeom>
          </p:spPr>
          <p:txBody>
            <a:bodyPr wrap="square" lIns="0" tIns="0" rIns="0" bIns="0">
              <a:spAutoFit/>
            </a:bodyPr>
            <a:lstStyle>
              <a:defPPr>
                <a:defRPr lang="en-US"/>
              </a:defPPr>
              <a:lvl1pPr algn="ctr">
                <a:defRPr sz="1400">
                  <a:solidFill>
                    <a:srgbClr val="083D65"/>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As used by</a:t>
              </a:r>
            </a:p>
          </p:txBody>
        </p:sp>
      </p:grpSp>
      <p:sp>
        <p:nvSpPr>
          <p:cNvPr id="44" name="Rectangle 43">
            <a:extLst>
              <a:ext uri="{FF2B5EF4-FFF2-40B4-BE49-F238E27FC236}">
                <a16:creationId xmlns:a16="http://schemas.microsoft.com/office/drawing/2014/main" id="{1AA2A670-4772-4504-9A86-BE460BACA39F}"/>
              </a:ext>
            </a:extLst>
          </p:cNvPr>
          <p:cNvSpPr/>
          <p:nvPr/>
        </p:nvSpPr>
        <p:spPr>
          <a:xfrm>
            <a:off x="2732747" y="530093"/>
            <a:ext cx="6726506"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A SOLUTION FOR YOUR ENTIRE TEAM</a:t>
            </a:r>
          </a:p>
        </p:txBody>
      </p:sp>
      <p:sp>
        <p:nvSpPr>
          <p:cNvPr id="55" name="Rectangle 54">
            <a:extLst>
              <a:ext uri="{FF2B5EF4-FFF2-40B4-BE49-F238E27FC236}">
                <a16:creationId xmlns:a16="http://schemas.microsoft.com/office/drawing/2014/main" id="{B9810A48-58EE-4653-9094-4015568448A4}"/>
              </a:ext>
            </a:extLst>
          </p:cNvPr>
          <p:cNvSpPr/>
          <p:nvPr/>
        </p:nvSpPr>
        <p:spPr>
          <a:xfrm>
            <a:off x="672664" y="1371075"/>
            <a:ext cx="2360745" cy="73866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22225">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899</a:t>
            </a:r>
          </a:p>
        </p:txBody>
      </p:sp>
      <p:sp>
        <p:nvSpPr>
          <p:cNvPr id="82" name="Rectangle 81">
            <a:extLst>
              <a:ext uri="{FF2B5EF4-FFF2-40B4-BE49-F238E27FC236}">
                <a16:creationId xmlns:a16="http://schemas.microsoft.com/office/drawing/2014/main" id="{AE18B150-0A63-4BDA-9D00-C2EAC0C3644D}"/>
              </a:ext>
            </a:extLst>
          </p:cNvPr>
          <p:cNvSpPr/>
          <p:nvPr/>
        </p:nvSpPr>
        <p:spPr>
          <a:xfrm>
            <a:off x="1566636" y="2270553"/>
            <a:ext cx="753413" cy="276999"/>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month</a:t>
            </a:r>
          </a:p>
        </p:txBody>
      </p:sp>
      <p:sp>
        <p:nvSpPr>
          <p:cNvPr id="119" name="Rectangle 118">
            <a:extLst>
              <a:ext uri="{FF2B5EF4-FFF2-40B4-BE49-F238E27FC236}">
                <a16:creationId xmlns:a16="http://schemas.microsoft.com/office/drawing/2014/main" id="{5C998BA0-6D9C-4E71-AABD-0B1CE27665CD}"/>
              </a:ext>
            </a:extLst>
          </p:cNvPr>
          <p:cNvSpPr/>
          <p:nvPr/>
        </p:nvSpPr>
        <p:spPr>
          <a:xfrm>
            <a:off x="883750" y="2614527"/>
            <a:ext cx="1938573" cy="1656479"/>
          </a:xfrm>
          <a:prstGeom prst="rect">
            <a:avLst/>
          </a:prstGeom>
        </p:spPr>
        <p:txBody>
          <a:bodyPr wrap="square" lIns="0" tIns="0" rIns="0" bIns="0">
            <a:spAutoFit/>
          </a:bodyPr>
          <a:lstStyle/>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10 Slides / day</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From $4.5 per slide</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24 hour turn around</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Dedicated Team</a:t>
            </a:r>
          </a:p>
        </p:txBody>
      </p:sp>
      <p:grpSp>
        <p:nvGrpSpPr>
          <p:cNvPr id="218" name="Group 217">
            <a:extLst>
              <a:ext uri="{FF2B5EF4-FFF2-40B4-BE49-F238E27FC236}">
                <a16:creationId xmlns:a16="http://schemas.microsoft.com/office/drawing/2014/main" id="{7D2AC6DF-FF9A-488F-9123-53AA85D9365B}"/>
              </a:ext>
            </a:extLst>
          </p:cNvPr>
          <p:cNvGrpSpPr/>
          <p:nvPr/>
        </p:nvGrpSpPr>
        <p:grpSpPr>
          <a:xfrm>
            <a:off x="600617" y="1217205"/>
            <a:ext cx="2504839" cy="3373586"/>
            <a:chOff x="600617" y="1217205"/>
            <a:chExt cx="2504839" cy="3373586"/>
          </a:xfrm>
        </p:grpSpPr>
        <p:sp>
          <p:nvSpPr>
            <p:cNvPr id="13" name="Rectangle 12">
              <a:extLst>
                <a:ext uri="{FF2B5EF4-FFF2-40B4-BE49-F238E27FC236}">
                  <a16:creationId xmlns:a16="http://schemas.microsoft.com/office/drawing/2014/main" id="{FFF60778-A552-4178-967A-D6012B06C7A5}"/>
                </a:ext>
              </a:extLst>
            </p:cNvPr>
            <p:cNvSpPr/>
            <p:nvPr/>
          </p:nvSpPr>
          <p:spPr>
            <a:xfrm>
              <a:off x="600617"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Rectangle 167">
              <a:extLst>
                <a:ext uri="{FF2B5EF4-FFF2-40B4-BE49-F238E27FC236}">
                  <a16:creationId xmlns:a16="http://schemas.microsoft.com/office/drawing/2014/main" id="{C018E09C-793B-4B90-8ABF-2FDE455E5932}"/>
                </a:ext>
              </a:extLst>
            </p:cNvPr>
            <p:cNvSpPr/>
            <p:nvPr/>
          </p:nvSpPr>
          <p:spPr>
            <a:xfrm>
              <a:off x="600617"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3" name="Rectangle 72">
            <a:extLst>
              <a:ext uri="{FF2B5EF4-FFF2-40B4-BE49-F238E27FC236}">
                <a16:creationId xmlns:a16="http://schemas.microsoft.com/office/drawing/2014/main" id="{A4577D3E-B848-40A4-BDA3-371D139FFCD7}"/>
              </a:ext>
            </a:extLst>
          </p:cNvPr>
          <p:cNvSpPr/>
          <p:nvPr/>
        </p:nvSpPr>
        <p:spPr>
          <a:xfrm>
            <a:off x="3363956" y="1371073"/>
            <a:ext cx="2153840" cy="73866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22225">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1,900</a:t>
            </a:r>
          </a:p>
        </p:txBody>
      </p:sp>
      <p:sp>
        <p:nvSpPr>
          <p:cNvPr id="83" name="Rectangle 82">
            <a:extLst>
              <a:ext uri="{FF2B5EF4-FFF2-40B4-BE49-F238E27FC236}">
                <a16:creationId xmlns:a16="http://schemas.microsoft.com/office/drawing/2014/main" id="{BD332408-7260-462F-AD7D-949F359D495F}"/>
              </a:ext>
            </a:extLst>
          </p:cNvPr>
          <p:cNvSpPr/>
          <p:nvPr/>
        </p:nvSpPr>
        <p:spPr>
          <a:xfrm>
            <a:off x="4126466" y="2215788"/>
            <a:ext cx="753413" cy="276999"/>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month</a:t>
            </a:r>
          </a:p>
        </p:txBody>
      </p:sp>
      <p:sp>
        <p:nvSpPr>
          <p:cNvPr id="120" name="Rectangle 119">
            <a:extLst>
              <a:ext uri="{FF2B5EF4-FFF2-40B4-BE49-F238E27FC236}">
                <a16:creationId xmlns:a16="http://schemas.microsoft.com/office/drawing/2014/main" id="{9AD4C567-68CB-4D4E-B46F-AE6B623D0433}"/>
              </a:ext>
            </a:extLst>
          </p:cNvPr>
          <p:cNvSpPr/>
          <p:nvPr/>
        </p:nvSpPr>
        <p:spPr>
          <a:xfrm>
            <a:off x="3443580" y="2614527"/>
            <a:ext cx="1938573" cy="1656479"/>
          </a:xfrm>
          <a:prstGeom prst="rect">
            <a:avLst/>
          </a:prstGeom>
        </p:spPr>
        <p:txBody>
          <a:bodyPr wrap="square" lIns="0" tIns="0" rIns="0" bIns="0">
            <a:spAutoFit/>
          </a:bodyPr>
          <a:lstStyle/>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25 Slides / day</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From $3.8 per slide</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24 hour turn around</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Dedicated Team</a:t>
            </a:r>
          </a:p>
        </p:txBody>
      </p:sp>
      <p:grpSp>
        <p:nvGrpSpPr>
          <p:cNvPr id="216" name="Group 215">
            <a:extLst>
              <a:ext uri="{FF2B5EF4-FFF2-40B4-BE49-F238E27FC236}">
                <a16:creationId xmlns:a16="http://schemas.microsoft.com/office/drawing/2014/main" id="{A4AD765A-A9FC-4380-B5C5-AA23BE3F2EC4}"/>
              </a:ext>
            </a:extLst>
          </p:cNvPr>
          <p:cNvGrpSpPr/>
          <p:nvPr/>
        </p:nvGrpSpPr>
        <p:grpSpPr>
          <a:xfrm>
            <a:off x="3188457" y="1217205"/>
            <a:ext cx="2504839" cy="3373586"/>
            <a:chOff x="3188457" y="1217205"/>
            <a:chExt cx="2504839" cy="3373586"/>
          </a:xfrm>
        </p:grpSpPr>
        <p:sp>
          <p:nvSpPr>
            <p:cNvPr id="166" name="Rectangle 165">
              <a:extLst>
                <a:ext uri="{FF2B5EF4-FFF2-40B4-BE49-F238E27FC236}">
                  <a16:creationId xmlns:a16="http://schemas.microsoft.com/office/drawing/2014/main" id="{187C9854-6707-49B5-AAB0-8B1D104C416C}"/>
                </a:ext>
              </a:extLst>
            </p:cNvPr>
            <p:cNvSpPr/>
            <p:nvPr/>
          </p:nvSpPr>
          <p:spPr>
            <a:xfrm>
              <a:off x="3188457"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Rectangle 168">
              <a:extLst>
                <a:ext uri="{FF2B5EF4-FFF2-40B4-BE49-F238E27FC236}">
                  <a16:creationId xmlns:a16="http://schemas.microsoft.com/office/drawing/2014/main" id="{0F3AED94-9359-4B1F-8C66-3940EF11161C}"/>
                </a:ext>
              </a:extLst>
            </p:cNvPr>
            <p:cNvSpPr/>
            <p:nvPr/>
          </p:nvSpPr>
          <p:spPr>
            <a:xfrm>
              <a:off x="3188457"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6" name="Rectangle 75">
            <a:extLst>
              <a:ext uri="{FF2B5EF4-FFF2-40B4-BE49-F238E27FC236}">
                <a16:creationId xmlns:a16="http://schemas.microsoft.com/office/drawing/2014/main" id="{D0F8E0FA-CCB1-49A3-A9B0-3F4C9A67031D}"/>
              </a:ext>
            </a:extLst>
          </p:cNvPr>
          <p:cNvSpPr/>
          <p:nvPr/>
        </p:nvSpPr>
        <p:spPr>
          <a:xfrm>
            <a:off x="5943601" y="1367030"/>
            <a:ext cx="2214068" cy="73866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22225">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3,900</a:t>
            </a:r>
          </a:p>
        </p:txBody>
      </p:sp>
      <p:sp>
        <p:nvSpPr>
          <p:cNvPr id="84" name="Rectangle 83">
            <a:extLst>
              <a:ext uri="{FF2B5EF4-FFF2-40B4-BE49-F238E27FC236}">
                <a16:creationId xmlns:a16="http://schemas.microsoft.com/office/drawing/2014/main" id="{8B28A30F-72A1-42C4-A692-7D530C4C9432}"/>
              </a:ext>
            </a:extLst>
          </p:cNvPr>
          <p:cNvSpPr/>
          <p:nvPr/>
        </p:nvSpPr>
        <p:spPr>
          <a:xfrm>
            <a:off x="6652009" y="2215788"/>
            <a:ext cx="753413" cy="276999"/>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month</a:t>
            </a:r>
          </a:p>
        </p:txBody>
      </p:sp>
      <p:sp>
        <p:nvSpPr>
          <p:cNvPr id="121" name="Rectangle 120">
            <a:extLst>
              <a:ext uri="{FF2B5EF4-FFF2-40B4-BE49-F238E27FC236}">
                <a16:creationId xmlns:a16="http://schemas.microsoft.com/office/drawing/2014/main" id="{8F2E9147-0F90-4A93-A6A8-A2641F87607B}"/>
              </a:ext>
            </a:extLst>
          </p:cNvPr>
          <p:cNvSpPr/>
          <p:nvPr/>
        </p:nvSpPr>
        <p:spPr>
          <a:xfrm>
            <a:off x="6059428" y="2614527"/>
            <a:ext cx="1938573" cy="1656479"/>
          </a:xfrm>
          <a:prstGeom prst="rect">
            <a:avLst/>
          </a:prstGeom>
        </p:spPr>
        <p:txBody>
          <a:bodyPr wrap="square" lIns="0" tIns="0" rIns="0" bIns="0">
            <a:spAutoFit/>
          </a:bodyPr>
          <a:lstStyle/>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60 Slides / day</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From $3.2 per slide</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24 hour turn around</a:t>
            </a:r>
          </a:p>
          <a:p>
            <a:pPr marL="285750" marR="0" lvl="0" indent="-28575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Dedicated Team</a:t>
            </a:r>
          </a:p>
        </p:txBody>
      </p:sp>
      <p:grpSp>
        <p:nvGrpSpPr>
          <p:cNvPr id="215" name="Group 214">
            <a:extLst>
              <a:ext uri="{FF2B5EF4-FFF2-40B4-BE49-F238E27FC236}">
                <a16:creationId xmlns:a16="http://schemas.microsoft.com/office/drawing/2014/main" id="{EBF79B94-9DA8-473D-907F-927F10FFAFC1}"/>
              </a:ext>
            </a:extLst>
          </p:cNvPr>
          <p:cNvGrpSpPr/>
          <p:nvPr/>
        </p:nvGrpSpPr>
        <p:grpSpPr>
          <a:xfrm>
            <a:off x="5776296" y="1217205"/>
            <a:ext cx="2504839" cy="3373586"/>
            <a:chOff x="5776296" y="1217205"/>
            <a:chExt cx="2504839" cy="3373586"/>
          </a:xfrm>
        </p:grpSpPr>
        <p:sp>
          <p:nvSpPr>
            <p:cNvPr id="167" name="Rectangle 166">
              <a:extLst>
                <a:ext uri="{FF2B5EF4-FFF2-40B4-BE49-F238E27FC236}">
                  <a16:creationId xmlns:a16="http://schemas.microsoft.com/office/drawing/2014/main" id="{77D988CC-9B88-413E-93C2-C869C58096EA}"/>
                </a:ext>
              </a:extLst>
            </p:cNvPr>
            <p:cNvSpPr/>
            <p:nvPr/>
          </p:nvSpPr>
          <p:spPr>
            <a:xfrm>
              <a:off x="5776296"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169">
              <a:extLst>
                <a:ext uri="{FF2B5EF4-FFF2-40B4-BE49-F238E27FC236}">
                  <a16:creationId xmlns:a16="http://schemas.microsoft.com/office/drawing/2014/main" id="{533D9528-ECF4-4BA2-B405-B2CEB02B7987}"/>
                </a:ext>
              </a:extLst>
            </p:cNvPr>
            <p:cNvSpPr/>
            <p:nvPr/>
          </p:nvSpPr>
          <p:spPr>
            <a:xfrm>
              <a:off x="5776296"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9" name="Group 208">
            <a:extLst>
              <a:ext uri="{FF2B5EF4-FFF2-40B4-BE49-F238E27FC236}">
                <a16:creationId xmlns:a16="http://schemas.microsoft.com/office/drawing/2014/main" id="{B62136CF-26D1-4E3C-A6C7-CF76DF49877A}"/>
              </a:ext>
            </a:extLst>
          </p:cNvPr>
          <p:cNvGrpSpPr/>
          <p:nvPr/>
        </p:nvGrpSpPr>
        <p:grpSpPr>
          <a:xfrm>
            <a:off x="8386621" y="1217205"/>
            <a:ext cx="3134032" cy="3373586"/>
            <a:chOff x="8575598" y="1339841"/>
            <a:chExt cx="2988302" cy="3373586"/>
          </a:xfrm>
        </p:grpSpPr>
        <p:sp>
          <p:nvSpPr>
            <p:cNvPr id="171" name="Rectangle 170">
              <a:extLst>
                <a:ext uri="{FF2B5EF4-FFF2-40B4-BE49-F238E27FC236}">
                  <a16:creationId xmlns:a16="http://schemas.microsoft.com/office/drawing/2014/main" id="{95C9B982-0181-4CF4-8DC6-5A27C0EB2B38}"/>
                </a:ext>
              </a:extLst>
            </p:cNvPr>
            <p:cNvSpPr/>
            <p:nvPr/>
          </p:nvSpPr>
          <p:spPr>
            <a:xfrm>
              <a:off x="8575599" y="4667708"/>
              <a:ext cx="2988301"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Rectangle 171">
              <a:extLst>
                <a:ext uri="{FF2B5EF4-FFF2-40B4-BE49-F238E27FC236}">
                  <a16:creationId xmlns:a16="http://schemas.microsoft.com/office/drawing/2014/main" id="{6E863F44-D1D6-46E5-928B-2C8B5D8D5E1A}"/>
                </a:ext>
              </a:extLst>
            </p:cNvPr>
            <p:cNvSpPr/>
            <p:nvPr/>
          </p:nvSpPr>
          <p:spPr>
            <a:xfrm>
              <a:off x="8575598" y="1339841"/>
              <a:ext cx="2988301"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1" name="Rectangle 80">
            <a:extLst>
              <a:ext uri="{FF2B5EF4-FFF2-40B4-BE49-F238E27FC236}">
                <a16:creationId xmlns:a16="http://schemas.microsoft.com/office/drawing/2014/main" id="{9E872107-4427-4CB1-85DD-A1628A5A5DD7}"/>
              </a:ext>
            </a:extLst>
          </p:cNvPr>
          <p:cNvSpPr/>
          <p:nvPr/>
        </p:nvSpPr>
        <p:spPr>
          <a:xfrm>
            <a:off x="8451712" y="1439378"/>
            <a:ext cx="3003850" cy="61555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w="15875">
                  <a:noFill/>
                </a:ln>
                <a:solidFill>
                  <a:srgbClr val="083D65"/>
                </a:solidFill>
                <a:effectLst/>
                <a:uLnTx/>
                <a:uFillTx/>
                <a:latin typeface="Segoe UI" panose="020B0502040204020203" pitchFamily="34" charset="0"/>
                <a:ea typeface="+mn-ea"/>
                <a:cs typeface="Segoe UI" panose="020B0502040204020203" pitchFamily="34" charset="0"/>
              </a:rPr>
              <a:t>ENTERPRISE</a:t>
            </a:r>
          </a:p>
        </p:txBody>
      </p:sp>
      <p:grpSp>
        <p:nvGrpSpPr>
          <p:cNvPr id="123" name="Group 122">
            <a:extLst>
              <a:ext uri="{FF2B5EF4-FFF2-40B4-BE49-F238E27FC236}">
                <a16:creationId xmlns:a16="http://schemas.microsoft.com/office/drawing/2014/main" id="{DD940FEB-1A4B-411C-B871-96146C6667B5}"/>
              </a:ext>
            </a:extLst>
          </p:cNvPr>
          <p:cNvGrpSpPr/>
          <p:nvPr/>
        </p:nvGrpSpPr>
        <p:grpSpPr>
          <a:xfrm>
            <a:off x="9254030" y="2112168"/>
            <a:ext cx="1394505" cy="1320877"/>
            <a:chOff x="5232563" y="1693503"/>
            <a:chExt cx="1726417" cy="1635263"/>
          </a:xfrm>
        </p:grpSpPr>
        <p:sp>
          <p:nvSpPr>
            <p:cNvPr id="124" name="Freeform 84">
              <a:extLst>
                <a:ext uri="{FF2B5EF4-FFF2-40B4-BE49-F238E27FC236}">
                  <a16:creationId xmlns:a16="http://schemas.microsoft.com/office/drawing/2014/main" id="{CBA217BF-C4C0-4BDA-91AA-17D44242DA34}"/>
                </a:ext>
              </a:extLst>
            </p:cNvPr>
            <p:cNvSpPr>
              <a:spLocks/>
            </p:cNvSpPr>
            <p:nvPr/>
          </p:nvSpPr>
          <p:spPr bwMode="auto">
            <a:xfrm>
              <a:off x="5243582" y="1705023"/>
              <a:ext cx="1613726" cy="1612224"/>
            </a:xfrm>
            <a:custGeom>
              <a:avLst/>
              <a:gdLst>
                <a:gd name="T0" fmla="*/ 1715 w 1715"/>
                <a:gd name="T1" fmla="*/ 857 h 1715"/>
                <a:gd name="T2" fmla="*/ 1681 w 1715"/>
                <a:gd name="T3" fmla="*/ 1098 h 1715"/>
                <a:gd name="T4" fmla="*/ 1239 w 1715"/>
                <a:gd name="T5" fmla="*/ 1626 h 1715"/>
                <a:gd name="T6" fmla="*/ 858 w 1715"/>
                <a:gd name="T7" fmla="*/ 1715 h 1715"/>
                <a:gd name="T8" fmla="*/ 0 w 1715"/>
                <a:gd name="T9" fmla="*/ 857 h 1715"/>
                <a:gd name="T10" fmla="*/ 858 w 1715"/>
                <a:gd name="T11" fmla="*/ 0 h 1715"/>
                <a:gd name="T12" fmla="*/ 1715 w 1715"/>
                <a:gd name="T13" fmla="*/ 857 h 1715"/>
              </a:gdLst>
              <a:ahLst/>
              <a:cxnLst>
                <a:cxn ang="0">
                  <a:pos x="T0" y="T1"/>
                </a:cxn>
                <a:cxn ang="0">
                  <a:pos x="T2" y="T3"/>
                </a:cxn>
                <a:cxn ang="0">
                  <a:pos x="T4" y="T5"/>
                </a:cxn>
                <a:cxn ang="0">
                  <a:pos x="T6" y="T7"/>
                </a:cxn>
                <a:cxn ang="0">
                  <a:pos x="T8" y="T9"/>
                </a:cxn>
                <a:cxn ang="0">
                  <a:pos x="T10" y="T11"/>
                </a:cxn>
                <a:cxn ang="0">
                  <a:pos x="T12" y="T13"/>
                </a:cxn>
              </a:cxnLst>
              <a:rect l="0" t="0" r="r" b="b"/>
              <a:pathLst>
                <a:path w="1715" h="1715">
                  <a:moveTo>
                    <a:pt x="1715" y="857"/>
                  </a:moveTo>
                  <a:cubicBezTo>
                    <a:pt x="1715" y="941"/>
                    <a:pt x="1703" y="1021"/>
                    <a:pt x="1681" y="1098"/>
                  </a:cubicBezTo>
                  <a:cubicBezTo>
                    <a:pt x="1614" y="1329"/>
                    <a:pt x="1451" y="1520"/>
                    <a:pt x="1239" y="1626"/>
                  </a:cubicBezTo>
                  <a:cubicBezTo>
                    <a:pt x="1124" y="1683"/>
                    <a:pt x="994" y="1715"/>
                    <a:pt x="858" y="1715"/>
                  </a:cubicBezTo>
                  <a:cubicBezTo>
                    <a:pt x="384" y="1715"/>
                    <a:pt x="0" y="1331"/>
                    <a:pt x="0" y="857"/>
                  </a:cubicBezTo>
                  <a:cubicBezTo>
                    <a:pt x="0" y="384"/>
                    <a:pt x="384" y="0"/>
                    <a:pt x="858" y="0"/>
                  </a:cubicBezTo>
                  <a:cubicBezTo>
                    <a:pt x="1331" y="0"/>
                    <a:pt x="1715" y="384"/>
                    <a:pt x="1715" y="857"/>
                  </a:cubicBezTo>
                </a:path>
              </a:pathLst>
            </a:custGeom>
            <a:solidFill>
              <a:srgbClr val="E4F3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85">
              <a:extLst>
                <a:ext uri="{FF2B5EF4-FFF2-40B4-BE49-F238E27FC236}">
                  <a16:creationId xmlns:a16="http://schemas.microsoft.com/office/drawing/2014/main" id="{4BE3CEA2-0D1E-471C-B4D7-D052E2FAD5E6}"/>
                </a:ext>
              </a:extLst>
            </p:cNvPr>
            <p:cNvSpPr>
              <a:spLocks/>
            </p:cNvSpPr>
            <p:nvPr/>
          </p:nvSpPr>
          <p:spPr bwMode="auto">
            <a:xfrm>
              <a:off x="5232563" y="1693503"/>
              <a:ext cx="1635764" cy="1635263"/>
            </a:xfrm>
            <a:custGeom>
              <a:avLst/>
              <a:gdLst>
                <a:gd name="T0" fmla="*/ 1727 w 1739"/>
                <a:gd name="T1" fmla="*/ 869 h 1739"/>
                <a:gd name="T2" fmla="*/ 1715 w 1739"/>
                <a:gd name="T3" fmla="*/ 869 h 1739"/>
                <a:gd name="T4" fmla="*/ 1681 w 1739"/>
                <a:gd name="T5" fmla="*/ 1106 h 1739"/>
                <a:gd name="T6" fmla="*/ 1245 w 1739"/>
                <a:gd name="T7" fmla="*/ 1627 h 1739"/>
                <a:gd name="T8" fmla="*/ 870 w 1739"/>
                <a:gd name="T9" fmla="*/ 1715 h 1739"/>
                <a:gd name="T10" fmla="*/ 272 w 1739"/>
                <a:gd name="T11" fmla="*/ 1467 h 1739"/>
                <a:gd name="T12" fmla="*/ 24 w 1739"/>
                <a:gd name="T13" fmla="*/ 869 h 1739"/>
                <a:gd name="T14" fmla="*/ 272 w 1739"/>
                <a:gd name="T15" fmla="*/ 272 h 1739"/>
                <a:gd name="T16" fmla="*/ 870 w 1739"/>
                <a:gd name="T17" fmla="*/ 24 h 1739"/>
                <a:gd name="T18" fmla="*/ 1467 w 1739"/>
                <a:gd name="T19" fmla="*/ 272 h 1739"/>
                <a:gd name="T20" fmla="*/ 1715 w 1739"/>
                <a:gd name="T21" fmla="*/ 869 h 1739"/>
                <a:gd name="T22" fmla="*/ 1727 w 1739"/>
                <a:gd name="T23" fmla="*/ 869 h 1739"/>
                <a:gd name="T24" fmla="*/ 1739 w 1739"/>
                <a:gd name="T25" fmla="*/ 869 h 1739"/>
                <a:gd name="T26" fmla="*/ 870 w 1739"/>
                <a:gd name="T27" fmla="*/ 0 h 1739"/>
                <a:gd name="T28" fmla="*/ 0 w 1739"/>
                <a:gd name="T29" fmla="*/ 869 h 1739"/>
                <a:gd name="T30" fmla="*/ 870 w 1739"/>
                <a:gd name="T31" fmla="*/ 1739 h 1739"/>
                <a:gd name="T32" fmla="*/ 1256 w 1739"/>
                <a:gd name="T33" fmla="*/ 1649 h 1739"/>
                <a:gd name="T34" fmla="*/ 1704 w 1739"/>
                <a:gd name="T35" fmla="*/ 1113 h 1739"/>
                <a:gd name="T36" fmla="*/ 1739 w 1739"/>
                <a:gd name="T37" fmla="*/ 869 h 1739"/>
                <a:gd name="T38" fmla="*/ 1727 w 1739"/>
                <a:gd name="T39" fmla="*/ 86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9" h="1739">
                  <a:moveTo>
                    <a:pt x="1727" y="869"/>
                  </a:moveTo>
                  <a:cubicBezTo>
                    <a:pt x="1715" y="869"/>
                    <a:pt x="1715" y="869"/>
                    <a:pt x="1715" y="869"/>
                  </a:cubicBezTo>
                  <a:cubicBezTo>
                    <a:pt x="1715" y="952"/>
                    <a:pt x="1703" y="1031"/>
                    <a:pt x="1681" y="1106"/>
                  </a:cubicBezTo>
                  <a:cubicBezTo>
                    <a:pt x="1615" y="1335"/>
                    <a:pt x="1455" y="1523"/>
                    <a:pt x="1245" y="1627"/>
                  </a:cubicBezTo>
                  <a:cubicBezTo>
                    <a:pt x="1132" y="1683"/>
                    <a:pt x="1005" y="1715"/>
                    <a:pt x="870" y="1715"/>
                  </a:cubicBezTo>
                  <a:cubicBezTo>
                    <a:pt x="636" y="1715"/>
                    <a:pt x="425" y="1620"/>
                    <a:pt x="272" y="1467"/>
                  </a:cubicBezTo>
                  <a:cubicBezTo>
                    <a:pt x="119" y="1314"/>
                    <a:pt x="24" y="1103"/>
                    <a:pt x="24" y="869"/>
                  </a:cubicBezTo>
                  <a:cubicBezTo>
                    <a:pt x="24" y="636"/>
                    <a:pt x="119" y="425"/>
                    <a:pt x="272" y="272"/>
                  </a:cubicBezTo>
                  <a:cubicBezTo>
                    <a:pt x="425" y="119"/>
                    <a:pt x="636" y="24"/>
                    <a:pt x="870" y="24"/>
                  </a:cubicBezTo>
                  <a:cubicBezTo>
                    <a:pt x="1103" y="24"/>
                    <a:pt x="1314" y="119"/>
                    <a:pt x="1467" y="272"/>
                  </a:cubicBezTo>
                  <a:cubicBezTo>
                    <a:pt x="1620" y="425"/>
                    <a:pt x="1715" y="636"/>
                    <a:pt x="1715" y="869"/>
                  </a:cubicBezTo>
                  <a:cubicBezTo>
                    <a:pt x="1727" y="869"/>
                    <a:pt x="1727" y="869"/>
                    <a:pt x="1727" y="869"/>
                  </a:cubicBezTo>
                  <a:cubicBezTo>
                    <a:pt x="1739" y="869"/>
                    <a:pt x="1739" y="869"/>
                    <a:pt x="1739" y="869"/>
                  </a:cubicBezTo>
                  <a:cubicBezTo>
                    <a:pt x="1739" y="389"/>
                    <a:pt x="1350" y="0"/>
                    <a:pt x="870" y="0"/>
                  </a:cubicBezTo>
                  <a:cubicBezTo>
                    <a:pt x="389" y="0"/>
                    <a:pt x="0" y="389"/>
                    <a:pt x="0" y="869"/>
                  </a:cubicBezTo>
                  <a:cubicBezTo>
                    <a:pt x="0" y="1350"/>
                    <a:pt x="389" y="1739"/>
                    <a:pt x="870" y="1739"/>
                  </a:cubicBezTo>
                  <a:cubicBezTo>
                    <a:pt x="1008" y="1739"/>
                    <a:pt x="1139" y="1706"/>
                    <a:pt x="1256" y="1649"/>
                  </a:cubicBezTo>
                  <a:cubicBezTo>
                    <a:pt x="1471" y="1542"/>
                    <a:pt x="1636" y="1348"/>
                    <a:pt x="1704" y="1113"/>
                  </a:cubicBezTo>
                  <a:cubicBezTo>
                    <a:pt x="1727" y="1036"/>
                    <a:pt x="1739" y="954"/>
                    <a:pt x="1739" y="869"/>
                  </a:cubicBezTo>
                  <a:cubicBezTo>
                    <a:pt x="1727" y="869"/>
                    <a:pt x="1727" y="869"/>
                    <a:pt x="1727" y="869"/>
                  </a:cubicBezTo>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86">
              <a:extLst>
                <a:ext uri="{FF2B5EF4-FFF2-40B4-BE49-F238E27FC236}">
                  <a16:creationId xmlns:a16="http://schemas.microsoft.com/office/drawing/2014/main" id="{3989C1E3-EDE2-4CE5-9DCF-1E90047E2B87}"/>
                </a:ext>
              </a:extLst>
            </p:cNvPr>
            <p:cNvSpPr>
              <a:spLocks/>
            </p:cNvSpPr>
            <p:nvPr/>
          </p:nvSpPr>
          <p:spPr bwMode="auto">
            <a:xfrm>
              <a:off x="5368793" y="1829733"/>
              <a:ext cx="1363303" cy="1362803"/>
            </a:xfrm>
            <a:custGeom>
              <a:avLst/>
              <a:gdLst>
                <a:gd name="T0" fmla="*/ 1449 w 1449"/>
                <a:gd name="T1" fmla="*/ 724 h 1449"/>
                <a:gd name="T2" fmla="*/ 1251 w 1449"/>
                <a:gd name="T3" fmla="*/ 1221 h 1449"/>
                <a:gd name="T4" fmla="*/ 725 w 1449"/>
                <a:gd name="T5" fmla="*/ 1449 h 1449"/>
                <a:gd name="T6" fmla="*/ 198 w 1449"/>
                <a:gd name="T7" fmla="*/ 1221 h 1449"/>
                <a:gd name="T8" fmla="*/ 0 w 1449"/>
                <a:gd name="T9" fmla="*/ 724 h 1449"/>
                <a:gd name="T10" fmla="*/ 725 w 1449"/>
                <a:gd name="T11" fmla="*/ 0 h 1449"/>
                <a:gd name="T12" fmla="*/ 1449 w 1449"/>
                <a:gd name="T13" fmla="*/ 724 h 1449"/>
              </a:gdLst>
              <a:ahLst/>
              <a:cxnLst>
                <a:cxn ang="0">
                  <a:pos x="T0" y="T1"/>
                </a:cxn>
                <a:cxn ang="0">
                  <a:pos x="T2" y="T3"/>
                </a:cxn>
                <a:cxn ang="0">
                  <a:pos x="T4" y="T5"/>
                </a:cxn>
                <a:cxn ang="0">
                  <a:pos x="T6" y="T7"/>
                </a:cxn>
                <a:cxn ang="0">
                  <a:pos x="T8" y="T9"/>
                </a:cxn>
                <a:cxn ang="0">
                  <a:pos x="T10" y="T11"/>
                </a:cxn>
                <a:cxn ang="0">
                  <a:pos x="T12" y="T13"/>
                </a:cxn>
              </a:cxnLst>
              <a:rect l="0" t="0" r="r" b="b"/>
              <a:pathLst>
                <a:path w="1449" h="1449">
                  <a:moveTo>
                    <a:pt x="1449" y="724"/>
                  </a:moveTo>
                  <a:cubicBezTo>
                    <a:pt x="1449" y="917"/>
                    <a:pt x="1374" y="1092"/>
                    <a:pt x="1251" y="1221"/>
                  </a:cubicBezTo>
                  <a:cubicBezTo>
                    <a:pt x="1119" y="1361"/>
                    <a:pt x="932" y="1449"/>
                    <a:pt x="725" y="1449"/>
                  </a:cubicBezTo>
                  <a:cubicBezTo>
                    <a:pt x="517" y="1449"/>
                    <a:pt x="330" y="1361"/>
                    <a:pt x="198" y="1221"/>
                  </a:cubicBezTo>
                  <a:cubicBezTo>
                    <a:pt x="75" y="1092"/>
                    <a:pt x="0" y="917"/>
                    <a:pt x="0" y="724"/>
                  </a:cubicBezTo>
                  <a:cubicBezTo>
                    <a:pt x="0" y="324"/>
                    <a:pt x="325" y="0"/>
                    <a:pt x="725" y="0"/>
                  </a:cubicBezTo>
                  <a:cubicBezTo>
                    <a:pt x="1125" y="0"/>
                    <a:pt x="1449" y="324"/>
                    <a:pt x="1449" y="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87">
              <a:extLst>
                <a:ext uri="{FF2B5EF4-FFF2-40B4-BE49-F238E27FC236}">
                  <a16:creationId xmlns:a16="http://schemas.microsoft.com/office/drawing/2014/main" id="{106160D0-FC9B-498A-988D-81860EC39A0A}"/>
                </a:ext>
              </a:extLst>
            </p:cNvPr>
            <p:cNvSpPr>
              <a:spLocks/>
            </p:cNvSpPr>
            <p:nvPr/>
          </p:nvSpPr>
          <p:spPr bwMode="auto">
            <a:xfrm>
              <a:off x="5357775" y="1818715"/>
              <a:ext cx="1385842" cy="1384840"/>
            </a:xfrm>
            <a:custGeom>
              <a:avLst/>
              <a:gdLst>
                <a:gd name="T0" fmla="*/ 1461 w 1473"/>
                <a:gd name="T1" fmla="*/ 736 h 1473"/>
                <a:gd name="T2" fmla="*/ 1449 w 1473"/>
                <a:gd name="T3" fmla="*/ 736 h 1473"/>
                <a:gd name="T4" fmla="*/ 1255 w 1473"/>
                <a:gd name="T5" fmla="*/ 1225 h 1473"/>
                <a:gd name="T6" fmla="*/ 737 w 1473"/>
                <a:gd name="T7" fmla="*/ 1449 h 1473"/>
                <a:gd name="T8" fmla="*/ 219 w 1473"/>
                <a:gd name="T9" fmla="*/ 1225 h 1473"/>
                <a:gd name="T10" fmla="*/ 24 w 1473"/>
                <a:gd name="T11" fmla="*/ 736 h 1473"/>
                <a:gd name="T12" fmla="*/ 233 w 1473"/>
                <a:gd name="T13" fmla="*/ 233 h 1473"/>
                <a:gd name="T14" fmla="*/ 737 w 1473"/>
                <a:gd name="T15" fmla="*/ 24 h 1473"/>
                <a:gd name="T16" fmla="*/ 1240 w 1473"/>
                <a:gd name="T17" fmla="*/ 233 h 1473"/>
                <a:gd name="T18" fmla="*/ 1449 w 1473"/>
                <a:gd name="T19" fmla="*/ 736 h 1473"/>
                <a:gd name="T20" fmla="*/ 1461 w 1473"/>
                <a:gd name="T21" fmla="*/ 736 h 1473"/>
                <a:gd name="T22" fmla="*/ 1473 w 1473"/>
                <a:gd name="T23" fmla="*/ 736 h 1473"/>
                <a:gd name="T24" fmla="*/ 737 w 1473"/>
                <a:gd name="T25" fmla="*/ 0 h 1473"/>
                <a:gd name="T26" fmla="*/ 0 w 1473"/>
                <a:gd name="T27" fmla="*/ 736 h 1473"/>
                <a:gd name="T28" fmla="*/ 201 w 1473"/>
                <a:gd name="T29" fmla="*/ 1242 h 1473"/>
                <a:gd name="T30" fmla="*/ 737 w 1473"/>
                <a:gd name="T31" fmla="*/ 1473 h 1473"/>
                <a:gd name="T32" fmla="*/ 1272 w 1473"/>
                <a:gd name="T33" fmla="*/ 1242 h 1473"/>
                <a:gd name="T34" fmla="*/ 1473 w 1473"/>
                <a:gd name="T35" fmla="*/ 736 h 1473"/>
                <a:gd name="T36" fmla="*/ 1461 w 1473"/>
                <a:gd name="T3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3" h="1473">
                  <a:moveTo>
                    <a:pt x="1461" y="736"/>
                  </a:moveTo>
                  <a:cubicBezTo>
                    <a:pt x="1449" y="736"/>
                    <a:pt x="1449" y="736"/>
                    <a:pt x="1449" y="736"/>
                  </a:cubicBezTo>
                  <a:cubicBezTo>
                    <a:pt x="1449" y="926"/>
                    <a:pt x="1375" y="1098"/>
                    <a:pt x="1255" y="1225"/>
                  </a:cubicBezTo>
                  <a:cubicBezTo>
                    <a:pt x="1125" y="1363"/>
                    <a:pt x="941" y="1449"/>
                    <a:pt x="737" y="1449"/>
                  </a:cubicBezTo>
                  <a:cubicBezTo>
                    <a:pt x="532" y="1449"/>
                    <a:pt x="348" y="1363"/>
                    <a:pt x="219" y="1225"/>
                  </a:cubicBezTo>
                  <a:cubicBezTo>
                    <a:pt x="98" y="1098"/>
                    <a:pt x="24" y="926"/>
                    <a:pt x="24" y="736"/>
                  </a:cubicBezTo>
                  <a:cubicBezTo>
                    <a:pt x="24" y="540"/>
                    <a:pt x="104" y="362"/>
                    <a:pt x="233" y="233"/>
                  </a:cubicBezTo>
                  <a:cubicBezTo>
                    <a:pt x="362" y="104"/>
                    <a:pt x="540" y="24"/>
                    <a:pt x="737" y="24"/>
                  </a:cubicBezTo>
                  <a:cubicBezTo>
                    <a:pt x="933" y="24"/>
                    <a:pt x="1111" y="104"/>
                    <a:pt x="1240" y="233"/>
                  </a:cubicBezTo>
                  <a:cubicBezTo>
                    <a:pt x="1369" y="362"/>
                    <a:pt x="1449" y="540"/>
                    <a:pt x="1449" y="736"/>
                  </a:cubicBezTo>
                  <a:cubicBezTo>
                    <a:pt x="1461" y="736"/>
                    <a:pt x="1461" y="736"/>
                    <a:pt x="1461" y="736"/>
                  </a:cubicBezTo>
                  <a:cubicBezTo>
                    <a:pt x="1473" y="736"/>
                    <a:pt x="1473" y="736"/>
                    <a:pt x="1473" y="736"/>
                  </a:cubicBezTo>
                  <a:cubicBezTo>
                    <a:pt x="1473" y="330"/>
                    <a:pt x="1143" y="0"/>
                    <a:pt x="737" y="0"/>
                  </a:cubicBezTo>
                  <a:cubicBezTo>
                    <a:pt x="330" y="0"/>
                    <a:pt x="0" y="330"/>
                    <a:pt x="0" y="736"/>
                  </a:cubicBezTo>
                  <a:cubicBezTo>
                    <a:pt x="0" y="932"/>
                    <a:pt x="77" y="1110"/>
                    <a:pt x="201" y="1242"/>
                  </a:cubicBezTo>
                  <a:cubicBezTo>
                    <a:pt x="335" y="1384"/>
                    <a:pt x="526" y="1473"/>
                    <a:pt x="737" y="1473"/>
                  </a:cubicBezTo>
                  <a:cubicBezTo>
                    <a:pt x="948" y="1473"/>
                    <a:pt x="1138" y="1384"/>
                    <a:pt x="1272" y="1242"/>
                  </a:cubicBezTo>
                  <a:cubicBezTo>
                    <a:pt x="1397" y="1110"/>
                    <a:pt x="1473" y="932"/>
                    <a:pt x="1473" y="736"/>
                  </a:cubicBezTo>
                  <a:cubicBezTo>
                    <a:pt x="1461" y="736"/>
                    <a:pt x="1461" y="736"/>
                    <a:pt x="1461" y="736"/>
                  </a:cubicBezTo>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88">
              <a:extLst>
                <a:ext uri="{FF2B5EF4-FFF2-40B4-BE49-F238E27FC236}">
                  <a16:creationId xmlns:a16="http://schemas.microsoft.com/office/drawing/2014/main" id="{C379A26A-8A8E-4DDC-84AB-2FA394940093}"/>
                </a:ext>
              </a:extLst>
            </p:cNvPr>
            <p:cNvSpPr>
              <a:spLocks/>
            </p:cNvSpPr>
            <p:nvPr/>
          </p:nvSpPr>
          <p:spPr bwMode="auto">
            <a:xfrm>
              <a:off x="5555108" y="2978174"/>
              <a:ext cx="990674" cy="214362"/>
            </a:xfrm>
            <a:custGeom>
              <a:avLst/>
              <a:gdLst>
                <a:gd name="T0" fmla="*/ 1053 w 1053"/>
                <a:gd name="T1" fmla="*/ 0 h 228"/>
                <a:gd name="T2" fmla="*/ 527 w 1053"/>
                <a:gd name="T3" fmla="*/ 228 h 228"/>
                <a:gd name="T4" fmla="*/ 0 w 1053"/>
                <a:gd name="T5" fmla="*/ 0 h 228"/>
                <a:gd name="T6" fmla="*/ 1053 w 1053"/>
                <a:gd name="T7" fmla="*/ 0 h 228"/>
              </a:gdLst>
              <a:ahLst/>
              <a:cxnLst>
                <a:cxn ang="0">
                  <a:pos x="T0" y="T1"/>
                </a:cxn>
                <a:cxn ang="0">
                  <a:pos x="T2" y="T3"/>
                </a:cxn>
                <a:cxn ang="0">
                  <a:pos x="T4" y="T5"/>
                </a:cxn>
                <a:cxn ang="0">
                  <a:pos x="T6" y="T7"/>
                </a:cxn>
              </a:cxnLst>
              <a:rect l="0" t="0" r="r" b="b"/>
              <a:pathLst>
                <a:path w="1053" h="228">
                  <a:moveTo>
                    <a:pt x="1053" y="0"/>
                  </a:moveTo>
                  <a:cubicBezTo>
                    <a:pt x="921" y="140"/>
                    <a:pt x="734" y="228"/>
                    <a:pt x="527" y="228"/>
                  </a:cubicBezTo>
                  <a:cubicBezTo>
                    <a:pt x="319" y="228"/>
                    <a:pt x="132" y="140"/>
                    <a:pt x="0" y="0"/>
                  </a:cubicBezTo>
                  <a:cubicBezTo>
                    <a:pt x="1053" y="0"/>
                    <a:pt x="1053" y="0"/>
                    <a:pt x="1053" y="0"/>
                  </a:cubicBezTo>
                </a:path>
              </a:pathLst>
            </a:custGeom>
            <a:solidFill>
              <a:srgbClr val="AFD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89">
              <a:extLst>
                <a:ext uri="{FF2B5EF4-FFF2-40B4-BE49-F238E27FC236}">
                  <a16:creationId xmlns:a16="http://schemas.microsoft.com/office/drawing/2014/main" id="{D083AB2F-6BDC-4CB4-B761-6C7CCEBCC81F}"/>
                </a:ext>
              </a:extLst>
            </p:cNvPr>
            <p:cNvSpPr>
              <a:spLocks/>
            </p:cNvSpPr>
            <p:nvPr/>
          </p:nvSpPr>
          <p:spPr bwMode="auto">
            <a:xfrm>
              <a:off x="5543088" y="2966654"/>
              <a:ext cx="1014714" cy="236900"/>
            </a:xfrm>
            <a:custGeom>
              <a:avLst/>
              <a:gdLst>
                <a:gd name="T0" fmla="*/ 1066 w 1079"/>
                <a:gd name="T1" fmla="*/ 12 h 252"/>
                <a:gd name="T2" fmla="*/ 1058 w 1079"/>
                <a:gd name="T3" fmla="*/ 4 h 252"/>
                <a:gd name="T4" fmla="*/ 540 w 1079"/>
                <a:gd name="T5" fmla="*/ 228 h 252"/>
                <a:gd name="T6" fmla="*/ 22 w 1079"/>
                <a:gd name="T7" fmla="*/ 4 h 252"/>
                <a:gd name="T8" fmla="*/ 13 w 1079"/>
                <a:gd name="T9" fmla="*/ 12 h 252"/>
                <a:gd name="T10" fmla="*/ 13 w 1079"/>
                <a:gd name="T11" fmla="*/ 24 h 252"/>
                <a:gd name="T12" fmla="*/ 1066 w 1079"/>
                <a:gd name="T13" fmla="*/ 24 h 252"/>
                <a:gd name="T14" fmla="*/ 1066 w 1079"/>
                <a:gd name="T15" fmla="*/ 12 h 252"/>
                <a:gd name="T16" fmla="*/ 1058 w 1079"/>
                <a:gd name="T17" fmla="*/ 4 h 252"/>
                <a:gd name="T18" fmla="*/ 1066 w 1079"/>
                <a:gd name="T19" fmla="*/ 12 h 252"/>
                <a:gd name="T20" fmla="*/ 1066 w 1079"/>
                <a:gd name="T21" fmla="*/ 0 h 252"/>
                <a:gd name="T22" fmla="*/ 13 w 1079"/>
                <a:gd name="T23" fmla="*/ 0 h 252"/>
                <a:gd name="T24" fmla="*/ 2 w 1079"/>
                <a:gd name="T25" fmla="*/ 8 h 252"/>
                <a:gd name="T26" fmla="*/ 4 w 1079"/>
                <a:gd name="T27" fmla="*/ 21 h 252"/>
                <a:gd name="T28" fmla="*/ 540 w 1079"/>
                <a:gd name="T29" fmla="*/ 252 h 252"/>
                <a:gd name="T30" fmla="*/ 1075 w 1079"/>
                <a:gd name="T31" fmla="*/ 21 h 252"/>
                <a:gd name="T32" fmla="*/ 1077 w 1079"/>
                <a:gd name="T33" fmla="*/ 8 h 252"/>
                <a:gd name="T34" fmla="*/ 1066 w 1079"/>
                <a:gd name="T35" fmla="*/ 0 h 252"/>
                <a:gd name="T36" fmla="*/ 1066 w 1079"/>
                <a:gd name="T37"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252">
                  <a:moveTo>
                    <a:pt x="1066" y="12"/>
                  </a:moveTo>
                  <a:cubicBezTo>
                    <a:pt x="1058" y="4"/>
                    <a:pt x="1058" y="4"/>
                    <a:pt x="1058" y="4"/>
                  </a:cubicBezTo>
                  <a:cubicBezTo>
                    <a:pt x="928" y="142"/>
                    <a:pt x="744" y="228"/>
                    <a:pt x="540" y="228"/>
                  </a:cubicBezTo>
                  <a:cubicBezTo>
                    <a:pt x="335" y="228"/>
                    <a:pt x="151" y="142"/>
                    <a:pt x="22" y="4"/>
                  </a:cubicBezTo>
                  <a:cubicBezTo>
                    <a:pt x="13" y="12"/>
                    <a:pt x="13" y="12"/>
                    <a:pt x="13" y="12"/>
                  </a:cubicBezTo>
                  <a:cubicBezTo>
                    <a:pt x="13" y="24"/>
                    <a:pt x="13" y="24"/>
                    <a:pt x="13" y="24"/>
                  </a:cubicBezTo>
                  <a:cubicBezTo>
                    <a:pt x="1066" y="24"/>
                    <a:pt x="1066" y="24"/>
                    <a:pt x="1066" y="24"/>
                  </a:cubicBezTo>
                  <a:cubicBezTo>
                    <a:pt x="1066" y="12"/>
                    <a:pt x="1066" y="12"/>
                    <a:pt x="1066" y="12"/>
                  </a:cubicBezTo>
                  <a:cubicBezTo>
                    <a:pt x="1058" y="4"/>
                    <a:pt x="1058" y="4"/>
                    <a:pt x="1058" y="4"/>
                  </a:cubicBezTo>
                  <a:cubicBezTo>
                    <a:pt x="1066" y="12"/>
                    <a:pt x="1066" y="12"/>
                    <a:pt x="1066" y="12"/>
                  </a:cubicBezTo>
                  <a:cubicBezTo>
                    <a:pt x="1066" y="0"/>
                    <a:pt x="1066" y="0"/>
                    <a:pt x="1066" y="0"/>
                  </a:cubicBezTo>
                  <a:cubicBezTo>
                    <a:pt x="13" y="0"/>
                    <a:pt x="13" y="0"/>
                    <a:pt x="13" y="0"/>
                  </a:cubicBezTo>
                  <a:cubicBezTo>
                    <a:pt x="8" y="0"/>
                    <a:pt x="4" y="3"/>
                    <a:pt x="2" y="8"/>
                  </a:cubicBezTo>
                  <a:cubicBezTo>
                    <a:pt x="0" y="12"/>
                    <a:pt x="1" y="17"/>
                    <a:pt x="4" y="21"/>
                  </a:cubicBezTo>
                  <a:cubicBezTo>
                    <a:pt x="138" y="163"/>
                    <a:pt x="329" y="252"/>
                    <a:pt x="540" y="252"/>
                  </a:cubicBezTo>
                  <a:cubicBezTo>
                    <a:pt x="751" y="252"/>
                    <a:pt x="941" y="163"/>
                    <a:pt x="1075" y="21"/>
                  </a:cubicBezTo>
                  <a:cubicBezTo>
                    <a:pt x="1078" y="17"/>
                    <a:pt x="1079" y="12"/>
                    <a:pt x="1077" y="8"/>
                  </a:cubicBezTo>
                  <a:cubicBezTo>
                    <a:pt x="1076" y="3"/>
                    <a:pt x="1071" y="0"/>
                    <a:pt x="1066" y="0"/>
                  </a:cubicBezTo>
                  <a:cubicBezTo>
                    <a:pt x="1066" y="12"/>
                    <a:pt x="1066" y="12"/>
                    <a:pt x="1066" y="12"/>
                  </a:cubicBezTo>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90">
              <a:extLst>
                <a:ext uri="{FF2B5EF4-FFF2-40B4-BE49-F238E27FC236}">
                  <a16:creationId xmlns:a16="http://schemas.microsoft.com/office/drawing/2014/main" id="{0C9480A9-EA90-4B04-ABD6-F0F7A7B2E5BB}"/>
                </a:ext>
              </a:extLst>
            </p:cNvPr>
            <p:cNvSpPr>
              <a:spLocks/>
            </p:cNvSpPr>
            <p:nvPr/>
          </p:nvSpPr>
          <p:spPr bwMode="auto">
            <a:xfrm>
              <a:off x="5930743" y="2772827"/>
              <a:ext cx="266951" cy="159770"/>
            </a:xfrm>
            <a:custGeom>
              <a:avLst/>
              <a:gdLst>
                <a:gd name="T0" fmla="*/ 67 w 533"/>
                <a:gd name="T1" fmla="*/ 0 h 319"/>
                <a:gd name="T2" fmla="*/ 465 w 533"/>
                <a:gd name="T3" fmla="*/ 0 h 319"/>
                <a:gd name="T4" fmla="*/ 533 w 533"/>
                <a:gd name="T5" fmla="*/ 319 h 319"/>
                <a:gd name="T6" fmla="*/ 0 w 533"/>
                <a:gd name="T7" fmla="*/ 319 h 319"/>
                <a:gd name="T8" fmla="*/ 67 w 533"/>
                <a:gd name="T9" fmla="*/ 0 h 319"/>
              </a:gdLst>
              <a:ahLst/>
              <a:cxnLst>
                <a:cxn ang="0">
                  <a:pos x="T0" y="T1"/>
                </a:cxn>
                <a:cxn ang="0">
                  <a:pos x="T2" y="T3"/>
                </a:cxn>
                <a:cxn ang="0">
                  <a:pos x="T4" y="T5"/>
                </a:cxn>
                <a:cxn ang="0">
                  <a:pos x="T6" y="T7"/>
                </a:cxn>
                <a:cxn ang="0">
                  <a:pos x="T8" y="T9"/>
                </a:cxn>
              </a:cxnLst>
              <a:rect l="0" t="0" r="r" b="b"/>
              <a:pathLst>
                <a:path w="533" h="319">
                  <a:moveTo>
                    <a:pt x="67" y="0"/>
                  </a:moveTo>
                  <a:lnTo>
                    <a:pt x="465" y="0"/>
                  </a:lnTo>
                  <a:lnTo>
                    <a:pt x="533" y="319"/>
                  </a:lnTo>
                  <a:lnTo>
                    <a:pt x="0" y="319"/>
                  </a:ln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91">
              <a:extLst>
                <a:ext uri="{FF2B5EF4-FFF2-40B4-BE49-F238E27FC236}">
                  <a16:creationId xmlns:a16="http://schemas.microsoft.com/office/drawing/2014/main" id="{0008157F-50EF-4617-90BD-04CD457B0F47}"/>
                </a:ext>
              </a:extLst>
            </p:cNvPr>
            <p:cNvSpPr>
              <a:spLocks/>
            </p:cNvSpPr>
            <p:nvPr/>
          </p:nvSpPr>
          <p:spPr bwMode="auto">
            <a:xfrm>
              <a:off x="5919223" y="2761808"/>
              <a:ext cx="290491" cy="182308"/>
            </a:xfrm>
            <a:custGeom>
              <a:avLst/>
              <a:gdLst>
                <a:gd name="T0" fmla="*/ 48 w 309"/>
                <a:gd name="T1" fmla="*/ 12 h 194"/>
                <a:gd name="T2" fmla="*/ 48 w 309"/>
                <a:gd name="T3" fmla="*/ 24 h 194"/>
                <a:gd name="T4" fmla="*/ 250 w 309"/>
                <a:gd name="T5" fmla="*/ 24 h 194"/>
                <a:gd name="T6" fmla="*/ 281 w 309"/>
                <a:gd name="T7" fmla="*/ 170 h 194"/>
                <a:gd name="T8" fmla="*/ 27 w 309"/>
                <a:gd name="T9" fmla="*/ 170 h 194"/>
                <a:gd name="T10" fmla="*/ 60 w 309"/>
                <a:gd name="T11" fmla="*/ 14 h 194"/>
                <a:gd name="T12" fmla="*/ 48 w 309"/>
                <a:gd name="T13" fmla="*/ 12 h 194"/>
                <a:gd name="T14" fmla="*/ 48 w 309"/>
                <a:gd name="T15" fmla="*/ 24 h 194"/>
                <a:gd name="T16" fmla="*/ 48 w 309"/>
                <a:gd name="T17" fmla="*/ 12 h 194"/>
                <a:gd name="T18" fmla="*/ 36 w 309"/>
                <a:gd name="T19" fmla="*/ 9 h 194"/>
                <a:gd name="T20" fmla="*/ 0 w 309"/>
                <a:gd name="T21" fmla="*/ 179 h 194"/>
                <a:gd name="T22" fmla="*/ 3 w 309"/>
                <a:gd name="T23" fmla="*/ 189 h 194"/>
                <a:gd name="T24" fmla="*/ 12 w 309"/>
                <a:gd name="T25" fmla="*/ 194 h 194"/>
                <a:gd name="T26" fmla="*/ 296 w 309"/>
                <a:gd name="T27" fmla="*/ 194 h 194"/>
                <a:gd name="T28" fmla="*/ 305 w 309"/>
                <a:gd name="T29" fmla="*/ 189 h 194"/>
                <a:gd name="T30" fmla="*/ 308 w 309"/>
                <a:gd name="T31" fmla="*/ 179 h 194"/>
                <a:gd name="T32" fmla="*/ 272 w 309"/>
                <a:gd name="T33" fmla="*/ 9 h 194"/>
                <a:gd name="T34" fmla="*/ 260 w 309"/>
                <a:gd name="T35" fmla="*/ 0 h 194"/>
                <a:gd name="T36" fmla="*/ 48 w 309"/>
                <a:gd name="T37" fmla="*/ 0 h 194"/>
                <a:gd name="T38" fmla="*/ 36 w 309"/>
                <a:gd name="T39" fmla="*/ 9 h 194"/>
                <a:gd name="T40" fmla="*/ 48 w 309"/>
                <a:gd name="T41" fmla="*/ 1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9" h="194">
                  <a:moveTo>
                    <a:pt x="48" y="12"/>
                  </a:moveTo>
                  <a:cubicBezTo>
                    <a:pt x="48" y="24"/>
                    <a:pt x="48" y="24"/>
                    <a:pt x="48" y="24"/>
                  </a:cubicBezTo>
                  <a:cubicBezTo>
                    <a:pt x="250" y="24"/>
                    <a:pt x="250" y="24"/>
                    <a:pt x="250" y="24"/>
                  </a:cubicBezTo>
                  <a:cubicBezTo>
                    <a:pt x="281" y="170"/>
                    <a:pt x="281" y="170"/>
                    <a:pt x="281" y="170"/>
                  </a:cubicBezTo>
                  <a:cubicBezTo>
                    <a:pt x="27" y="170"/>
                    <a:pt x="27" y="170"/>
                    <a:pt x="27" y="170"/>
                  </a:cubicBezTo>
                  <a:cubicBezTo>
                    <a:pt x="60" y="14"/>
                    <a:pt x="60" y="14"/>
                    <a:pt x="60" y="14"/>
                  </a:cubicBezTo>
                  <a:cubicBezTo>
                    <a:pt x="48" y="12"/>
                    <a:pt x="48" y="12"/>
                    <a:pt x="48" y="12"/>
                  </a:cubicBezTo>
                  <a:cubicBezTo>
                    <a:pt x="48" y="24"/>
                    <a:pt x="48" y="24"/>
                    <a:pt x="48" y="24"/>
                  </a:cubicBezTo>
                  <a:cubicBezTo>
                    <a:pt x="48" y="12"/>
                    <a:pt x="48" y="12"/>
                    <a:pt x="48" y="12"/>
                  </a:cubicBezTo>
                  <a:cubicBezTo>
                    <a:pt x="36" y="9"/>
                    <a:pt x="36" y="9"/>
                    <a:pt x="36" y="9"/>
                  </a:cubicBezTo>
                  <a:cubicBezTo>
                    <a:pt x="0" y="179"/>
                    <a:pt x="0" y="179"/>
                    <a:pt x="0" y="179"/>
                  </a:cubicBezTo>
                  <a:cubicBezTo>
                    <a:pt x="0" y="183"/>
                    <a:pt x="1" y="186"/>
                    <a:pt x="3" y="189"/>
                  </a:cubicBezTo>
                  <a:cubicBezTo>
                    <a:pt x="5" y="192"/>
                    <a:pt x="9" y="194"/>
                    <a:pt x="12" y="194"/>
                  </a:cubicBezTo>
                  <a:cubicBezTo>
                    <a:pt x="296" y="194"/>
                    <a:pt x="296" y="194"/>
                    <a:pt x="296" y="194"/>
                  </a:cubicBezTo>
                  <a:cubicBezTo>
                    <a:pt x="300" y="194"/>
                    <a:pt x="303" y="192"/>
                    <a:pt x="305" y="189"/>
                  </a:cubicBezTo>
                  <a:cubicBezTo>
                    <a:pt x="308" y="186"/>
                    <a:pt x="309" y="183"/>
                    <a:pt x="308" y="179"/>
                  </a:cubicBezTo>
                  <a:cubicBezTo>
                    <a:pt x="272" y="9"/>
                    <a:pt x="272" y="9"/>
                    <a:pt x="272" y="9"/>
                  </a:cubicBezTo>
                  <a:cubicBezTo>
                    <a:pt x="271" y="4"/>
                    <a:pt x="266" y="0"/>
                    <a:pt x="260" y="0"/>
                  </a:cubicBezTo>
                  <a:cubicBezTo>
                    <a:pt x="48" y="0"/>
                    <a:pt x="48" y="0"/>
                    <a:pt x="48" y="0"/>
                  </a:cubicBezTo>
                  <a:cubicBezTo>
                    <a:pt x="42" y="0"/>
                    <a:pt x="38" y="4"/>
                    <a:pt x="36" y="9"/>
                  </a:cubicBezTo>
                  <a:lnTo>
                    <a:pt x="48" y="12"/>
                  </a:lnTo>
                  <a:close/>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92">
              <a:extLst>
                <a:ext uri="{FF2B5EF4-FFF2-40B4-BE49-F238E27FC236}">
                  <a16:creationId xmlns:a16="http://schemas.microsoft.com/office/drawing/2014/main" id="{D61BFAA6-FE39-4E09-9192-3B9F85B7CA06}"/>
                </a:ext>
              </a:extLst>
            </p:cNvPr>
            <p:cNvSpPr>
              <a:spLocks/>
            </p:cNvSpPr>
            <p:nvPr/>
          </p:nvSpPr>
          <p:spPr bwMode="auto">
            <a:xfrm>
              <a:off x="5466730" y="1968718"/>
              <a:ext cx="1190011" cy="855946"/>
            </a:xfrm>
            <a:custGeom>
              <a:avLst/>
              <a:gdLst>
                <a:gd name="T0" fmla="*/ 1265 w 1265"/>
                <a:gd name="T1" fmla="*/ 78 h 910"/>
                <a:gd name="T2" fmla="*/ 1265 w 1265"/>
                <a:gd name="T3" fmla="*/ 832 h 910"/>
                <a:gd name="T4" fmla="*/ 1187 w 1265"/>
                <a:gd name="T5" fmla="*/ 910 h 910"/>
                <a:gd name="T6" fmla="*/ 78 w 1265"/>
                <a:gd name="T7" fmla="*/ 910 h 910"/>
                <a:gd name="T8" fmla="*/ 0 w 1265"/>
                <a:gd name="T9" fmla="*/ 832 h 910"/>
                <a:gd name="T10" fmla="*/ 0 w 1265"/>
                <a:gd name="T11" fmla="*/ 78 h 910"/>
                <a:gd name="T12" fmla="*/ 78 w 1265"/>
                <a:gd name="T13" fmla="*/ 0 h 910"/>
                <a:gd name="T14" fmla="*/ 1187 w 1265"/>
                <a:gd name="T15" fmla="*/ 0 h 910"/>
                <a:gd name="T16" fmla="*/ 1265 w 1265"/>
                <a:gd name="T17" fmla="*/ 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5" h="910">
                  <a:moveTo>
                    <a:pt x="1265" y="78"/>
                  </a:moveTo>
                  <a:cubicBezTo>
                    <a:pt x="1265" y="832"/>
                    <a:pt x="1265" y="832"/>
                    <a:pt x="1265" y="832"/>
                  </a:cubicBezTo>
                  <a:cubicBezTo>
                    <a:pt x="1265" y="875"/>
                    <a:pt x="1230" y="910"/>
                    <a:pt x="1187" y="910"/>
                  </a:cubicBezTo>
                  <a:cubicBezTo>
                    <a:pt x="78" y="910"/>
                    <a:pt x="78" y="910"/>
                    <a:pt x="78" y="910"/>
                  </a:cubicBezTo>
                  <a:cubicBezTo>
                    <a:pt x="35" y="910"/>
                    <a:pt x="0" y="875"/>
                    <a:pt x="0" y="832"/>
                  </a:cubicBezTo>
                  <a:cubicBezTo>
                    <a:pt x="0" y="78"/>
                    <a:pt x="0" y="78"/>
                    <a:pt x="0" y="78"/>
                  </a:cubicBezTo>
                  <a:cubicBezTo>
                    <a:pt x="0" y="35"/>
                    <a:pt x="35" y="0"/>
                    <a:pt x="78" y="0"/>
                  </a:cubicBezTo>
                  <a:cubicBezTo>
                    <a:pt x="1187" y="0"/>
                    <a:pt x="1187" y="0"/>
                    <a:pt x="1187" y="0"/>
                  </a:cubicBezTo>
                  <a:cubicBezTo>
                    <a:pt x="1230" y="0"/>
                    <a:pt x="1265" y="35"/>
                    <a:pt x="1265" y="78"/>
                  </a:cubicBezTo>
                </a:path>
              </a:pathLst>
            </a:custGeom>
            <a:solidFill>
              <a:srgbClr val="E4F3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93">
              <a:extLst>
                <a:ext uri="{FF2B5EF4-FFF2-40B4-BE49-F238E27FC236}">
                  <a16:creationId xmlns:a16="http://schemas.microsoft.com/office/drawing/2014/main" id="{785D87E3-A055-4C98-963A-1EA0291A92BF}"/>
                </a:ext>
              </a:extLst>
            </p:cNvPr>
            <p:cNvSpPr>
              <a:spLocks/>
            </p:cNvSpPr>
            <p:nvPr/>
          </p:nvSpPr>
          <p:spPr bwMode="auto">
            <a:xfrm>
              <a:off x="5443920" y="1963459"/>
              <a:ext cx="1213049" cy="877984"/>
            </a:xfrm>
            <a:custGeom>
              <a:avLst/>
              <a:gdLst>
                <a:gd name="T0" fmla="*/ 1277 w 1289"/>
                <a:gd name="T1" fmla="*/ 90 h 934"/>
                <a:gd name="T2" fmla="*/ 1265 w 1289"/>
                <a:gd name="T3" fmla="*/ 90 h 934"/>
                <a:gd name="T4" fmla="*/ 1265 w 1289"/>
                <a:gd name="T5" fmla="*/ 844 h 934"/>
                <a:gd name="T6" fmla="*/ 1246 w 1289"/>
                <a:gd name="T7" fmla="*/ 891 h 934"/>
                <a:gd name="T8" fmla="*/ 1199 w 1289"/>
                <a:gd name="T9" fmla="*/ 910 h 934"/>
                <a:gd name="T10" fmla="*/ 90 w 1289"/>
                <a:gd name="T11" fmla="*/ 910 h 934"/>
                <a:gd name="T12" fmla="*/ 43 w 1289"/>
                <a:gd name="T13" fmla="*/ 891 h 934"/>
                <a:gd name="T14" fmla="*/ 24 w 1289"/>
                <a:gd name="T15" fmla="*/ 844 h 934"/>
                <a:gd name="T16" fmla="*/ 24 w 1289"/>
                <a:gd name="T17" fmla="*/ 90 h 934"/>
                <a:gd name="T18" fmla="*/ 43 w 1289"/>
                <a:gd name="T19" fmla="*/ 43 h 934"/>
                <a:gd name="T20" fmla="*/ 90 w 1289"/>
                <a:gd name="T21" fmla="*/ 24 h 934"/>
                <a:gd name="T22" fmla="*/ 1199 w 1289"/>
                <a:gd name="T23" fmla="*/ 24 h 934"/>
                <a:gd name="T24" fmla="*/ 1246 w 1289"/>
                <a:gd name="T25" fmla="*/ 43 h 934"/>
                <a:gd name="T26" fmla="*/ 1265 w 1289"/>
                <a:gd name="T27" fmla="*/ 90 h 934"/>
                <a:gd name="T28" fmla="*/ 1277 w 1289"/>
                <a:gd name="T29" fmla="*/ 90 h 934"/>
                <a:gd name="T30" fmla="*/ 1289 w 1289"/>
                <a:gd name="T31" fmla="*/ 90 h 934"/>
                <a:gd name="T32" fmla="*/ 1263 w 1289"/>
                <a:gd name="T33" fmla="*/ 27 h 934"/>
                <a:gd name="T34" fmla="*/ 1199 w 1289"/>
                <a:gd name="T35" fmla="*/ 0 h 934"/>
                <a:gd name="T36" fmla="*/ 90 w 1289"/>
                <a:gd name="T37" fmla="*/ 0 h 934"/>
                <a:gd name="T38" fmla="*/ 26 w 1289"/>
                <a:gd name="T39" fmla="*/ 27 h 934"/>
                <a:gd name="T40" fmla="*/ 0 w 1289"/>
                <a:gd name="T41" fmla="*/ 90 h 934"/>
                <a:gd name="T42" fmla="*/ 0 w 1289"/>
                <a:gd name="T43" fmla="*/ 844 h 934"/>
                <a:gd name="T44" fmla="*/ 26 w 1289"/>
                <a:gd name="T45" fmla="*/ 908 h 934"/>
                <a:gd name="T46" fmla="*/ 90 w 1289"/>
                <a:gd name="T47" fmla="*/ 934 h 934"/>
                <a:gd name="T48" fmla="*/ 1199 w 1289"/>
                <a:gd name="T49" fmla="*/ 934 h 934"/>
                <a:gd name="T50" fmla="*/ 1263 w 1289"/>
                <a:gd name="T51" fmla="*/ 908 h 934"/>
                <a:gd name="T52" fmla="*/ 1289 w 1289"/>
                <a:gd name="T53" fmla="*/ 844 h 934"/>
                <a:gd name="T54" fmla="*/ 1289 w 1289"/>
                <a:gd name="T55" fmla="*/ 90 h 934"/>
                <a:gd name="T56" fmla="*/ 1277 w 1289"/>
                <a:gd name="T57" fmla="*/ 90 h 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9" h="934">
                  <a:moveTo>
                    <a:pt x="1277" y="90"/>
                  </a:moveTo>
                  <a:cubicBezTo>
                    <a:pt x="1265" y="90"/>
                    <a:pt x="1265" y="90"/>
                    <a:pt x="1265" y="90"/>
                  </a:cubicBezTo>
                  <a:cubicBezTo>
                    <a:pt x="1265" y="844"/>
                    <a:pt x="1265" y="844"/>
                    <a:pt x="1265" y="844"/>
                  </a:cubicBezTo>
                  <a:cubicBezTo>
                    <a:pt x="1265" y="862"/>
                    <a:pt x="1258" y="879"/>
                    <a:pt x="1246" y="891"/>
                  </a:cubicBezTo>
                  <a:cubicBezTo>
                    <a:pt x="1234" y="903"/>
                    <a:pt x="1217" y="910"/>
                    <a:pt x="1199" y="910"/>
                  </a:cubicBezTo>
                  <a:cubicBezTo>
                    <a:pt x="90" y="910"/>
                    <a:pt x="90" y="910"/>
                    <a:pt x="90" y="910"/>
                  </a:cubicBezTo>
                  <a:cubicBezTo>
                    <a:pt x="72" y="910"/>
                    <a:pt x="55" y="903"/>
                    <a:pt x="43" y="891"/>
                  </a:cubicBezTo>
                  <a:cubicBezTo>
                    <a:pt x="31" y="879"/>
                    <a:pt x="24" y="862"/>
                    <a:pt x="24" y="844"/>
                  </a:cubicBezTo>
                  <a:cubicBezTo>
                    <a:pt x="24" y="90"/>
                    <a:pt x="24" y="90"/>
                    <a:pt x="24" y="90"/>
                  </a:cubicBezTo>
                  <a:cubicBezTo>
                    <a:pt x="24" y="72"/>
                    <a:pt x="31" y="55"/>
                    <a:pt x="43" y="43"/>
                  </a:cubicBezTo>
                  <a:cubicBezTo>
                    <a:pt x="55" y="32"/>
                    <a:pt x="72" y="24"/>
                    <a:pt x="90" y="24"/>
                  </a:cubicBezTo>
                  <a:cubicBezTo>
                    <a:pt x="1199" y="24"/>
                    <a:pt x="1199" y="24"/>
                    <a:pt x="1199" y="24"/>
                  </a:cubicBezTo>
                  <a:cubicBezTo>
                    <a:pt x="1217" y="24"/>
                    <a:pt x="1234" y="32"/>
                    <a:pt x="1246" y="43"/>
                  </a:cubicBezTo>
                  <a:cubicBezTo>
                    <a:pt x="1258" y="55"/>
                    <a:pt x="1265" y="72"/>
                    <a:pt x="1265" y="90"/>
                  </a:cubicBezTo>
                  <a:cubicBezTo>
                    <a:pt x="1277" y="90"/>
                    <a:pt x="1277" y="90"/>
                    <a:pt x="1277" y="90"/>
                  </a:cubicBezTo>
                  <a:cubicBezTo>
                    <a:pt x="1289" y="90"/>
                    <a:pt x="1289" y="90"/>
                    <a:pt x="1289" y="90"/>
                  </a:cubicBezTo>
                  <a:cubicBezTo>
                    <a:pt x="1289" y="65"/>
                    <a:pt x="1279" y="43"/>
                    <a:pt x="1263" y="27"/>
                  </a:cubicBezTo>
                  <a:cubicBezTo>
                    <a:pt x="1247" y="10"/>
                    <a:pt x="1224" y="0"/>
                    <a:pt x="1199" y="0"/>
                  </a:cubicBezTo>
                  <a:cubicBezTo>
                    <a:pt x="90" y="0"/>
                    <a:pt x="90" y="0"/>
                    <a:pt x="90" y="0"/>
                  </a:cubicBezTo>
                  <a:cubicBezTo>
                    <a:pt x="65" y="0"/>
                    <a:pt x="43" y="10"/>
                    <a:pt x="26" y="27"/>
                  </a:cubicBezTo>
                  <a:cubicBezTo>
                    <a:pt x="10" y="43"/>
                    <a:pt x="0" y="65"/>
                    <a:pt x="0" y="90"/>
                  </a:cubicBezTo>
                  <a:cubicBezTo>
                    <a:pt x="0" y="844"/>
                    <a:pt x="0" y="844"/>
                    <a:pt x="0" y="844"/>
                  </a:cubicBezTo>
                  <a:cubicBezTo>
                    <a:pt x="0" y="869"/>
                    <a:pt x="10" y="891"/>
                    <a:pt x="26" y="908"/>
                  </a:cubicBezTo>
                  <a:cubicBezTo>
                    <a:pt x="43" y="924"/>
                    <a:pt x="65" y="934"/>
                    <a:pt x="90" y="934"/>
                  </a:cubicBezTo>
                  <a:cubicBezTo>
                    <a:pt x="1199" y="934"/>
                    <a:pt x="1199" y="934"/>
                    <a:pt x="1199" y="934"/>
                  </a:cubicBezTo>
                  <a:cubicBezTo>
                    <a:pt x="1224" y="934"/>
                    <a:pt x="1247" y="924"/>
                    <a:pt x="1263" y="908"/>
                  </a:cubicBezTo>
                  <a:cubicBezTo>
                    <a:pt x="1279" y="891"/>
                    <a:pt x="1289" y="869"/>
                    <a:pt x="1289" y="844"/>
                  </a:cubicBezTo>
                  <a:cubicBezTo>
                    <a:pt x="1289" y="90"/>
                    <a:pt x="1289" y="90"/>
                    <a:pt x="1289" y="90"/>
                  </a:cubicBezTo>
                  <a:cubicBezTo>
                    <a:pt x="1277" y="90"/>
                    <a:pt x="1277" y="90"/>
                    <a:pt x="1277" y="90"/>
                  </a:cubicBezTo>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96">
              <a:extLst>
                <a:ext uri="{FF2B5EF4-FFF2-40B4-BE49-F238E27FC236}">
                  <a16:creationId xmlns:a16="http://schemas.microsoft.com/office/drawing/2014/main" id="{A706FEF7-5DA8-4B9C-98FE-FDF8D9AC3A6F}"/>
                </a:ext>
              </a:extLst>
            </p:cNvPr>
            <p:cNvSpPr>
              <a:spLocks/>
            </p:cNvSpPr>
            <p:nvPr/>
          </p:nvSpPr>
          <p:spPr bwMode="auto">
            <a:xfrm>
              <a:off x="5455439" y="2670654"/>
              <a:ext cx="1190011" cy="159770"/>
            </a:xfrm>
            <a:custGeom>
              <a:avLst/>
              <a:gdLst>
                <a:gd name="T0" fmla="*/ 1265 w 1265"/>
                <a:gd name="T1" fmla="*/ 0 h 170"/>
                <a:gd name="T2" fmla="*/ 1265 w 1265"/>
                <a:gd name="T3" fmla="*/ 92 h 170"/>
                <a:gd name="T4" fmla="*/ 1187 w 1265"/>
                <a:gd name="T5" fmla="*/ 170 h 170"/>
                <a:gd name="T6" fmla="*/ 78 w 1265"/>
                <a:gd name="T7" fmla="*/ 170 h 170"/>
                <a:gd name="T8" fmla="*/ 0 w 1265"/>
                <a:gd name="T9" fmla="*/ 92 h 170"/>
                <a:gd name="T10" fmla="*/ 0 w 1265"/>
                <a:gd name="T11" fmla="*/ 0 h 170"/>
                <a:gd name="T12" fmla="*/ 1265 w 1265"/>
                <a:gd name="T13" fmla="*/ 0 h 170"/>
              </a:gdLst>
              <a:ahLst/>
              <a:cxnLst>
                <a:cxn ang="0">
                  <a:pos x="T0" y="T1"/>
                </a:cxn>
                <a:cxn ang="0">
                  <a:pos x="T2" y="T3"/>
                </a:cxn>
                <a:cxn ang="0">
                  <a:pos x="T4" y="T5"/>
                </a:cxn>
                <a:cxn ang="0">
                  <a:pos x="T6" y="T7"/>
                </a:cxn>
                <a:cxn ang="0">
                  <a:pos x="T8" y="T9"/>
                </a:cxn>
                <a:cxn ang="0">
                  <a:pos x="T10" y="T11"/>
                </a:cxn>
                <a:cxn ang="0">
                  <a:pos x="T12" y="T13"/>
                </a:cxn>
              </a:cxnLst>
              <a:rect l="0" t="0" r="r" b="b"/>
              <a:pathLst>
                <a:path w="1265" h="170">
                  <a:moveTo>
                    <a:pt x="1265" y="0"/>
                  </a:moveTo>
                  <a:cubicBezTo>
                    <a:pt x="1265" y="92"/>
                    <a:pt x="1265" y="92"/>
                    <a:pt x="1265" y="92"/>
                  </a:cubicBezTo>
                  <a:cubicBezTo>
                    <a:pt x="1265" y="135"/>
                    <a:pt x="1230" y="170"/>
                    <a:pt x="1187" y="170"/>
                  </a:cubicBezTo>
                  <a:cubicBezTo>
                    <a:pt x="78" y="170"/>
                    <a:pt x="78" y="170"/>
                    <a:pt x="78" y="170"/>
                  </a:cubicBezTo>
                  <a:cubicBezTo>
                    <a:pt x="35" y="170"/>
                    <a:pt x="0" y="135"/>
                    <a:pt x="0" y="92"/>
                  </a:cubicBezTo>
                  <a:cubicBezTo>
                    <a:pt x="0" y="0"/>
                    <a:pt x="0" y="0"/>
                    <a:pt x="0" y="0"/>
                  </a:cubicBezTo>
                  <a:cubicBezTo>
                    <a:pt x="1265" y="0"/>
                    <a:pt x="1265" y="0"/>
                    <a:pt x="126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97">
              <a:extLst>
                <a:ext uri="{FF2B5EF4-FFF2-40B4-BE49-F238E27FC236}">
                  <a16:creationId xmlns:a16="http://schemas.microsoft.com/office/drawing/2014/main" id="{37386908-16D8-4007-8723-414163C59CBB}"/>
                </a:ext>
              </a:extLst>
            </p:cNvPr>
            <p:cNvSpPr>
              <a:spLocks/>
            </p:cNvSpPr>
            <p:nvPr/>
          </p:nvSpPr>
          <p:spPr bwMode="auto">
            <a:xfrm>
              <a:off x="5443920" y="2659134"/>
              <a:ext cx="1213049" cy="182308"/>
            </a:xfrm>
            <a:custGeom>
              <a:avLst/>
              <a:gdLst>
                <a:gd name="T0" fmla="*/ 1277 w 1289"/>
                <a:gd name="T1" fmla="*/ 12 h 194"/>
                <a:gd name="T2" fmla="*/ 1265 w 1289"/>
                <a:gd name="T3" fmla="*/ 12 h 194"/>
                <a:gd name="T4" fmla="*/ 1265 w 1289"/>
                <a:gd name="T5" fmla="*/ 104 h 194"/>
                <a:gd name="T6" fmla="*/ 1246 w 1289"/>
                <a:gd name="T7" fmla="*/ 151 h 194"/>
                <a:gd name="T8" fmla="*/ 1199 w 1289"/>
                <a:gd name="T9" fmla="*/ 170 h 194"/>
                <a:gd name="T10" fmla="*/ 90 w 1289"/>
                <a:gd name="T11" fmla="*/ 170 h 194"/>
                <a:gd name="T12" fmla="*/ 43 w 1289"/>
                <a:gd name="T13" fmla="*/ 151 h 194"/>
                <a:gd name="T14" fmla="*/ 24 w 1289"/>
                <a:gd name="T15" fmla="*/ 104 h 194"/>
                <a:gd name="T16" fmla="*/ 24 w 1289"/>
                <a:gd name="T17" fmla="*/ 24 h 194"/>
                <a:gd name="T18" fmla="*/ 1277 w 1289"/>
                <a:gd name="T19" fmla="*/ 24 h 194"/>
                <a:gd name="T20" fmla="*/ 1277 w 1289"/>
                <a:gd name="T21" fmla="*/ 12 h 194"/>
                <a:gd name="T22" fmla="*/ 1265 w 1289"/>
                <a:gd name="T23" fmla="*/ 12 h 194"/>
                <a:gd name="T24" fmla="*/ 1277 w 1289"/>
                <a:gd name="T25" fmla="*/ 12 h 194"/>
                <a:gd name="T26" fmla="*/ 1277 w 1289"/>
                <a:gd name="T27" fmla="*/ 0 h 194"/>
                <a:gd name="T28" fmla="*/ 12 w 1289"/>
                <a:gd name="T29" fmla="*/ 0 h 194"/>
                <a:gd name="T30" fmla="*/ 4 w 1289"/>
                <a:gd name="T31" fmla="*/ 4 h 194"/>
                <a:gd name="T32" fmla="*/ 0 w 1289"/>
                <a:gd name="T33" fmla="*/ 12 h 194"/>
                <a:gd name="T34" fmla="*/ 0 w 1289"/>
                <a:gd name="T35" fmla="*/ 104 h 194"/>
                <a:gd name="T36" fmla="*/ 26 w 1289"/>
                <a:gd name="T37" fmla="*/ 168 h 194"/>
                <a:gd name="T38" fmla="*/ 90 w 1289"/>
                <a:gd name="T39" fmla="*/ 194 h 194"/>
                <a:gd name="T40" fmla="*/ 1199 w 1289"/>
                <a:gd name="T41" fmla="*/ 194 h 194"/>
                <a:gd name="T42" fmla="*/ 1263 w 1289"/>
                <a:gd name="T43" fmla="*/ 168 h 194"/>
                <a:gd name="T44" fmla="*/ 1289 w 1289"/>
                <a:gd name="T45" fmla="*/ 104 h 194"/>
                <a:gd name="T46" fmla="*/ 1289 w 1289"/>
                <a:gd name="T47" fmla="*/ 12 h 194"/>
                <a:gd name="T48" fmla="*/ 1286 w 1289"/>
                <a:gd name="T49" fmla="*/ 4 h 194"/>
                <a:gd name="T50" fmla="*/ 1277 w 1289"/>
                <a:gd name="T51" fmla="*/ 0 h 194"/>
                <a:gd name="T52" fmla="*/ 1277 w 1289"/>
                <a:gd name="T53" fmla="*/ 1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9" h="194">
                  <a:moveTo>
                    <a:pt x="1277" y="12"/>
                  </a:moveTo>
                  <a:cubicBezTo>
                    <a:pt x="1265" y="12"/>
                    <a:pt x="1265" y="12"/>
                    <a:pt x="1265" y="12"/>
                  </a:cubicBezTo>
                  <a:cubicBezTo>
                    <a:pt x="1265" y="104"/>
                    <a:pt x="1265" y="104"/>
                    <a:pt x="1265" y="104"/>
                  </a:cubicBezTo>
                  <a:cubicBezTo>
                    <a:pt x="1265" y="122"/>
                    <a:pt x="1258" y="139"/>
                    <a:pt x="1246" y="151"/>
                  </a:cubicBezTo>
                  <a:cubicBezTo>
                    <a:pt x="1234" y="163"/>
                    <a:pt x="1217" y="170"/>
                    <a:pt x="1199" y="170"/>
                  </a:cubicBezTo>
                  <a:cubicBezTo>
                    <a:pt x="90" y="170"/>
                    <a:pt x="90" y="170"/>
                    <a:pt x="90" y="170"/>
                  </a:cubicBezTo>
                  <a:cubicBezTo>
                    <a:pt x="72" y="170"/>
                    <a:pt x="55" y="163"/>
                    <a:pt x="43" y="151"/>
                  </a:cubicBezTo>
                  <a:cubicBezTo>
                    <a:pt x="31" y="139"/>
                    <a:pt x="24" y="122"/>
                    <a:pt x="24" y="104"/>
                  </a:cubicBezTo>
                  <a:cubicBezTo>
                    <a:pt x="24" y="24"/>
                    <a:pt x="24" y="24"/>
                    <a:pt x="24" y="24"/>
                  </a:cubicBezTo>
                  <a:cubicBezTo>
                    <a:pt x="1277" y="24"/>
                    <a:pt x="1277" y="24"/>
                    <a:pt x="1277" y="24"/>
                  </a:cubicBezTo>
                  <a:cubicBezTo>
                    <a:pt x="1277" y="12"/>
                    <a:pt x="1277" y="12"/>
                    <a:pt x="1277" y="12"/>
                  </a:cubicBezTo>
                  <a:cubicBezTo>
                    <a:pt x="1265" y="12"/>
                    <a:pt x="1265" y="12"/>
                    <a:pt x="1265" y="12"/>
                  </a:cubicBezTo>
                  <a:cubicBezTo>
                    <a:pt x="1277" y="12"/>
                    <a:pt x="1277" y="12"/>
                    <a:pt x="1277" y="12"/>
                  </a:cubicBezTo>
                  <a:cubicBezTo>
                    <a:pt x="1277" y="0"/>
                    <a:pt x="1277" y="0"/>
                    <a:pt x="1277" y="0"/>
                  </a:cubicBezTo>
                  <a:cubicBezTo>
                    <a:pt x="12" y="0"/>
                    <a:pt x="12" y="0"/>
                    <a:pt x="12" y="0"/>
                  </a:cubicBezTo>
                  <a:cubicBezTo>
                    <a:pt x="9" y="0"/>
                    <a:pt x="6" y="1"/>
                    <a:pt x="4" y="4"/>
                  </a:cubicBezTo>
                  <a:cubicBezTo>
                    <a:pt x="1" y="6"/>
                    <a:pt x="0" y="9"/>
                    <a:pt x="0" y="12"/>
                  </a:cubicBezTo>
                  <a:cubicBezTo>
                    <a:pt x="0" y="104"/>
                    <a:pt x="0" y="104"/>
                    <a:pt x="0" y="104"/>
                  </a:cubicBezTo>
                  <a:cubicBezTo>
                    <a:pt x="0" y="129"/>
                    <a:pt x="10" y="151"/>
                    <a:pt x="26" y="168"/>
                  </a:cubicBezTo>
                  <a:cubicBezTo>
                    <a:pt x="43" y="184"/>
                    <a:pt x="65" y="194"/>
                    <a:pt x="90" y="194"/>
                  </a:cubicBezTo>
                  <a:cubicBezTo>
                    <a:pt x="1199" y="194"/>
                    <a:pt x="1199" y="194"/>
                    <a:pt x="1199" y="194"/>
                  </a:cubicBezTo>
                  <a:cubicBezTo>
                    <a:pt x="1224" y="194"/>
                    <a:pt x="1247" y="184"/>
                    <a:pt x="1263" y="168"/>
                  </a:cubicBezTo>
                  <a:cubicBezTo>
                    <a:pt x="1279" y="151"/>
                    <a:pt x="1289" y="129"/>
                    <a:pt x="1289" y="104"/>
                  </a:cubicBezTo>
                  <a:cubicBezTo>
                    <a:pt x="1289" y="12"/>
                    <a:pt x="1289" y="12"/>
                    <a:pt x="1289" y="12"/>
                  </a:cubicBezTo>
                  <a:cubicBezTo>
                    <a:pt x="1289" y="9"/>
                    <a:pt x="1288" y="6"/>
                    <a:pt x="1286" y="4"/>
                  </a:cubicBezTo>
                  <a:cubicBezTo>
                    <a:pt x="1283" y="1"/>
                    <a:pt x="1280" y="0"/>
                    <a:pt x="1277" y="0"/>
                  </a:cubicBezTo>
                  <a:cubicBezTo>
                    <a:pt x="1277" y="12"/>
                    <a:pt x="1277" y="12"/>
                    <a:pt x="1277" y="12"/>
                  </a:cubicBezTo>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Oval 98">
              <a:extLst>
                <a:ext uri="{FF2B5EF4-FFF2-40B4-BE49-F238E27FC236}">
                  <a16:creationId xmlns:a16="http://schemas.microsoft.com/office/drawing/2014/main" id="{F988158C-0356-44FF-BA6D-FB9D3CD74B64}"/>
                </a:ext>
              </a:extLst>
            </p:cNvPr>
            <p:cNvSpPr>
              <a:spLocks noChangeArrowheads="1"/>
            </p:cNvSpPr>
            <p:nvPr/>
          </p:nvSpPr>
          <p:spPr bwMode="auto">
            <a:xfrm>
              <a:off x="6035920" y="2722241"/>
              <a:ext cx="56596" cy="56596"/>
            </a:xfrm>
            <a:prstGeom prst="ellipse">
              <a:avLst/>
            </a:prstGeom>
            <a:solidFill>
              <a:srgbClr val="AFD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Rectangle 107">
              <a:extLst>
                <a:ext uri="{FF2B5EF4-FFF2-40B4-BE49-F238E27FC236}">
                  <a16:creationId xmlns:a16="http://schemas.microsoft.com/office/drawing/2014/main" id="{F02632B6-8F2C-4EA8-B770-3399A91E488F}"/>
                </a:ext>
              </a:extLst>
            </p:cNvPr>
            <p:cNvSpPr>
              <a:spLocks noChangeArrowheads="1"/>
            </p:cNvSpPr>
            <p:nvPr/>
          </p:nvSpPr>
          <p:spPr bwMode="auto">
            <a:xfrm>
              <a:off x="5856116" y="2932596"/>
              <a:ext cx="415702" cy="45577"/>
            </a:xfrm>
            <a:prstGeom prst="rect">
              <a:avLst/>
            </a:prstGeom>
            <a:solidFill>
              <a:srgbClr val="E4F3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108">
              <a:extLst>
                <a:ext uri="{FF2B5EF4-FFF2-40B4-BE49-F238E27FC236}">
                  <a16:creationId xmlns:a16="http://schemas.microsoft.com/office/drawing/2014/main" id="{FED9B4A5-F499-484A-B76E-5F34DBE56981}"/>
                </a:ext>
              </a:extLst>
            </p:cNvPr>
            <p:cNvSpPr>
              <a:spLocks/>
            </p:cNvSpPr>
            <p:nvPr/>
          </p:nvSpPr>
          <p:spPr bwMode="auto">
            <a:xfrm>
              <a:off x="5845098" y="2921578"/>
              <a:ext cx="438241" cy="67614"/>
            </a:xfrm>
            <a:custGeom>
              <a:avLst/>
              <a:gdLst>
                <a:gd name="T0" fmla="*/ 454 w 466"/>
                <a:gd name="T1" fmla="*/ 60 h 72"/>
                <a:gd name="T2" fmla="*/ 454 w 466"/>
                <a:gd name="T3" fmla="*/ 48 h 72"/>
                <a:gd name="T4" fmla="*/ 24 w 466"/>
                <a:gd name="T5" fmla="*/ 48 h 72"/>
                <a:gd name="T6" fmla="*/ 24 w 466"/>
                <a:gd name="T7" fmla="*/ 24 h 72"/>
                <a:gd name="T8" fmla="*/ 442 w 466"/>
                <a:gd name="T9" fmla="*/ 24 h 72"/>
                <a:gd name="T10" fmla="*/ 442 w 466"/>
                <a:gd name="T11" fmla="*/ 60 h 72"/>
                <a:gd name="T12" fmla="*/ 454 w 466"/>
                <a:gd name="T13" fmla="*/ 60 h 72"/>
                <a:gd name="T14" fmla="*/ 454 w 466"/>
                <a:gd name="T15" fmla="*/ 48 h 72"/>
                <a:gd name="T16" fmla="*/ 454 w 466"/>
                <a:gd name="T17" fmla="*/ 60 h 72"/>
                <a:gd name="T18" fmla="*/ 466 w 466"/>
                <a:gd name="T19" fmla="*/ 60 h 72"/>
                <a:gd name="T20" fmla="*/ 466 w 466"/>
                <a:gd name="T21" fmla="*/ 12 h 72"/>
                <a:gd name="T22" fmla="*/ 462 w 466"/>
                <a:gd name="T23" fmla="*/ 3 h 72"/>
                <a:gd name="T24" fmla="*/ 454 w 466"/>
                <a:gd name="T25" fmla="*/ 0 h 72"/>
                <a:gd name="T26" fmla="*/ 12 w 466"/>
                <a:gd name="T27" fmla="*/ 0 h 72"/>
                <a:gd name="T28" fmla="*/ 4 w 466"/>
                <a:gd name="T29" fmla="*/ 3 h 72"/>
                <a:gd name="T30" fmla="*/ 0 w 466"/>
                <a:gd name="T31" fmla="*/ 12 h 72"/>
                <a:gd name="T32" fmla="*/ 0 w 466"/>
                <a:gd name="T33" fmla="*/ 60 h 72"/>
                <a:gd name="T34" fmla="*/ 4 w 466"/>
                <a:gd name="T35" fmla="*/ 69 h 72"/>
                <a:gd name="T36" fmla="*/ 12 w 466"/>
                <a:gd name="T37" fmla="*/ 72 h 72"/>
                <a:gd name="T38" fmla="*/ 454 w 466"/>
                <a:gd name="T39" fmla="*/ 72 h 72"/>
                <a:gd name="T40" fmla="*/ 462 w 466"/>
                <a:gd name="T41" fmla="*/ 69 h 72"/>
                <a:gd name="T42" fmla="*/ 466 w 466"/>
                <a:gd name="T43" fmla="*/ 60 h 72"/>
                <a:gd name="T44" fmla="*/ 454 w 466"/>
                <a:gd name="T4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6" h="72">
                  <a:moveTo>
                    <a:pt x="454" y="60"/>
                  </a:moveTo>
                  <a:cubicBezTo>
                    <a:pt x="454" y="48"/>
                    <a:pt x="454" y="48"/>
                    <a:pt x="454" y="48"/>
                  </a:cubicBezTo>
                  <a:cubicBezTo>
                    <a:pt x="24" y="48"/>
                    <a:pt x="24" y="48"/>
                    <a:pt x="24" y="48"/>
                  </a:cubicBezTo>
                  <a:cubicBezTo>
                    <a:pt x="24" y="24"/>
                    <a:pt x="24" y="24"/>
                    <a:pt x="24" y="24"/>
                  </a:cubicBezTo>
                  <a:cubicBezTo>
                    <a:pt x="442" y="24"/>
                    <a:pt x="442" y="24"/>
                    <a:pt x="442" y="24"/>
                  </a:cubicBezTo>
                  <a:cubicBezTo>
                    <a:pt x="442" y="60"/>
                    <a:pt x="442" y="60"/>
                    <a:pt x="442" y="60"/>
                  </a:cubicBezTo>
                  <a:cubicBezTo>
                    <a:pt x="454" y="60"/>
                    <a:pt x="454" y="60"/>
                    <a:pt x="454" y="60"/>
                  </a:cubicBezTo>
                  <a:cubicBezTo>
                    <a:pt x="454" y="48"/>
                    <a:pt x="454" y="48"/>
                    <a:pt x="454" y="48"/>
                  </a:cubicBezTo>
                  <a:cubicBezTo>
                    <a:pt x="454" y="60"/>
                    <a:pt x="454" y="60"/>
                    <a:pt x="454" y="60"/>
                  </a:cubicBezTo>
                  <a:cubicBezTo>
                    <a:pt x="466" y="60"/>
                    <a:pt x="466" y="60"/>
                    <a:pt x="466" y="60"/>
                  </a:cubicBezTo>
                  <a:cubicBezTo>
                    <a:pt x="466" y="12"/>
                    <a:pt x="466" y="12"/>
                    <a:pt x="466" y="12"/>
                  </a:cubicBezTo>
                  <a:cubicBezTo>
                    <a:pt x="466" y="8"/>
                    <a:pt x="465" y="5"/>
                    <a:pt x="462" y="3"/>
                  </a:cubicBezTo>
                  <a:cubicBezTo>
                    <a:pt x="460" y="1"/>
                    <a:pt x="457" y="0"/>
                    <a:pt x="454" y="0"/>
                  </a:cubicBezTo>
                  <a:cubicBezTo>
                    <a:pt x="12" y="0"/>
                    <a:pt x="12" y="0"/>
                    <a:pt x="12" y="0"/>
                  </a:cubicBezTo>
                  <a:cubicBezTo>
                    <a:pt x="9" y="0"/>
                    <a:pt x="6" y="1"/>
                    <a:pt x="4" y="3"/>
                  </a:cubicBezTo>
                  <a:cubicBezTo>
                    <a:pt x="2" y="5"/>
                    <a:pt x="0" y="8"/>
                    <a:pt x="0" y="12"/>
                  </a:cubicBezTo>
                  <a:cubicBezTo>
                    <a:pt x="0" y="60"/>
                    <a:pt x="0" y="60"/>
                    <a:pt x="0" y="60"/>
                  </a:cubicBezTo>
                  <a:cubicBezTo>
                    <a:pt x="0" y="64"/>
                    <a:pt x="2" y="67"/>
                    <a:pt x="4" y="69"/>
                  </a:cubicBezTo>
                  <a:cubicBezTo>
                    <a:pt x="6" y="71"/>
                    <a:pt x="9" y="72"/>
                    <a:pt x="12" y="72"/>
                  </a:cubicBezTo>
                  <a:cubicBezTo>
                    <a:pt x="454" y="72"/>
                    <a:pt x="454" y="72"/>
                    <a:pt x="454" y="72"/>
                  </a:cubicBezTo>
                  <a:cubicBezTo>
                    <a:pt x="457" y="72"/>
                    <a:pt x="460" y="71"/>
                    <a:pt x="462" y="69"/>
                  </a:cubicBezTo>
                  <a:cubicBezTo>
                    <a:pt x="465" y="67"/>
                    <a:pt x="466" y="64"/>
                    <a:pt x="466" y="60"/>
                  </a:cubicBezTo>
                  <a:lnTo>
                    <a:pt x="454" y="60"/>
                  </a:lnTo>
                  <a:close/>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109">
              <a:extLst>
                <a:ext uri="{FF2B5EF4-FFF2-40B4-BE49-F238E27FC236}">
                  <a16:creationId xmlns:a16="http://schemas.microsoft.com/office/drawing/2014/main" id="{D52D3A63-55DB-4421-BDC7-DC7641095C15}"/>
                </a:ext>
              </a:extLst>
            </p:cNvPr>
            <p:cNvSpPr>
              <a:spLocks/>
            </p:cNvSpPr>
            <p:nvPr/>
          </p:nvSpPr>
          <p:spPr bwMode="auto">
            <a:xfrm>
              <a:off x="6356462" y="2703209"/>
              <a:ext cx="458274" cy="520880"/>
            </a:xfrm>
            <a:custGeom>
              <a:avLst/>
              <a:gdLst>
                <a:gd name="T0" fmla="*/ 382 w 487"/>
                <a:gd name="T1" fmla="*/ 0 h 554"/>
                <a:gd name="T2" fmla="*/ 210 w 487"/>
                <a:gd name="T3" fmla="*/ 301 h 554"/>
                <a:gd name="T4" fmla="*/ 0 w 487"/>
                <a:gd name="T5" fmla="*/ 456 h 554"/>
                <a:gd name="T6" fmla="*/ 48 w 487"/>
                <a:gd name="T7" fmla="*/ 554 h 554"/>
                <a:gd name="T8" fmla="*/ 50 w 487"/>
                <a:gd name="T9" fmla="*/ 553 h 554"/>
                <a:gd name="T10" fmla="*/ 486 w 487"/>
                <a:gd name="T11" fmla="*/ 32 h 554"/>
                <a:gd name="T12" fmla="*/ 487 w 487"/>
                <a:gd name="T13" fmla="*/ 30 h 554"/>
                <a:gd name="T14" fmla="*/ 382 w 487"/>
                <a:gd name="T15" fmla="*/ 0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554">
                  <a:moveTo>
                    <a:pt x="382" y="0"/>
                  </a:moveTo>
                  <a:cubicBezTo>
                    <a:pt x="349" y="114"/>
                    <a:pt x="289" y="217"/>
                    <a:pt x="210" y="301"/>
                  </a:cubicBezTo>
                  <a:cubicBezTo>
                    <a:pt x="150" y="364"/>
                    <a:pt x="79" y="417"/>
                    <a:pt x="0" y="456"/>
                  </a:cubicBezTo>
                  <a:cubicBezTo>
                    <a:pt x="11" y="491"/>
                    <a:pt x="27" y="524"/>
                    <a:pt x="48" y="554"/>
                  </a:cubicBezTo>
                  <a:cubicBezTo>
                    <a:pt x="49" y="554"/>
                    <a:pt x="50" y="553"/>
                    <a:pt x="50" y="553"/>
                  </a:cubicBezTo>
                  <a:cubicBezTo>
                    <a:pt x="260" y="449"/>
                    <a:pt x="420" y="261"/>
                    <a:pt x="486" y="32"/>
                  </a:cubicBezTo>
                  <a:cubicBezTo>
                    <a:pt x="487" y="32"/>
                    <a:pt x="487" y="31"/>
                    <a:pt x="487" y="30"/>
                  </a:cubicBezTo>
                  <a:cubicBezTo>
                    <a:pt x="454" y="15"/>
                    <a:pt x="419" y="4"/>
                    <a:pt x="382" y="0"/>
                  </a:cubicBezTo>
                </a:path>
              </a:pathLst>
            </a:custGeom>
            <a:solidFill>
              <a:srgbClr val="CFE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110">
              <a:extLst>
                <a:ext uri="{FF2B5EF4-FFF2-40B4-BE49-F238E27FC236}">
                  <a16:creationId xmlns:a16="http://schemas.microsoft.com/office/drawing/2014/main" id="{2914CFFF-08D5-4594-8B1B-46460A2E9763}"/>
                </a:ext>
              </a:extLst>
            </p:cNvPr>
            <p:cNvSpPr>
              <a:spLocks/>
            </p:cNvSpPr>
            <p:nvPr/>
          </p:nvSpPr>
          <p:spPr bwMode="auto">
            <a:xfrm>
              <a:off x="6402039" y="2731757"/>
              <a:ext cx="423215" cy="501848"/>
            </a:xfrm>
            <a:custGeom>
              <a:avLst/>
              <a:gdLst>
                <a:gd name="T0" fmla="*/ 439 w 450"/>
                <a:gd name="T1" fmla="*/ 0 h 534"/>
                <a:gd name="T2" fmla="*/ 438 w 450"/>
                <a:gd name="T3" fmla="*/ 2 h 534"/>
                <a:gd name="T4" fmla="*/ 2 w 450"/>
                <a:gd name="T5" fmla="*/ 523 h 534"/>
                <a:gd name="T6" fmla="*/ 0 w 450"/>
                <a:gd name="T7" fmla="*/ 524 h 534"/>
                <a:gd name="T8" fmla="*/ 8 w 450"/>
                <a:gd name="T9" fmla="*/ 534 h 534"/>
                <a:gd name="T10" fmla="*/ 450 w 450"/>
                <a:gd name="T11" fmla="*/ 6 h 534"/>
                <a:gd name="T12" fmla="*/ 439 w 450"/>
                <a:gd name="T13" fmla="*/ 0 h 534"/>
              </a:gdLst>
              <a:ahLst/>
              <a:cxnLst>
                <a:cxn ang="0">
                  <a:pos x="T0" y="T1"/>
                </a:cxn>
                <a:cxn ang="0">
                  <a:pos x="T2" y="T3"/>
                </a:cxn>
                <a:cxn ang="0">
                  <a:pos x="T4" y="T5"/>
                </a:cxn>
                <a:cxn ang="0">
                  <a:pos x="T6" y="T7"/>
                </a:cxn>
                <a:cxn ang="0">
                  <a:pos x="T8" y="T9"/>
                </a:cxn>
                <a:cxn ang="0">
                  <a:pos x="T10" y="T11"/>
                </a:cxn>
                <a:cxn ang="0">
                  <a:pos x="T12" y="T13"/>
                </a:cxn>
              </a:cxnLst>
              <a:rect l="0" t="0" r="r" b="b"/>
              <a:pathLst>
                <a:path w="450" h="534">
                  <a:moveTo>
                    <a:pt x="439" y="0"/>
                  </a:moveTo>
                  <a:cubicBezTo>
                    <a:pt x="439" y="1"/>
                    <a:pt x="439" y="2"/>
                    <a:pt x="438" y="2"/>
                  </a:cubicBezTo>
                  <a:cubicBezTo>
                    <a:pt x="372" y="231"/>
                    <a:pt x="212" y="419"/>
                    <a:pt x="2" y="523"/>
                  </a:cubicBezTo>
                  <a:cubicBezTo>
                    <a:pt x="2" y="523"/>
                    <a:pt x="1" y="524"/>
                    <a:pt x="0" y="524"/>
                  </a:cubicBezTo>
                  <a:cubicBezTo>
                    <a:pt x="3" y="527"/>
                    <a:pt x="5" y="531"/>
                    <a:pt x="8" y="534"/>
                  </a:cubicBezTo>
                  <a:cubicBezTo>
                    <a:pt x="220" y="428"/>
                    <a:pt x="383" y="237"/>
                    <a:pt x="450" y="6"/>
                  </a:cubicBezTo>
                  <a:cubicBezTo>
                    <a:pt x="446" y="4"/>
                    <a:pt x="443" y="2"/>
                    <a:pt x="439" y="0"/>
                  </a:cubicBezTo>
                </a:path>
              </a:pathLst>
            </a:custGeom>
            <a:solidFill>
              <a:srgbClr val="6FB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111">
              <a:extLst>
                <a:ext uri="{FF2B5EF4-FFF2-40B4-BE49-F238E27FC236}">
                  <a16:creationId xmlns:a16="http://schemas.microsoft.com/office/drawing/2014/main" id="{E982EB24-631F-4DE7-ACB7-9C50A240F946}"/>
                </a:ext>
              </a:extLst>
            </p:cNvPr>
            <p:cNvSpPr>
              <a:spLocks/>
            </p:cNvSpPr>
            <p:nvPr/>
          </p:nvSpPr>
          <p:spPr bwMode="auto">
            <a:xfrm>
              <a:off x="6347447" y="2700705"/>
              <a:ext cx="346085" cy="265949"/>
            </a:xfrm>
            <a:custGeom>
              <a:avLst/>
              <a:gdLst>
                <a:gd name="T0" fmla="*/ 347 w 368"/>
                <a:gd name="T1" fmla="*/ 0 h 283"/>
                <a:gd name="T2" fmla="*/ 329 w 368"/>
                <a:gd name="T3" fmla="*/ 0 h 283"/>
                <a:gd name="T4" fmla="*/ 329 w 368"/>
                <a:gd name="T5" fmla="*/ 60 h 283"/>
                <a:gd name="T6" fmla="*/ 329 w 368"/>
                <a:gd name="T7" fmla="*/ 60 h 283"/>
                <a:gd name="T8" fmla="*/ 303 w 368"/>
                <a:gd name="T9" fmla="*/ 124 h 283"/>
                <a:gd name="T10" fmla="*/ 239 w 368"/>
                <a:gd name="T11" fmla="*/ 150 h 283"/>
                <a:gd name="T12" fmla="*/ 58 w 368"/>
                <a:gd name="T13" fmla="*/ 150 h 283"/>
                <a:gd name="T14" fmla="*/ 0 w 368"/>
                <a:gd name="T15" fmla="*/ 283 h 283"/>
                <a:gd name="T16" fmla="*/ 206 w 368"/>
                <a:gd name="T17" fmla="*/ 283 h 283"/>
                <a:gd name="T18" fmla="*/ 368 w 368"/>
                <a:gd name="T19" fmla="*/ 0 h 283"/>
                <a:gd name="T20" fmla="*/ 347 w 368"/>
                <a:gd name="T21"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283">
                  <a:moveTo>
                    <a:pt x="347" y="0"/>
                  </a:moveTo>
                  <a:cubicBezTo>
                    <a:pt x="341" y="0"/>
                    <a:pt x="335" y="0"/>
                    <a:pt x="329" y="0"/>
                  </a:cubicBezTo>
                  <a:cubicBezTo>
                    <a:pt x="329" y="60"/>
                    <a:pt x="329" y="60"/>
                    <a:pt x="329" y="60"/>
                  </a:cubicBezTo>
                  <a:cubicBezTo>
                    <a:pt x="329" y="60"/>
                    <a:pt x="329" y="60"/>
                    <a:pt x="329" y="60"/>
                  </a:cubicBezTo>
                  <a:cubicBezTo>
                    <a:pt x="329" y="85"/>
                    <a:pt x="319" y="107"/>
                    <a:pt x="303" y="124"/>
                  </a:cubicBezTo>
                  <a:cubicBezTo>
                    <a:pt x="287" y="140"/>
                    <a:pt x="264" y="150"/>
                    <a:pt x="239" y="150"/>
                  </a:cubicBezTo>
                  <a:cubicBezTo>
                    <a:pt x="58" y="150"/>
                    <a:pt x="58" y="150"/>
                    <a:pt x="58" y="150"/>
                  </a:cubicBezTo>
                  <a:cubicBezTo>
                    <a:pt x="30" y="189"/>
                    <a:pt x="10" y="235"/>
                    <a:pt x="0" y="283"/>
                  </a:cubicBezTo>
                  <a:cubicBezTo>
                    <a:pt x="206" y="283"/>
                    <a:pt x="206" y="283"/>
                    <a:pt x="206" y="283"/>
                  </a:cubicBezTo>
                  <a:cubicBezTo>
                    <a:pt x="280" y="204"/>
                    <a:pt x="336" y="107"/>
                    <a:pt x="368" y="0"/>
                  </a:cubicBezTo>
                  <a:cubicBezTo>
                    <a:pt x="361" y="0"/>
                    <a:pt x="354" y="0"/>
                    <a:pt x="347" y="0"/>
                  </a:cubicBezTo>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112">
              <a:extLst>
                <a:ext uri="{FF2B5EF4-FFF2-40B4-BE49-F238E27FC236}">
                  <a16:creationId xmlns:a16="http://schemas.microsoft.com/office/drawing/2014/main" id="{65F2D363-DF35-4385-9EC0-54E381F079F1}"/>
                </a:ext>
              </a:extLst>
            </p:cNvPr>
            <p:cNvSpPr>
              <a:spLocks/>
            </p:cNvSpPr>
            <p:nvPr/>
          </p:nvSpPr>
          <p:spPr bwMode="auto">
            <a:xfrm>
              <a:off x="6356462" y="2700705"/>
              <a:ext cx="359608" cy="431229"/>
            </a:xfrm>
            <a:custGeom>
              <a:avLst/>
              <a:gdLst>
                <a:gd name="T0" fmla="*/ 358 w 382"/>
                <a:gd name="T1" fmla="*/ 0 h 459"/>
                <a:gd name="T2" fmla="*/ 196 w 382"/>
                <a:gd name="T3" fmla="*/ 283 h 459"/>
                <a:gd name="T4" fmla="*/ 201 w 382"/>
                <a:gd name="T5" fmla="*/ 283 h 459"/>
                <a:gd name="T6" fmla="*/ 212 w 382"/>
                <a:gd name="T7" fmla="*/ 291 h 459"/>
                <a:gd name="T8" fmla="*/ 210 w 382"/>
                <a:gd name="T9" fmla="*/ 304 h 459"/>
                <a:gd name="T10" fmla="*/ 0 w 382"/>
                <a:gd name="T11" fmla="*/ 459 h 459"/>
                <a:gd name="T12" fmla="*/ 0 w 382"/>
                <a:gd name="T13" fmla="*/ 459 h 459"/>
                <a:gd name="T14" fmla="*/ 210 w 382"/>
                <a:gd name="T15" fmla="*/ 304 h 459"/>
                <a:gd name="T16" fmla="*/ 382 w 382"/>
                <a:gd name="T17" fmla="*/ 3 h 459"/>
                <a:gd name="T18" fmla="*/ 358 w 382"/>
                <a:gd name="T19"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459">
                  <a:moveTo>
                    <a:pt x="358" y="0"/>
                  </a:moveTo>
                  <a:cubicBezTo>
                    <a:pt x="326" y="107"/>
                    <a:pt x="270" y="204"/>
                    <a:pt x="196" y="283"/>
                  </a:cubicBezTo>
                  <a:cubicBezTo>
                    <a:pt x="201" y="283"/>
                    <a:pt x="201" y="283"/>
                    <a:pt x="201" y="283"/>
                  </a:cubicBezTo>
                  <a:cubicBezTo>
                    <a:pt x="206" y="283"/>
                    <a:pt x="211" y="286"/>
                    <a:pt x="212" y="291"/>
                  </a:cubicBezTo>
                  <a:cubicBezTo>
                    <a:pt x="214" y="295"/>
                    <a:pt x="213" y="300"/>
                    <a:pt x="210" y="304"/>
                  </a:cubicBezTo>
                  <a:cubicBezTo>
                    <a:pt x="150" y="367"/>
                    <a:pt x="79" y="420"/>
                    <a:pt x="0" y="459"/>
                  </a:cubicBezTo>
                  <a:cubicBezTo>
                    <a:pt x="0" y="459"/>
                    <a:pt x="0" y="459"/>
                    <a:pt x="0" y="459"/>
                  </a:cubicBezTo>
                  <a:cubicBezTo>
                    <a:pt x="79" y="420"/>
                    <a:pt x="150" y="367"/>
                    <a:pt x="210" y="304"/>
                  </a:cubicBezTo>
                  <a:cubicBezTo>
                    <a:pt x="289" y="220"/>
                    <a:pt x="349" y="117"/>
                    <a:pt x="382" y="3"/>
                  </a:cubicBezTo>
                  <a:cubicBezTo>
                    <a:pt x="374" y="2"/>
                    <a:pt x="366" y="1"/>
                    <a:pt x="358" y="0"/>
                  </a:cubicBezTo>
                </a:path>
              </a:pathLst>
            </a:custGeom>
            <a:solidFill>
              <a:srgbClr val="6FB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113">
              <a:extLst>
                <a:ext uri="{FF2B5EF4-FFF2-40B4-BE49-F238E27FC236}">
                  <a16:creationId xmlns:a16="http://schemas.microsoft.com/office/drawing/2014/main" id="{05C0D1F9-B600-43D5-8FE7-3F7803260785}"/>
                </a:ext>
              </a:extLst>
            </p:cNvPr>
            <p:cNvSpPr>
              <a:spLocks/>
            </p:cNvSpPr>
            <p:nvPr/>
          </p:nvSpPr>
          <p:spPr bwMode="auto">
            <a:xfrm>
              <a:off x="6341436" y="2989192"/>
              <a:ext cx="177801" cy="121205"/>
            </a:xfrm>
            <a:custGeom>
              <a:avLst/>
              <a:gdLst>
                <a:gd name="T0" fmla="*/ 189 w 189"/>
                <a:gd name="T1" fmla="*/ 0 h 129"/>
                <a:gd name="T2" fmla="*/ 2 w 189"/>
                <a:gd name="T3" fmla="*/ 0 h 129"/>
                <a:gd name="T4" fmla="*/ 0 w 189"/>
                <a:gd name="T5" fmla="*/ 46 h 129"/>
                <a:gd name="T6" fmla="*/ 9 w 189"/>
                <a:gd name="T7" fmla="*/ 129 h 129"/>
                <a:gd name="T8" fmla="*/ 189 w 189"/>
                <a:gd name="T9" fmla="*/ 0 h 129"/>
              </a:gdLst>
              <a:ahLst/>
              <a:cxnLst>
                <a:cxn ang="0">
                  <a:pos x="T0" y="T1"/>
                </a:cxn>
                <a:cxn ang="0">
                  <a:pos x="T2" y="T3"/>
                </a:cxn>
                <a:cxn ang="0">
                  <a:pos x="T4" y="T5"/>
                </a:cxn>
                <a:cxn ang="0">
                  <a:pos x="T6" y="T7"/>
                </a:cxn>
                <a:cxn ang="0">
                  <a:pos x="T8" y="T9"/>
                </a:cxn>
              </a:cxnLst>
              <a:rect l="0" t="0" r="r" b="b"/>
              <a:pathLst>
                <a:path w="189" h="129">
                  <a:moveTo>
                    <a:pt x="189" y="0"/>
                  </a:moveTo>
                  <a:cubicBezTo>
                    <a:pt x="2" y="0"/>
                    <a:pt x="2" y="0"/>
                    <a:pt x="2" y="0"/>
                  </a:cubicBezTo>
                  <a:cubicBezTo>
                    <a:pt x="1" y="15"/>
                    <a:pt x="0" y="31"/>
                    <a:pt x="0" y="46"/>
                  </a:cubicBezTo>
                  <a:cubicBezTo>
                    <a:pt x="0" y="75"/>
                    <a:pt x="3" y="102"/>
                    <a:pt x="9" y="129"/>
                  </a:cubicBezTo>
                  <a:cubicBezTo>
                    <a:pt x="76" y="95"/>
                    <a:pt x="136" y="52"/>
                    <a:pt x="189" y="0"/>
                  </a:cubicBezTo>
                </a:path>
              </a:pathLst>
            </a:custGeom>
            <a:solidFill>
              <a:srgbClr val="9F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114">
              <a:extLst>
                <a:ext uri="{FF2B5EF4-FFF2-40B4-BE49-F238E27FC236}">
                  <a16:creationId xmlns:a16="http://schemas.microsoft.com/office/drawing/2014/main" id="{2773C1E1-A16F-41D9-87E8-CB1EF426516F}"/>
                </a:ext>
              </a:extLst>
            </p:cNvPr>
            <p:cNvSpPr>
              <a:spLocks noEditPoints="1"/>
            </p:cNvSpPr>
            <p:nvPr/>
          </p:nvSpPr>
          <p:spPr bwMode="auto">
            <a:xfrm>
              <a:off x="6343440" y="2966654"/>
              <a:ext cx="214362" cy="165279"/>
            </a:xfrm>
            <a:custGeom>
              <a:avLst/>
              <a:gdLst>
                <a:gd name="T0" fmla="*/ 215 w 228"/>
                <a:gd name="T1" fmla="*/ 12 h 176"/>
                <a:gd name="T2" fmla="*/ 207 w 228"/>
                <a:gd name="T3" fmla="*/ 4 h 176"/>
                <a:gd name="T4" fmla="*/ 215 w 228"/>
                <a:gd name="T5" fmla="*/ 12 h 176"/>
                <a:gd name="T6" fmla="*/ 215 w 228"/>
                <a:gd name="T7" fmla="*/ 0 h 176"/>
                <a:gd name="T8" fmla="*/ 215 w 228"/>
                <a:gd name="T9" fmla="*/ 0 h 176"/>
                <a:gd name="T10" fmla="*/ 210 w 228"/>
                <a:gd name="T11" fmla="*/ 0 h 176"/>
                <a:gd name="T12" fmla="*/ 4 w 228"/>
                <a:gd name="T13" fmla="*/ 0 h 176"/>
                <a:gd name="T14" fmla="*/ 0 w 228"/>
                <a:gd name="T15" fmla="*/ 24 h 176"/>
                <a:gd name="T16" fmla="*/ 187 w 228"/>
                <a:gd name="T17" fmla="*/ 24 h 176"/>
                <a:gd name="T18" fmla="*/ 7 w 228"/>
                <a:gd name="T19" fmla="*/ 153 h 176"/>
                <a:gd name="T20" fmla="*/ 14 w 228"/>
                <a:gd name="T21" fmla="*/ 176 h 176"/>
                <a:gd name="T22" fmla="*/ 224 w 228"/>
                <a:gd name="T23" fmla="*/ 21 h 176"/>
                <a:gd name="T24" fmla="*/ 226 w 228"/>
                <a:gd name="T25" fmla="*/ 8 h 176"/>
                <a:gd name="T26" fmla="*/ 215 w 228"/>
                <a:gd name="T2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176">
                  <a:moveTo>
                    <a:pt x="215" y="12"/>
                  </a:moveTo>
                  <a:cubicBezTo>
                    <a:pt x="207" y="4"/>
                    <a:pt x="207" y="4"/>
                    <a:pt x="207" y="4"/>
                  </a:cubicBezTo>
                  <a:cubicBezTo>
                    <a:pt x="215" y="12"/>
                    <a:pt x="215" y="12"/>
                    <a:pt x="215" y="12"/>
                  </a:cubicBezTo>
                  <a:moveTo>
                    <a:pt x="215" y="0"/>
                  </a:moveTo>
                  <a:cubicBezTo>
                    <a:pt x="215" y="0"/>
                    <a:pt x="215" y="0"/>
                    <a:pt x="215" y="0"/>
                  </a:cubicBezTo>
                  <a:cubicBezTo>
                    <a:pt x="210" y="0"/>
                    <a:pt x="210" y="0"/>
                    <a:pt x="210" y="0"/>
                  </a:cubicBezTo>
                  <a:cubicBezTo>
                    <a:pt x="4" y="0"/>
                    <a:pt x="4" y="0"/>
                    <a:pt x="4" y="0"/>
                  </a:cubicBezTo>
                  <a:cubicBezTo>
                    <a:pt x="3" y="8"/>
                    <a:pt x="2" y="16"/>
                    <a:pt x="0" y="24"/>
                  </a:cubicBezTo>
                  <a:cubicBezTo>
                    <a:pt x="187" y="24"/>
                    <a:pt x="187" y="24"/>
                    <a:pt x="187" y="24"/>
                  </a:cubicBezTo>
                  <a:cubicBezTo>
                    <a:pt x="134" y="76"/>
                    <a:pt x="74" y="119"/>
                    <a:pt x="7" y="153"/>
                  </a:cubicBezTo>
                  <a:cubicBezTo>
                    <a:pt x="9" y="161"/>
                    <a:pt x="11" y="168"/>
                    <a:pt x="14" y="176"/>
                  </a:cubicBezTo>
                  <a:cubicBezTo>
                    <a:pt x="93" y="137"/>
                    <a:pt x="164" y="84"/>
                    <a:pt x="224" y="21"/>
                  </a:cubicBezTo>
                  <a:cubicBezTo>
                    <a:pt x="227" y="17"/>
                    <a:pt x="228" y="12"/>
                    <a:pt x="226" y="8"/>
                  </a:cubicBezTo>
                  <a:cubicBezTo>
                    <a:pt x="225" y="3"/>
                    <a:pt x="220" y="0"/>
                    <a:pt x="215" y="0"/>
                  </a:cubicBezTo>
                </a:path>
              </a:pathLst>
            </a:custGeom>
            <a:solidFill>
              <a:srgbClr val="6FB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115">
              <a:extLst>
                <a:ext uri="{FF2B5EF4-FFF2-40B4-BE49-F238E27FC236}">
                  <a16:creationId xmlns:a16="http://schemas.microsoft.com/office/drawing/2014/main" id="{FD9EE5EA-7BD5-4550-8FC4-559B83090AA2}"/>
                </a:ext>
              </a:extLst>
            </p:cNvPr>
            <p:cNvSpPr>
              <a:spLocks/>
            </p:cNvSpPr>
            <p:nvPr/>
          </p:nvSpPr>
          <p:spPr bwMode="auto">
            <a:xfrm>
              <a:off x="6418567" y="2702708"/>
              <a:ext cx="215865" cy="116196"/>
            </a:xfrm>
            <a:custGeom>
              <a:avLst/>
              <a:gdLst>
                <a:gd name="T0" fmla="*/ 229 w 229"/>
                <a:gd name="T1" fmla="*/ 0 h 124"/>
                <a:gd name="T2" fmla="*/ 0 w 229"/>
                <a:gd name="T3" fmla="*/ 124 h 124"/>
                <a:gd name="T4" fmla="*/ 163 w 229"/>
                <a:gd name="T5" fmla="*/ 124 h 124"/>
                <a:gd name="T6" fmla="*/ 210 w 229"/>
                <a:gd name="T7" fmla="*/ 105 h 124"/>
                <a:gd name="T8" fmla="*/ 229 w 229"/>
                <a:gd name="T9" fmla="*/ 58 h 124"/>
                <a:gd name="T10" fmla="*/ 229 w 229"/>
                <a:gd name="T11" fmla="*/ 0 h 124"/>
              </a:gdLst>
              <a:ahLst/>
              <a:cxnLst>
                <a:cxn ang="0">
                  <a:pos x="T0" y="T1"/>
                </a:cxn>
                <a:cxn ang="0">
                  <a:pos x="T2" y="T3"/>
                </a:cxn>
                <a:cxn ang="0">
                  <a:pos x="T4" y="T5"/>
                </a:cxn>
                <a:cxn ang="0">
                  <a:pos x="T6" y="T7"/>
                </a:cxn>
                <a:cxn ang="0">
                  <a:pos x="T8" y="T9"/>
                </a:cxn>
                <a:cxn ang="0">
                  <a:pos x="T10" y="T11"/>
                </a:cxn>
              </a:cxnLst>
              <a:rect l="0" t="0" r="r" b="b"/>
              <a:pathLst>
                <a:path w="229" h="124">
                  <a:moveTo>
                    <a:pt x="229" y="0"/>
                  </a:moveTo>
                  <a:cubicBezTo>
                    <a:pt x="138" y="11"/>
                    <a:pt x="57" y="57"/>
                    <a:pt x="0" y="124"/>
                  </a:cubicBezTo>
                  <a:cubicBezTo>
                    <a:pt x="163" y="124"/>
                    <a:pt x="163" y="124"/>
                    <a:pt x="163" y="124"/>
                  </a:cubicBezTo>
                  <a:cubicBezTo>
                    <a:pt x="181" y="124"/>
                    <a:pt x="198" y="117"/>
                    <a:pt x="210" y="105"/>
                  </a:cubicBezTo>
                  <a:cubicBezTo>
                    <a:pt x="222" y="93"/>
                    <a:pt x="229" y="76"/>
                    <a:pt x="229" y="58"/>
                  </a:cubicBezTo>
                  <a:cubicBezTo>
                    <a:pt x="229" y="0"/>
                    <a:pt x="229" y="0"/>
                    <a:pt x="229" y="0"/>
                  </a:cubicBezTo>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116">
              <a:extLst>
                <a:ext uri="{FF2B5EF4-FFF2-40B4-BE49-F238E27FC236}">
                  <a16:creationId xmlns:a16="http://schemas.microsoft.com/office/drawing/2014/main" id="{1281CACF-A286-40B2-A5F0-E2DFEEF0F5E6}"/>
                </a:ext>
              </a:extLst>
            </p:cNvPr>
            <p:cNvSpPr>
              <a:spLocks/>
            </p:cNvSpPr>
            <p:nvPr/>
          </p:nvSpPr>
          <p:spPr bwMode="auto">
            <a:xfrm>
              <a:off x="6402039" y="2700705"/>
              <a:ext cx="254931" cy="140738"/>
            </a:xfrm>
            <a:custGeom>
              <a:avLst/>
              <a:gdLst>
                <a:gd name="T0" fmla="*/ 271 w 271"/>
                <a:gd name="T1" fmla="*/ 0 h 150"/>
                <a:gd name="T2" fmla="*/ 247 w 271"/>
                <a:gd name="T3" fmla="*/ 2 h 150"/>
                <a:gd name="T4" fmla="*/ 247 w 271"/>
                <a:gd name="T5" fmla="*/ 60 h 150"/>
                <a:gd name="T6" fmla="*/ 228 w 271"/>
                <a:gd name="T7" fmla="*/ 107 h 150"/>
                <a:gd name="T8" fmla="*/ 181 w 271"/>
                <a:gd name="T9" fmla="*/ 126 h 150"/>
                <a:gd name="T10" fmla="*/ 18 w 271"/>
                <a:gd name="T11" fmla="*/ 126 h 150"/>
                <a:gd name="T12" fmla="*/ 0 w 271"/>
                <a:gd name="T13" fmla="*/ 150 h 150"/>
                <a:gd name="T14" fmla="*/ 181 w 271"/>
                <a:gd name="T15" fmla="*/ 150 h 150"/>
                <a:gd name="T16" fmla="*/ 245 w 271"/>
                <a:gd name="T17" fmla="*/ 124 h 150"/>
                <a:gd name="T18" fmla="*/ 271 w 271"/>
                <a:gd name="T19" fmla="*/ 60 h 150"/>
                <a:gd name="T20" fmla="*/ 271 w 271"/>
                <a:gd name="T21" fmla="*/ 60 h 150"/>
                <a:gd name="T22" fmla="*/ 271 w 271"/>
                <a:gd name="T2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1" h="150">
                  <a:moveTo>
                    <a:pt x="271" y="0"/>
                  </a:moveTo>
                  <a:cubicBezTo>
                    <a:pt x="263" y="1"/>
                    <a:pt x="255" y="1"/>
                    <a:pt x="247" y="2"/>
                  </a:cubicBezTo>
                  <a:cubicBezTo>
                    <a:pt x="247" y="60"/>
                    <a:pt x="247" y="60"/>
                    <a:pt x="247" y="60"/>
                  </a:cubicBezTo>
                  <a:cubicBezTo>
                    <a:pt x="247" y="78"/>
                    <a:pt x="240" y="95"/>
                    <a:pt x="228" y="107"/>
                  </a:cubicBezTo>
                  <a:cubicBezTo>
                    <a:pt x="216" y="119"/>
                    <a:pt x="199" y="126"/>
                    <a:pt x="181" y="126"/>
                  </a:cubicBezTo>
                  <a:cubicBezTo>
                    <a:pt x="18" y="126"/>
                    <a:pt x="18" y="126"/>
                    <a:pt x="18" y="126"/>
                  </a:cubicBezTo>
                  <a:cubicBezTo>
                    <a:pt x="12" y="134"/>
                    <a:pt x="6" y="142"/>
                    <a:pt x="0" y="150"/>
                  </a:cubicBezTo>
                  <a:cubicBezTo>
                    <a:pt x="181" y="150"/>
                    <a:pt x="181" y="150"/>
                    <a:pt x="181" y="150"/>
                  </a:cubicBezTo>
                  <a:cubicBezTo>
                    <a:pt x="206" y="150"/>
                    <a:pt x="229" y="140"/>
                    <a:pt x="245" y="124"/>
                  </a:cubicBezTo>
                  <a:cubicBezTo>
                    <a:pt x="261" y="107"/>
                    <a:pt x="271" y="85"/>
                    <a:pt x="271" y="60"/>
                  </a:cubicBezTo>
                  <a:cubicBezTo>
                    <a:pt x="271" y="60"/>
                    <a:pt x="271" y="60"/>
                    <a:pt x="271" y="60"/>
                  </a:cubicBezTo>
                  <a:cubicBezTo>
                    <a:pt x="271" y="0"/>
                    <a:pt x="271" y="0"/>
                    <a:pt x="271" y="0"/>
                  </a:cubicBezTo>
                </a:path>
              </a:pathLst>
            </a:custGeom>
            <a:solidFill>
              <a:srgbClr val="6FB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Oval 117">
              <a:extLst>
                <a:ext uri="{FF2B5EF4-FFF2-40B4-BE49-F238E27FC236}">
                  <a16:creationId xmlns:a16="http://schemas.microsoft.com/office/drawing/2014/main" id="{94FCEC4C-8F13-4AD8-9C3E-312F846350E4}"/>
                </a:ext>
              </a:extLst>
            </p:cNvPr>
            <p:cNvSpPr>
              <a:spLocks noChangeArrowheads="1"/>
            </p:cNvSpPr>
            <p:nvPr/>
          </p:nvSpPr>
          <p:spPr bwMode="auto">
            <a:xfrm>
              <a:off x="6421572" y="2764312"/>
              <a:ext cx="537408" cy="5364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118">
              <a:extLst>
                <a:ext uri="{FF2B5EF4-FFF2-40B4-BE49-F238E27FC236}">
                  <a16:creationId xmlns:a16="http://schemas.microsoft.com/office/drawing/2014/main" id="{43F676ED-978F-445E-B38D-B646834AC50E}"/>
                </a:ext>
              </a:extLst>
            </p:cNvPr>
            <p:cNvSpPr>
              <a:spLocks/>
            </p:cNvSpPr>
            <p:nvPr/>
          </p:nvSpPr>
          <p:spPr bwMode="auto">
            <a:xfrm>
              <a:off x="6501707" y="2778837"/>
              <a:ext cx="440244" cy="521882"/>
            </a:xfrm>
            <a:custGeom>
              <a:avLst/>
              <a:gdLst>
                <a:gd name="T0" fmla="*/ 468 w 468"/>
                <a:gd name="T1" fmla="*/ 270 h 555"/>
                <a:gd name="T2" fmla="*/ 183 w 468"/>
                <a:gd name="T3" fmla="*/ 555 h 555"/>
                <a:gd name="T4" fmla="*/ 0 w 468"/>
                <a:gd name="T5" fmla="*/ 489 h 555"/>
                <a:gd name="T6" fmla="*/ 93 w 468"/>
                <a:gd name="T7" fmla="*/ 505 h 555"/>
                <a:gd name="T8" fmla="*/ 378 w 468"/>
                <a:gd name="T9" fmla="*/ 219 h 555"/>
                <a:gd name="T10" fmla="*/ 276 w 468"/>
                <a:gd name="T11" fmla="*/ 0 h 555"/>
                <a:gd name="T12" fmla="*/ 468 w 468"/>
                <a:gd name="T13" fmla="*/ 270 h 555"/>
              </a:gdLst>
              <a:ahLst/>
              <a:cxnLst>
                <a:cxn ang="0">
                  <a:pos x="T0" y="T1"/>
                </a:cxn>
                <a:cxn ang="0">
                  <a:pos x="T2" y="T3"/>
                </a:cxn>
                <a:cxn ang="0">
                  <a:pos x="T4" y="T5"/>
                </a:cxn>
                <a:cxn ang="0">
                  <a:pos x="T6" y="T7"/>
                </a:cxn>
                <a:cxn ang="0">
                  <a:pos x="T8" y="T9"/>
                </a:cxn>
                <a:cxn ang="0">
                  <a:pos x="T10" y="T11"/>
                </a:cxn>
                <a:cxn ang="0">
                  <a:pos x="T12" y="T13"/>
                </a:cxn>
              </a:cxnLst>
              <a:rect l="0" t="0" r="r" b="b"/>
              <a:pathLst>
                <a:path w="468" h="555">
                  <a:moveTo>
                    <a:pt x="468" y="270"/>
                  </a:moveTo>
                  <a:cubicBezTo>
                    <a:pt x="468" y="428"/>
                    <a:pt x="340" y="555"/>
                    <a:pt x="183" y="555"/>
                  </a:cubicBezTo>
                  <a:cubicBezTo>
                    <a:pt x="113" y="555"/>
                    <a:pt x="49" y="531"/>
                    <a:pt x="0" y="489"/>
                  </a:cubicBezTo>
                  <a:cubicBezTo>
                    <a:pt x="29" y="499"/>
                    <a:pt x="60" y="505"/>
                    <a:pt x="93" y="505"/>
                  </a:cubicBezTo>
                  <a:cubicBezTo>
                    <a:pt x="250" y="505"/>
                    <a:pt x="378" y="377"/>
                    <a:pt x="378" y="219"/>
                  </a:cubicBezTo>
                  <a:cubicBezTo>
                    <a:pt x="378" y="131"/>
                    <a:pt x="338" y="53"/>
                    <a:pt x="276" y="0"/>
                  </a:cubicBezTo>
                  <a:cubicBezTo>
                    <a:pt x="388" y="39"/>
                    <a:pt x="468" y="145"/>
                    <a:pt x="468" y="270"/>
                  </a:cubicBezTo>
                  <a:close/>
                </a:path>
              </a:pathLst>
            </a:custGeom>
            <a:solidFill>
              <a:srgbClr val="D1E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119">
              <a:extLst>
                <a:ext uri="{FF2B5EF4-FFF2-40B4-BE49-F238E27FC236}">
                  <a16:creationId xmlns:a16="http://schemas.microsoft.com/office/drawing/2014/main" id="{991B6A65-514F-4350-AF10-ED9FCC8D3ACE}"/>
                </a:ext>
              </a:extLst>
            </p:cNvPr>
            <p:cNvSpPr>
              <a:spLocks/>
            </p:cNvSpPr>
            <p:nvPr/>
          </p:nvSpPr>
          <p:spPr bwMode="auto">
            <a:xfrm>
              <a:off x="6393524" y="2753294"/>
              <a:ext cx="559445" cy="558444"/>
            </a:xfrm>
            <a:custGeom>
              <a:avLst/>
              <a:gdLst>
                <a:gd name="T0" fmla="*/ 583 w 595"/>
                <a:gd name="T1" fmla="*/ 297 h 594"/>
                <a:gd name="T2" fmla="*/ 571 w 595"/>
                <a:gd name="T3" fmla="*/ 297 h 594"/>
                <a:gd name="T4" fmla="*/ 491 w 595"/>
                <a:gd name="T5" fmla="*/ 490 h 594"/>
                <a:gd name="T6" fmla="*/ 298 w 595"/>
                <a:gd name="T7" fmla="*/ 570 h 594"/>
                <a:gd name="T8" fmla="*/ 105 w 595"/>
                <a:gd name="T9" fmla="*/ 490 h 594"/>
                <a:gd name="T10" fmla="*/ 24 w 595"/>
                <a:gd name="T11" fmla="*/ 297 h 594"/>
                <a:gd name="T12" fmla="*/ 105 w 595"/>
                <a:gd name="T13" fmla="*/ 104 h 594"/>
                <a:gd name="T14" fmla="*/ 298 w 595"/>
                <a:gd name="T15" fmla="*/ 24 h 594"/>
                <a:gd name="T16" fmla="*/ 491 w 595"/>
                <a:gd name="T17" fmla="*/ 104 h 594"/>
                <a:gd name="T18" fmla="*/ 571 w 595"/>
                <a:gd name="T19" fmla="*/ 297 h 594"/>
                <a:gd name="T20" fmla="*/ 583 w 595"/>
                <a:gd name="T21" fmla="*/ 297 h 594"/>
                <a:gd name="T22" fmla="*/ 595 w 595"/>
                <a:gd name="T23" fmla="*/ 297 h 594"/>
                <a:gd name="T24" fmla="*/ 508 w 595"/>
                <a:gd name="T25" fmla="*/ 87 h 594"/>
                <a:gd name="T26" fmla="*/ 298 w 595"/>
                <a:gd name="T27" fmla="*/ 0 h 594"/>
                <a:gd name="T28" fmla="*/ 88 w 595"/>
                <a:gd name="T29" fmla="*/ 87 h 594"/>
                <a:gd name="T30" fmla="*/ 0 w 595"/>
                <a:gd name="T31" fmla="*/ 297 h 594"/>
                <a:gd name="T32" fmla="*/ 88 w 595"/>
                <a:gd name="T33" fmla="*/ 507 h 594"/>
                <a:gd name="T34" fmla="*/ 298 w 595"/>
                <a:gd name="T35" fmla="*/ 594 h 594"/>
                <a:gd name="T36" fmla="*/ 508 w 595"/>
                <a:gd name="T37" fmla="*/ 507 h 594"/>
                <a:gd name="T38" fmla="*/ 595 w 595"/>
                <a:gd name="T39" fmla="*/ 297 h 594"/>
                <a:gd name="T40" fmla="*/ 583 w 595"/>
                <a:gd name="T41" fmla="*/ 297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5" h="594">
                  <a:moveTo>
                    <a:pt x="583" y="297"/>
                  </a:moveTo>
                  <a:cubicBezTo>
                    <a:pt x="571" y="297"/>
                    <a:pt x="571" y="297"/>
                    <a:pt x="571" y="297"/>
                  </a:cubicBezTo>
                  <a:cubicBezTo>
                    <a:pt x="571" y="373"/>
                    <a:pt x="541" y="441"/>
                    <a:pt x="491" y="490"/>
                  </a:cubicBezTo>
                  <a:cubicBezTo>
                    <a:pt x="442" y="540"/>
                    <a:pt x="373" y="570"/>
                    <a:pt x="298" y="570"/>
                  </a:cubicBezTo>
                  <a:cubicBezTo>
                    <a:pt x="222" y="570"/>
                    <a:pt x="154" y="540"/>
                    <a:pt x="105" y="490"/>
                  </a:cubicBezTo>
                  <a:cubicBezTo>
                    <a:pt x="55" y="441"/>
                    <a:pt x="24" y="373"/>
                    <a:pt x="24" y="297"/>
                  </a:cubicBezTo>
                  <a:cubicBezTo>
                    <a:pt x="24" y="222"/>
                    <a:pt x="55" y="153"/>
                    <a:pt x="105" y="104"/>
                  </a:cubicBezTo>
                  <a:cubicBezTo>
                    <a:pt x="154" y="54"/>
                    <a:pt x="222" y="24"/>
                    <a:pt x="298" y="24"/>
                  </a:cubicBezTo>
                  <a:cubicBezTo>
                    <a:pt x="373" y="24"/>
                    <a:pt x="442" y="54"/>
                    <a:pt x="491" y="104"/>
                  </a:cubicBezTo>
                  <a:cubicBezTo>
                    <a:pt x="541" y="153"/>
                    <a:pt x="571" y="222"/>
                    <a:pt x="571" y="297"/>
                  </a:cubicBezTo>
                  <a:cubicBezTo>
                    <a:pt x="583" y="297"/>
                    <a:pt x="583" y="297"/>
                    <a:pt x="583" y="297"/>
                  </a:cubicBezTo>
                  <a:cubicBezTo>
                    <a:pt x="595" y="297"/>
                    <a:pt x="595" y="297"/>
                    <a:pt x="595" y="297"/>
                  </a:cubicBezTo>
                  <a:cubicBezTo>
                    <a:pt x="595" y="215"/>
                    <a:pt x="562" y="141"/>
                    <a:pt x="508" y="87"/>
                  </a:cubicBezTo>
                  <a:cubicBezTo>
                    <a:pt x="454" y="33"/>
                    <a:pt x="380" y="0"/>
                    <a:pt x="298" y="0"/>
                  </a:cubicBezTo>
                  <a:cubicBezTo>
                    <a:pt x="216" y="0"/>
                    <a:pt x="141" y="33"/>
                    <a:pt x="88" y="87"/>
                  </a:cubicBezTo>
                  <a:cubicBezTo>
                    <a:pt x="34" y="141"/>
                    <a:pt x="0" y="215"/>
                    <a:pt x="0" y="297"/>
                  </a:cubicBezTo>
                  <a:cubicBezTo>
                    <a:pt x="0" y="379"/>
                    <a:pt x="34" y="454"/>
                    <a:pt x="88" y="507"/>
                  </a:cubicBezTo>
                  <a:cubicBezTo>
                    <a:pt x="141" y="561"/>
                    <a:pt x="216" y="594"/>
                    <a:pt x="298" y="594"/>
                  </a:cubicBezTo>
                  <a:cubicBezTo>
                    <a:pt x="380" y="594"/>
                    <a:pt x="454" y="561"/>
                    <a:pt x="508" y="507"/>
                  </a:cubicBezTo>
                  <a:cubicBezTo>
                    <a:pt x="562" y="454"/>
                    <a:pt x="595" y="379"/>
                    <a:pt x="595" y="297"/>
                  </a:cubicBezTo>
                  <a:lnTo>
                    <a:pt x="583" y="297"/>
                  </a:lnTo>
                  <a:close/>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50" name="Group 149">
              <a:extLst>
                <a:ext uri="{FF2B5EF4-FFF2-40B4-BE49-F238E27FC236}">
                  <a16:creationId xmlns:a16="http://schemas.microsoft.com/office/drawing/2014/main" id="{83D9F53E-E0B0-4B5F-94F2-32019F7FBFD8}"/>
                </a:ext>
              </a:extLst>
            </p:cNvPr>
            <p:cNvGrpSpPr/>
            <p:nvPr/>
          </p:nvGrpSpPr>
          <p:grpSpPr>
            <a:xfrm>
              <a:off x="6581671" y="2870913"/>
              <a:ext cx="211138" cy="344488"/>
              <a:chOff x="4613275" y="2108200"/>
              <a:chExt cx="211138" cy="344488"/>
            </a:xfrm>
          </p:grpSpPr>
          <p:sp>
            <p:nvSpPr>
              <p:cNvPr id="158" name="Freeform 233">
                <a:extLst>
                  <a:ext uri="{FF2B5EF4-FFF2-40B4-BE49-F238E27FC236}">
                    <a16:creationId xmlns:a16="http://schemas.microsoft.com/office/drawing/2014/main" id="{81D77E4D-8CB9-4140-9EB0-F069BD9BBFE9}"/>
                  </a:ext>
                </a:extLst>
              </p:cNvPr>
              <p:cNvSpPr>
                <a:spLocks/>
              </p:cNvSpPr>
              <p:nvPr/>
            </p:nvSpPr>
            <p:spPr bwMode="auto">
              <a:xfrm>
                <a:off x="4613275" y="2228850"/>
                <a:ext cx="128588" cy="223838"/>
              </a:xfrm>
              <a:custGeom>
                <a:avLst/>
                <a:gdLst>
                  <a:gd name="T0" fmla="*/ 51 w 81"/>
                  <a:gd name="T1" fmla="*/ 141 h 141"/>
                  <a:gd name="T2" fmla="*/ 33 w 81"/>
                  <a:gd name="T3" fmla="*/ 103 h 141"/>
                  <a:gd name="T4" fmla="*/ 0 w 81"/>
                  <a:gd name="T5" fmla="*/ 129 h 141"/>
                  <a:gd name="T6" fmla="*/ 30 w 81"/>
                  <a:gd name="T7" fmla="*/ 0 h 141"/>
                  <a:gd name="T8" fmla="*/ 81 w 81"/>
                  <a:gd name="T9" fmla="*/ 12 h 141"/>
                  <a:gd name="T10" fmla="*/ 51 w 81"/>
                  <a:gd name="T11" fmla="*/ 141 h 141"/>
                </a:gdLst>
                <a:ahLst/>
                <a:cxnLst>
                  <a:cxn ang="0">
                    <a:pos x="T0" y="T1"/>
                  </a:cxn>
                  <a:cxn ang="0">
                    <a:pos x="T2" y="T3"/>
                  </a:cxn>
                  <a:cxn ang="0">
                    <a:pos x="T4" y="T5"/>
                  </a:cxn>
                  <a:cxn ang="0">
                    <a:pos x="T6" y="T7"/>
                  </a:cxn>
                  <a:cxn ang="0">
                    <a:pos x="T8" y="T9"/>
                  </a:cxn>
                  <a:cxn ang="0">
                    <a:pos x="T10" y="T11"/>
                  </a:cxn>
                </a:cxnLst>
                <a:rect l="0" t="0" r="r" b="b"/>
                <a:pathLst>
                  <a:path w="81" h="141">
                    <a:moveTo>
                      <a:pt x="51" y="141"/>
                    </a:moveTo>
                    <a:lnTo>
                      <a:pt x="33" y="103"/>
                    </a:lnTo>
                    <a:lnTo>
                      <a:pt x="0" y="129"/>
                    </a:lnTo>
                    <a:lnTo>
                      <a:pt x="30" y="0"/>
                    </a:lnTo>
                    <a:lnTo>
                      <a:pt x="81" y="12"/>
                    </a:lnTo>
                    <a:lnTo>
                      <a:pt x="51" y="141"/>
                    </a:lnTo>
                    <a:close/>
                  </a:path>
                </a:pathLst>
              </a:custGeom>
              <a:solidFill>
                <a:srgbClr val="E4F3FE"/>
              </a:solidFill>
              <a:ln w="20638" cap="rnd">
                <a:solidFill>
                  <a:srgbClr val="7AC2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234">
                <a:extLst>
                  <a:ext uri="{FF2B5EF4-FFF2-40B4-BE49-F238E27FC236}">
                    <a16:creationId xmlns:a16="http://schemas.microsoft.com/office/drawing/2014/main" id="{A4329F6E-23BD-4525-B006-05A8DB591C57}"/>
                  </a:ext>
                </a:extLst>
              </p:cNvPr>
              <p:cNvSpPr>
                <a:spLocks/>
              </p:cNvSpPr>
              <p:nvPr/>
            </p:nvSpPr>
            <p:spPr bwMode="auto">
              <a:xfrm>
                <a:off x="4695825" y="2228850"/>
                <a:ext cx="128588" cy="223838"/>
              </a:xfrm>
              <a:custGeom>
                <a:avLst/>
                <a:gdLst>
                  <a:gd name="T0" fmla="*/ 30 w 81"/>
                  <a:gd name="T1" fmla="*/ 141 h 141"/>
                  <a:gd name="T2" fmla="*/ 48 w 81"/>
                  <a:gd name="T3" fmla="*/ 103 h 141"/>
                  <a:gd name="T4" fmla="*/ 81 w 81"/>
                  <a:gd name="T5" fmla="*/ 129 h 141"/>
                  <a:gd name="T6" fmla="*/ 51 w 81"/>
                  <a:gd name="T7" fmla="*/ 0 h 141"/>
                  <a:gd name="T8" fmla="*/ 0 w 81"/>
                  <a:gd name="T9" fmla="*/ 12 h 141"/>
                  <a:gd name="T10" fmla="*/ 30 w 81"/>
                  <a:gd name="T11" fmla="*/ 141 h 141"/>
                </a:gdLst>
                <a:ahLst/>
                <a:cxnLst>
                  <a:cxn ang="0">
                    <a:pos x="T0" y="T1"/>
                  </a:cxn>
                  <a:cxn ang="0">
                    <a:pos x="T2" y="T3"/>
                  </a:cxn>
                  <a:cxn ang="0">
                    <a:pos x="T4" y="T5"/>
                  </a:cxn>
                  <a:cxn ang="0">
                    <a:pos x="T6" y="T7"/>
                  </a:cxn>
                  <a:cxn ang="0">
                    <a:pos x="T8" y="T9"/>
                  </a:cxn>
                  <a:cxn ang="0">
                    <a:pos x="T10" y="T11"/>
                  </a:cxn>
                </a:cxnLst>
                <a:rect l="0" t="0" r="r" b="b"/>
                <a:pathLst>
                  <a:path w="81" h="141">
                    <a:moveTo>
                      <a:pt x="30" y="141"/>
                    </a:moveTo>
                    <a:lnTo>
                      <a:pt x="48" y="103"/>
                    </a:lnTo>
                    <a:lnTo>
                      <a:pt x="81" y="129"/>
                    </a:lnTo>
                    <a:lnTo>
                      <a:pt x="51" y="0"/>
                    </a:lnTo>
                    <a:lnTo>
                      <a:pt x="0" y="12"/>
                    </a:lnTo>
                    <a:lnTo>
                      <a:pt x="30" y="141"/>
                    </a:lnTo>
                    <a:close/>
                  </a:path>
                </a:pathLst>
              </a:custGeom>
              <a:solidFill>
                <a:srgbClr val="E4F3FE"/>
              </a:solidFill>
              <a:ln w="20638" cap="rnd">
                <a:solidFill>
                  <a:srgbClr val="7AC2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Oval 235">
                <a:extLst>
                  <a:ext uri="{FF2B5EF4-FFF2-40B4-BE49-F238E27FC236}">
                    <a16:creationId xmlns:a16="http://schemas.microsoft.com/office/drawing/2014/main" id="{6C1CDCB2-AC78-4202-9AEC-D4EFEA34E866}"/>
                  </a:ext>
                </a:extLst>
              </p:cNvPr>
              <p:cNvSpPr>
                <a:spLocks noChangeArrowheads="1"/>
              </p:cNvSpPr>
              <p:nvPr/>
            </p:nvSpPr>
            <p:spPr bwMode="auto">
              <a:xfrm>
                <a:off x="4613275" y="2108200"/>
                <a:ext cx="211138" cy="209550"/>
              </a:xfrm>
              <a:prstGeom prst="ellipse">
                <a:avLst/>
              </a:prstGeom>
              <a:solidFill>
                <a:srgbClr val="E4F3FE"/>
              </a:solidFill>
              <a:ln w="20638" cap="rnd">
                <a:solidFill>
                  <a:srgbClr val="7AC2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236">
                <a:extLst>
                  <a:ext uri="{FF2B5EF4-FFF2-40B4-BE49-F238E27FC236}">
                    <a16:creationId xmlns:a16="http://schemas.microsoft.com/office/drawing/2014/main" id="{A00C1D2E-F616-47BB-B4F1-7CAF0CBB0591}"/>
                  </a:ext>
                </a:extLst>
              </p:cNvPr>
              <p:cNvSpPr>
                <a:spLocks/>
              </p:cNvSpPr>
              <p:nvPr/>
            </p:nvSpPr>
            <p:spPr bwMode="auto">
              <a:xfrm>
                <a:off x="4649788" y="2151063"/>
                <a:ext cx="138113" cy="131763"/>
              </a:xfrm>
              <a:custGeom>
                <a:avLst/>
                <a:gdLst>
                  <a:gd name="T0" fmla="*/ 128 w 169"/>
                  <a:gd name="T1" fmla="*/ 160 h 160"/>
                  <a:gd name="T2" fmla="*/ 121 w 169"/>
                  <a:gd name="T3" fmla="*/ 157 h 160"/>
                  <a:gd name="T4" fmla="*/ 84 w 169"/>
                  <a:gd name="T5" fmla="*/ 131 h 160"/>
                  <a:gd name="T6" fmla="*/ 47 w 169"/>
                  <a:gd name="T7" fmla="*/ 157 h 160"/>
                  <a:gd name="T8" fmla="*/ 40 w 169"/>
                  <a:gd name="T9" fmla="*/ 160 h 160"/>
                  <a:gd name="T10" fmla="*/ 33 w 169"/>
                  <a:gd name="T11" fmla="*/ 157 h 160"/>
                  <a:gd name="T12" fmla="*/ 29 w 169"/>
                  <a:gd name="T13" fmla="*/ 144 h 160"/>
                  <a:gd name="T14" fmla="*/ 43 w 169"/>
                  <a:gd name="T15" fmla="*/ 101 h 160"/>
                  <a:gd name="T16" fmla="*/ 6 w 169"/>
                  <a:gd name="T17" fmla="*/ 74 h 160"/>
                  <a:gd name="T18" fmla="*/ 2 w 169"/>
                  <a:gd name="T19" fmla="*/ 60 h 160"/>
                  <a:gd name="T20" fmla="*/ 13 w 169"/>
                  <a:gd name="T21" fmla="*/ 52 h 160"/>
                  <a:gd name="T22" fmla="*/ 59 w 169"/>
                  <a:gd name="T23" fmla="*/ 52 h 160"/>
                  <a:gd name="T24" fmla="*/ 73 w 169"/>
                  <a:gd name="T25" fmla="*/ 9 h 160"/>
                  <a:gd name="T26" fmla="*/ 84 w 169"/>
                  <a:gd name="T27" fmla="*/ 0 h 160"/>
                  <a:gd name="T28" fmla="*/ 96 w 169"/>
                  <a:gd name="T29" fmla="*/ 9 h 160"/>
                  <a:gd name="T30" fmla="*/ 110 w 169"/>
                  <a:gd name="T31" fmla="*/ 52 h 160"/>
                  <a:gd name="T32" fmla="*/ 156 w 169"/>
                  <a:gd name="T33" fmla="*/ 52 h 160"/>
                  <a:gd name="T34" fmla="*/ 167 w 169"/>
                  <a:gd name="T35" fmla="*/ 60 h 160"/>
                  <a:gd name="T36" fmla="*/ 163 w 169"/>
                  <a:gd name="T37" fmla="*/ 74 h 160"/>
                  <a:gd name="T38" fmla="*/ 126 w 169"/>
                  <a:gd name="T39" fmla="*/ 101 h 160"/>
                  <a:gd name="T40" fmla="*/ 140 w 169"/>
                  <a:gd name="T41" fmla="*/ 144 h 160"/>
                  <a:gd name="T42" fmla="*/ 135 w 169"/>
                  <a:gd name="T43" fmla="*/ 157 h 160"/>
                  <a:gd name="T44" fmla="*/ 128 w 169"/>
                  <a:gd name="T4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160">
                    <a:moveTo>
                      <a:pt x="128" y="160"/>
                    </a:moveTo>
                    <a:cubicBezTo>
                      <a:pt x="126" y="160"/>
                      <a:pt x="123" y="159"/>
                      <a:pt x="121" y="157"/>
                    </a:cubicBezTo>
                    <a:cubicBezTo>
                      <a:pt x="84" y="131"/>
                      <a:pt x="84" y="131"/>
                      <a:pt x="84" y="131"/>
                    </a:cubicBezTo>
                    <a:cubicBezTo>
                      <a:pt x="47" y="157"/>
                      <a:pt x="47" y="157"/>
                      <a:pt x="47" y="157"/>
                    </a:cubicBezTo>
                    <a:cubicBezTo>
                      <a:pt x="45" y="159"/>
                      <a:pt x="43" y="160"/>
                      <a:pt x="40" y="160"/>
                    </a:cubicBezTo>
                    <a:cubicBezTo>
                      <a:pt x="38" y="160"/>
                      <a:pt x="35" y="159"/>
                      <a:pt x="33" y="157"/>
                    </a:cubicBezTo>
                    <a:cubicBezTo>
                      <a:pt x="29" y="154"/>
                      <a:pt x="27" y="149"/>
                      <a:pt x="29" y="144"/>
                    </a:cubicBezTo>
                    <a:cubicBezTo>
                      <a:pt x="43" y="101"/>
                      <a:pt x="43" y="101"/>
                      <a:pt x="43" y="101"/>
                    </a:cubicBezTo>
                    <a:cubicBezTo>
                      <a:pt x="6" y="74"/>
                      <a:pt x="6" y="74"/>
                      <a:pt x="6" y="74"/>
                    </a:cubicBezTo>
                    <a:cubicBezTo>
                      <a:pt x="2" y="71"/>
                      <a:pt x="0" y="65"/>
                      <a:pt x="2" y="60"/>
                    </a:cubicBezTo>
                    <a:cubicBezTo>
                      <a:pt x="3" y="55"/>
                      <a:pt x="8" y="52"/>
                      <a:pt x="13" y="52"/>
                    </a:cubicBezTo>
                    <a:cubicBezTo>
                      <a:pt x="59" y="52"/>
                      <a:pt x="59" y="52"/>
                      <a:pt x="59" y="52"/>
                    </a:cubicBezTo>
                    <a:cubicBezTo>
                      <a:pt x="73" y="9"/>
                      <a:pt x="73" y="9"/>
                      <a:pt x="73" y="9"/>
                    </a:cubicBezTo>
                    <a:cubicBezTo>
                      <a:pt x="75" y="4"/>
                      <a:pt x="79" y="0"/>
                      <a:pt x="84" y="0"/>
                    </a:cubicBezTo>
                    <a:cubicBezTo>
                      <a:pt x="90" y="0"/>
                      <a:pt x="94" y="4"/>
                      <a:pt x="96" y="9"/>
                    </a:cubicBezTo>
                    <a:cubicBezTo>
                      <a:pt x="110" y="52"/>
                      <a:pt x="110" y="52"/>
                      <a:pt x="110" y="52"/>
                    </a:cubicBezTo>
                    <a:cubicBezTo>
                      <a:pt x="156" y="52"/>
                      <a:pt x="156" y="52"/>
                      <a:pt x="156" y="52"/>
                    </a:cubicBezTo>
                    <a:cubicBezTo>
                      <a:pt x="161" y="52"/>
                      <a:pt x="165" y="55"/>
                      <a:pt x="167" y="60"/>
                    </a:cubicBezTo>
                    <a:cubicBezTo>
                      <a:pt x="169" y="65"/>
                      <a:pt x="167" y="71"/>
                      <a:pt x="163" y="74"/>
                    </a:cubicBezTo>
                    <a:cubicBezTo>
                      <a:pt x="126" y="101"/>
                      <a:pt x="126" y="101"/>
                      <a:pt x="126" y="101"/>
                    </a:cubicBezTo>
                    <a:cubicBezTo>
                      <a:pt x="140" y="144"/>
                      <a:pt x="140" y="144"/>
                      <a:pt x="140" y="144"/>
                    </a:cubicBezTo>
                    <a:cubicBezTo>
                      <a:pt x="141" y="149"/>
                      <a:pt x="140" y="154"/>
                      <a:pt x="135" y="157"/>
                    </a:cubicBezTo>
                    <a:cubicBezTo>
                      <a:pt x="133" y="159"/>
                      <a:pt x="131" y="160"/>
                      <a:pt x="128" y="160"/>
                    </a:cubicBezTo>
                    <a:close/>
                  </a:path>
                </a:pathLst>
              </a:custGeom>
              <a:solidFill>
                <a:srgbClr val="E4F3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237">
                <a:extLst>
                  <a:ext uri="{FF2B5EF4-FFF2-40B4-BE49-F238E27FC236}">
                    <a16:creationId xmlns:a16="http://schemas.microsoft.com/office/drawing/2014/main" id="{697EAED3-C41C-4A61-933A-E1561CBEBDD6}"/>
                  </a:ext>
                </a:extLst>
              </p:cNvPr>
              <p:cNvSpPr>
                <a:spLocks noEditPoints="1"/>
              </p:cNvSpPr>
              <p:nvPr/>
            </p:nvSpPr>
            <p:spPr bwMode="auto">
              <a:xfrm>
                <a:off x="4638675" y="2141538"/>
                <a:ext cx="158750" cy="150813"/>
              </a:xfrm>
              <a:custGeom>
                <a:avLst/>
                <a:gdLst>
                  <a:gd name="T0" fmla="*/ 97 w 193"/>
                  <a:gd name="T1" fmla="*/ 24 h 184"/>
                  <a:gd name="T2" fmla="*/ 114 w 193"/>
                  <a:gd name="T3" fmla="*/ 76 h 184"/>
                  <a:gd name="T4" fmla="*/ 169 w 193"/>
                  <a:gd name="T5" fmla="*/ 76 h 184"/>
                  <a:gd name="T6" fmla="*/ 125 w 193"/>
                  <a:gd name="T7" fmla="*/ 108 h 184"/>
                  <a:gd name="T8" fmla="*/ 141 w 193"/>
                  <a:gd name="T9" fmla="*/ 160 h 184"/>
                  <a:gd name="T10" fmla="*/ 97 w 193"/>
                  <a:gd name="T11" fmla="*/ 128 h 184"/>
                  <a:gd name="T12" fmla="*/ 53 w 193"/>
                  <a:gd name="T13" fmla="*/ 160 h 184"/>
                  <a:gd name="T14" fmla="*/ 70 w 193"/>
                  <a:gd name="T15" fmla="*/ 108 h 184"/>
                  <a:gd name="T16" fmla="*/ 26 w 193"/>
                  <a:gd name="T17" fmla="*/ 76 h 184"/>
                  <a:gd name="T18" fmla="*/ 81 w 193"/>
                  <a:gd name="T19" fmla="*/ 76 h 184"/>
                  <a:gd name="T20" fmla="*/ 97 w 193"/>
                  <a:gd name="T21" fmla="*/ 24 h 184"/>
                  <a:gd name="T22" fmla="*/ 169 w 193"/>
                  <a:gd name="T23" fmla="*/ 76 h 184"/>
                  <a:gd name="T24" fmla="*/ 169 w 193"/>
                  <a:gd name="T25" fmla="*/ 76 h 184"/>
                  <a:gd name="T26" fmla="*/ 97 w 193"/>
                  <a:gd name="T27" fmla="*/ 0 h 184"/>
                  <a:gd name="T28" fmla="*/ 75 w 193"/>
                  <a:gd name="T29" fmla="*/ 17 h 184"/>
                  <a:gd name="T30" fmla="*/ 63 w 193"/>
                  <a:gd name="T31" fmla="*/ 52 h 184"/>
                  <a:gd name="T32" fmla="*/ 26 w 193"/>
                  <a:gd name="T33" fmla="*/ 52 h 184"/>
                  <a:gd name="T34" fmla="*/ 3 w 193"/>
                  <a:gd name="T35" fmla="*/ 69 h 184"/>
                  <a:gd name="T36" fmla="*/ 12 w 193"/>
                  <a:gd name="T37" fmla="*/ 95 h 184"/>
                  <a:gd name="T38" fmla="*/ 42 w 193"/>
                  <a:gd name="T39" fmla="*/ 117 h 184"/>
                  <a:gd name="T40" fmla="*/ 31 w 193"/>
                  <a:gd name="T41" fmla="*/ 152 h 184"/>
                  <a:gd name="T42" fmla="*/ 39 w 193"/>
                  <a:gd name="T43" fmla="*/ 179 h 184"/>
                  <a:gd name="T44" fmla="*/ 53 w 193"/>
                  <a:gd name="T45" fmla="*/ 184 h 184"/>
                  <a:gd name="T46" fmla="*/ 68 w 193"/>
                  <a:gd name="T47" fmla="*/ 179 h 184"/>
                  <a:gd name="T48" fmla="*/ 97 w 193"/>
                  <a:gd name="T49" fmla="*/ 157 h 184"/>
                  <a:gd name="T50" fmla="*/ 127 w 193"/>
                  <a:gd name="T51" fmla="*/ 179 h 184"/>
                  <a:gd name="T52" fmla="*/ 141 w 193"/>
                  <a:gd name="T53" fmla="*/ 184 h 184"/>
                  <a:gd name="T54" fmla="*/ 155 w 193"/>
                  <a:gd name="T55" fmla="*/ 179 h 184"/>
                  <a:gd name="T56" fmla="*/ 164 w 193"/>
                  <a:gd name="T57" fmla="*/ 152 h 184"/>
                  <a:gd name="T58" fmla="*/ 153 w 193"/>
                  <a:gd name="T59" fmla="*/ 117 h 184"/>
                  <a:gd name="T60" fmla="*/ 182 w 193"/>
                  <a:gd name="T61" fmla="*/ 96 h 184"/>
                  <a:gd name="T62" fmla="*/ 193 w 193"/>
                  <a:gd name="T63" fmla="*/ 76 h 184"/>
                  <a:gd name="T64" fmla="*/ 169 w 193"/>
                  <a:gd name="T65" fmla="*/ 52 h 184"/>
                  <a:gd name="T66" fmla="*/ 169 w 193"/>
                  <a:gd name="T67" fmla="*/ 52 h 184"/>
                  <a:gd name="T68" fmla="*/ 132 w 193"/>
                  <a:gd name="T69" fmla="*/ 52 h 184"/>
                  <a:gd name="T70" fmla="*/ 120 w 193"/>
                  <a:gd name="T71" fmla="*/ 17 h 184"/>
                  <a:gd name="T72" fmla="*/ 97 w 193"/>
                  <a:gd name="T7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184">
                    <a:moveTo>
                      <a:pt x="97" y="24"/>
                    </a:moveTo>
                    <a:cubicBezTo>
                      <a:pt x="114" y="76"/>
                      <a:pt x="114" y="76"/>
                      <a:pt x="114" y="76"/>
                    </a:cubicBezTo>
                    <a:cubicBezTo>
                      <a:pt x="169" y="76"/>
                      <a:pt x="169" y="76"/>
                      <a:pt x="169" y="76"/>
                    </a:cubicBezTo>
                    <a:cubicBezTo>
                      <a:pt x="125" y="108"/>
                      <a:pt x="125" y="108"/>
                      <a:pt x="125" y="108"/>
                    </a:cubicBezTo>
                    <a:cubicBezTo>
                      <a:pt x="141" y="160"/>
                      <a:pt x="141" y="160"/>
                      <a:pt x="141" y="160"/>
                    </a:cubicBezTo>
                    <a:cubicBezTo>
                      <a:pt x="97" y="128"/>
                      <a:pt x="97" y="128"/>
                      <a:pt x="97" y="128"/>
                    </a:cubicBezTo>
                    <a:cubicBezTo>
                      <a:pt x="53" y="160"/>
                      <a:pt x="53" y="160"/>
                      <a:pt x="53" y="160"/>
                    </a:cubicBezTo>
                    <a:cubicBezTo>
                      <a:pt x="70" y="108"/>
                      <a:pt x="70" y="108"/>
                      <a:pt x="70" y="108"/>
                    </a:cubicBezTo>
                    <a:cubicBezTo>
                      <a:pt x="26" y="76"/>
                      <a:pt x="26" y="76"/>
                      <a:pt x="26" y="76"/>
                    </a:cubicBezTo>
                    <a:cubicBezTo>
                      <a:pt x="81" y="76"/>
                      <a:pt x="81" y="76"/>
                      <a:pt x="81" y="76"/>
                    </a:cubicBezTo>
                    <a:cubicBezTo>
                      <a:pt x="97" y="24"/>
                      <a:pt x="97" y="24"/>
                      <a:pt x="97" y="24"/>
                    </a:cubicBezTo>
                    <a:moveTo>
                      <a:pt x="169" y="76"/>
                    </a:moveTo>
                    <a:cubicBezTo>
                      <a:pt x="169" y="76"/>
                      <a:pt x="169" y="76"/>
                      <a:pt x="169" y="76"/>
                    </a:cubicBezTo>
                    <a:moveTo>
                      <a:pt x="97" y="0"/>
                    </a:moveTo>
                    <a:cubicBezTo>
                      <a:pt x="87" y="0"/>
                      <a:pt x="78" y="7"/>
                      <a:pt x="75" y="17"/>
                    </a:cubicBezTo>
                    <a:cubicBezTo>
                      <a:pt x="63" y="52"/>
                      <a:pt x="63" y="52"/>
                      <a:pt x="63" y="52"/>
                    </a:cubicBezTo>
                    <a:cubicBezTo>
                      <a:pt x="26" y="52"/>
                      <a:pt x="26" y="52"/>
                      <a:pt x="26" y="52"/>
                    </a:cubicBezTo>
                    <a:cubicBezTo>
                      <a:pt x="16" y="52"/>
                      <a:pt x="7" y="59"/>
                      <a:pt x="3" y="69"/>
                    </a:cubicBezTo>
                    <a:cubicBezTo>
                      <a:pt x="0" y="78"/>
                      <a:pt x="4" y="89"/>
                      <a:pt x="12" y="95"/>
                    </a:cubicBezTo>
                    <a:cubicBezTo>
                      <a:pt x="42" y="117"/>
                      <a:pt x="42" y="117"/>
                      <a:pt x="42" y="117"/>
                    </a:cubicBezTo>
                    <a:cubicBezTo>
                      <a:pt x="31" y="152"/>
                      <a:pt x="31" y="152"/>
                      <a:pt x="31" y="152"/>
                    </a:cubicBezTo>
                    <a:cubicBezTo>
                      <a:pt x="27" y="162"/>
                      <a:pt x="31" y="173"/>
                      <a:pt x="39" y="179"/>
                    </a:cubicBezTo>
                    <a:cubicBezTo>
                      <a:pt x="44" y="182"/>
                      <a:pt x="48" y="184"/>
                      <a:pt x="53" y="184"/>
                    </a:cubicBezTo>
                    <a:cubicBezTo>
                      <a:pt x="58" y="184"/>
                      <a:pt x="63" y="182"/>
                      <a:pt x="68" y="179"/>
                    </a:cubicBezTo>
                    <a:cubicBezTo>
                      <a:pt x="97" y="157"/>
                      <a:pt x="97" y="157"/>
                      <a:pt x="97" y="157"/>
                    </a:cubicBezTo>
                    <a:cubicBezTo>
                      <a:pt x="127" y="179"/>
                      <a:pt x="127" y="179"/>
                      <a:pt x="127" y="179"/>
                    </a:cubicBezTo>
                    <a:cubicBezTo>
                      <a:pt x="131" y="182"/>
                      <a:pt x="136" y="184"/>
                      <a:pt x="141" y="184"/>
                    </a:cubicBezTo>
                    <a:cubicBezTo>
                      <a:pt x="146" y="184"/>
                      <a:pt x="151" y="182"/>
                      <a:pt x="155" y="179"/>
                    </a:cubicBezTo>
                    <a:cubicBezTo>
                      <a:pt x="164" y="173"/>
                      <a:pt x="167" y="162"/>
                      <a:pt x="164" y="152"/>
                    </a:cubicBezTo>
                    <a:cubicBezTo>
                      <a:pt x="153" y="117"/>
                      <a:pt x="153" y="117"/>
                      <a:pt x="153" y="117"/>
                    </a:cubicBezTo>
                    <a:cubicBezTo>
                      <a:pt x="182" y="96"/>
                      <a:pt x="182" y="96"/>
                      <a:pt x="182" y="96"/>
                    </a:cubicBezTo>
                    <a:cubicBezTo>
                      <a:pt x="188" y="91"/>
                      <a:pt x="193" y="84"/>
                      <a:pt x="193" y="76"/>
                    </a:cubicBezTo>
                    <a:cubicBezTo>
                      <a:pt x="193" y="63"/>
                      <a:pt x="182" y="52"/>
                      <a:pt x="169" y="52"/>
                    </a:cubicBezTo>
                    <a:cubicBezTo>
                      <a:pt x="169" y="52"/>
                      <a:pt x="169" y="52"/>
                      <a:pt x="169" y="52"/>
                    </a:cubicBezTo>
                    <a:cubicBezTo>
                      <a:pt x="132" y="52"/>
                      <a:pt x="132" y="52"/>
                      <a:pt x="132" y="52"/>
                    </a:cubicBezTo>
                    <a:cubicBezTo>
                      <a:pt x="120" y="17"/>
                      <a:pt x="120" y="17"/>
                      <a:pt x="120" y="17"/>
                    </a:cubicBezTo>
                    <a:cubicBezTo>
                      <a:pt x="117" y="7"/>
                      <a:pt x="108" y="0"/>
                      <a:pt x="97" y="0"/>
                    </a:cubicBezTo>
                    <a:close/>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1" name="Rectangle 150">
              <a:extLst>
                <a:ext uri="{FF2B5EF4-FFF2-40B4-BE49-F238E27FC236}">
                  <a16:creationId xmlns:a16="http://schemas.microsoft.com/office/drawing/2014/main" id="{A958A9D9-4CEA-48A1-91C4-A00967656F89}"/>
                </a:ext>
              </a:extLst>
            </p:cNvPr>
            <p:cNvSpPr/>
            <p:nvPr/>
          </p:nvSpPr>
          <p:spPr>
            <a:xfrm>
              <a:off x="5528562" y="2045097"/>
              <a:ext cx="1034247" cy="551431"/>
            </a:xfrm>
            <a:prstGeom prst="rect">
              <a:avLst/>
            </a:prstGeom>
            <a:solidFill>
              <a:srgbClr val="FFFFFF"/>
            </a:solidFill>
            <a:ln w="22225">
              <a:solidFill>
                <a:srgbClr val="7AC2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2" name="Group 151">
              <a:extLst>
                <a:ext uri="{FF2B5EF4-FFF2-40B4-BE49-F238E27FC236}">
                  <a16:creationId xmlns:a16="http://schemas.microsoft.com/office/drawing/2014/main" id="{A386B112-9F22-4E69-8618-44A919C3EF11}"/>
                </a:ext>
              </a:extLst>
            </p:cNvPr>
            <p:cNvGrpSpPr/>
            <p:nvPr/>
          </p:nvGrpSpPr>
          <p:grpSpPr>
            <a:xfrm>
              <a:off x="5941370" y="2165441"/>
              <a:ext cx="211138" cy="344488"/>
              <a:chOff x="4613275" y="2108200"/>
              <a:chExt cx="211138" cy="344488"/>
            </a:xfrm>
          </p:grpSpPr>
          <p:sp>
            <p:nvSpPr>
              <p:cNvPr id="153" name="Freeform 233">
                <a:extLst>
                  <a:ext uri="{FF2B5EF4-FFF2-40B4-BE49-F238E27FC236}">
                    <a16:creationId xmlns:a16="http://schemas.microsoft.com/office/drawing/2014/main" id="{BCCED8B5-5D10-4E40-B23A-14BF5DF592F2}"/>
                  </a:ext>
                </a:extLst>
              </p:cNvPr>
              <p:cNvSpPr>
                <a:spLocks/>
              </p:cNvSpPr>
              <p:nvPr/>
            </p:nvSpPr>
            <p:spPr bwMode="auto">
              <a:xfrm>
                <a:off x="4613275" y="2228850"/>
                <a:ext cx="128588" cy="223838"/>
              </a:xfrm>
              <a:custGeom>
                <a:avLst/>
                <a:gdLst>
                  <a:gd name="T0" fmla="*/ 51 w 81"/>
                  <a:gd name="T1" fmla="*/ 141 h 141"/>
                  <a:gd name="T2" fmla="*/ 33 w 81"/>
                  <a:gd name="T3" fmla="*/ 103 h 141"/>
                  <a:gd name="T4" fmla="*/ 0 w 81"/>
                  <a:gd name="T5" fmla="*/ 129 h 141"/>
                  <a:gd name="T6" fmla="*/ 30 w 81"/>
                  <a:gd name="T7" fmla="*/ 0 h 141"/>
                  <a:gd name="T8" fmla="*/ 81 w 81"/>
                  <a:gd name="T9" fmla="*/ 12 h 141"/>
                  <a:gd name="T10" fmla="*/ 51 w 81"/>
                  <a:gd name="T11" fmla="*/ 141 h 141"/>
                </a:gdLst>
                <a:ahLst/>
                <a:cxnLst>
                  <a:cxn ang="0">
                    <a:pos x="T0" y="T1"/>
                  </a:cxn>
                  <a:cxn ang="0">
                    <a:pos x="T2" y="T3"/>
                  </a:cxn>
                  <a:cxn ang="0">
                    <a:pos x="T4" y="T5"/>
                  </a:cxn>
                  <a:cxn ang="0">
                    <a:pos x="T6" y="T7"/>
                  </a:cxn>
                  <a:cxn ang="0">
                    <a:pos x="T8" y="T9"/>
                  </a:cxn>
                  <a:cxn ang="0">
                    <a:pos x="T10" y="T11"/>
                  </a:cxn>
                </a:cxnLst>
                <a:rect l="0" t="0" r="r" b="b"/>
                <a:pathLst>
                  <a:path w="81" h="141">
                    <a:moveTo>
                      <a:pt x="51" y="141"/>
                    </a:moveTo>
                    <a:lnTo>
                      <a:pt x="33" y="103"/>
                    </a:lnTo>
                    <a:lnTo>
                      <a:pt x="0" y="129"/>
                    </a:lnTo>
                    <a:lnTo>
                      <a:pt x="30" y="0"/>
                    </a:lnTo>
                    <a:lnTo>
                      <a:pt x="81" y="12"/>
                    </a:lnTo>
                    <a:lnTo>
                      <a:pt x="51" y="141"/>
                    </a:lnTo>
                    <a:close/>
                  </a:path>
                </a:pathLst>
              </a:custGeom>
              <a:solidFill>
                <a:srgbClr val="E4F3FE"/>
              </a:solidFill>
              <a:ln w="22225" cap="rnd">
                <a:solidFill>
                  <a:srgbClr val="7AC2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234">
                <a:extLst>
                  <a:ext uri="{FF2B5EF4-FFF2-40B4-BE49-F238E27FC236}">
                    <a16:creationId xmlns:a16="http://schemas.microsoft.com/office/drawing/2014/main" id="{F215233B-251E-468C-8E9B-9852A00784E1}"/>
                  </a:ext>
                </a:extLst>
              </p:cNvPr>
              <p:cNvSpPr>
                <a:spLocks/>
              </p:cNvSpPr>
              <p:nvPr/>
            </p:nvSpPr>
            <p:spPr bwMode="auto">
              <a:xfrm>
                <a:off x="4695825" y="2228850"/>
                <a:ext cx="128588" cy="223838"/>
              </a:xfrm>
              <a:custGeom>
                <a:avLst/>
                <a:gdLst>
                  <a:gd name="T0" fmla="*/ 30 w 81"/>
                  <a:gd name="T1" fmla="*/ 141 h 141"/>
                  <a:gd name="T2" fmla="*/ 48 w 81"/>
                  <a:gd name="T3" fmla="*/ 103 h 141"/>
                  <a:gd name="T4" fmla="*/ 81 w 81"/>
                  <a:gd name="T5" fmla="*/ 129 h 141"/>
                  <a:gd name="T6" fmla="*/ 51 w 81"/>
                  <a:gd name="T7" fmla="*/ 0 h 141"/>
                  <a:gd name="T8" fmla="*/ 0 w 81"/>
                  <a:gd name="T9" fmla="*/ 12 h 141"/>
                  <a:gd name="T10" fmla="*/ 30 w 81"/>
                  <a:gd name="T11" fmla="*/ 141 h 141"/>
                </a:gdLst>
                <a:ahLst/>
                <a:cxnLst>
                  <a:cxn ang="0">
                    <a:pos x="T0" y="T1"/>
                  </a:cxn>
                  <a:cxn ang="0">
                    <a:pos x="T2" y="T3"/>
                  </a:cxn>
                  <a:cxn ang="0">
                    <a:pos x="T4" y="T5"/>
                  </a:cxn>
                  <a:cxn ang="0">
                    <a:pos x="T6" y="T7"/>
                  </a:cxn>
                  <a:cxn ang="0">
                    <a:pos x="T8" y="T9"/>
                  </a:cxn>
                  <a:cxn ang="0">
                    <a:pos x="T10" y="T11"/>
                  </a:cxn>
                </a:cxnLst>
                <a:rect l="0" t="0" r="r" b="b"/>
                <a:pathLst>
                  <a:path w="81" h="141">
                    <a:moveTo>
                      <a:pt x="30" y="141"/>
                    </a:moveTo>
                    <a:lnTo>
                      <a:pt x="48" y="103"/>
                    </a:lnTo>
                    <a:lnTo>
                      <a:pt x="81" y="129"/>
                    </a:lnTo>
                    <a:lnTo>
                      <a:pt x="51" y="0"/>
                    </a:lnTo>
                    <a:lnTo>
                      <a:pt x="0" y="12"/>
                    </a:lnTo>
                    <a:lnTo>
                      <a:pt x="30" y="141"/>
                    </a:lnTo>
                    <a:close/>
                  </a:path>
                </a:pathLst>
              </a:custGeom>
              <a:solidFill>
                <a:srgbClr val="E4F3FE"/>
              </a:solidFill>
              <a:ln w="22225" cap="rnd">
                <a:solidFill>
                  <a:srgbClr val="7AC2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Oval 235">
                <a:extLst>
                  <a:ext uri="{FF2B5EF4-FFF2-40B4-BE49-F238E27FC236}">
                    <a16:creationId xmlns:a16="http://schemas.microsoft.com/office/drawing/2014/main" id="{E71DFECA-A7B2-47F6-864A-4A6B16F59B22}"/>
                  </a:ext>
                </a:extLst>
              </p:cNvPr>
              <p:cNvSpPr>
                <a:spLocks noChangeArrowheads="1"/>
              </p:cNvSpPr>
              <p:nvPr/>
            </p:nvSpPr>
            <p:spPr bwMode="auto">
              <a:xfrm>
                <a:off x="4613275" y="2108200"/>
                <a:ext cx="211138" cy="209550"/>
              </a:xfrm>
              <a:prstGeom prst="ellipse">
                <a:avLst/>
              </a:prstGeom>
              <a:solidFill>
                <a:srgbClr val="E4F3FE"/>
              </a:solidFill>
              <a:ln w="22225" cap="rnd">
                <a:solidFill>
                  <a:srgbClr val="7AC2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236">
                <a:extLst>
                  <a:ext uri="{FF2B5EF4-FFF2-40B4-BE49-F238E27FC236}">
                    <a16:creationId xmlns:a16="http://schemas.microsoft.com/office/drawing/2014/main" id="{AEA1B327-C25D-4643-AE55-7D7A79299031}"/>
                  </a:ext>
                </a:extLst>
              </p:cNvPr>
              <p:cNvSpPr>
                <a:spLocks/>
              </p:cNvSpPr>
              <p:nvPr/>
            </p:nvSpPr>
            <p:spPr bwMode="auto">
              <a:xfrm>
                <a:off x="4649788" y="2151063"/>
                <a:ext cx="138113" cy="131763"/>
              </a:xfrm>
              <a:custGeom>
                <a:avLst/>
                <a:gdLst>
                  <a:gd name="T0" fmla="*/ 128 w 169"/>
                  <a:gd name="T1" fmla="*/ 160 h 160"/>
                  <a:gd name="T2" fmla="*/ 121 w 169"/>
                  <a:gd name="T3" fmla="*/ 157 h 160"/>
                  <a:gd name="T4" fmla="*/ 84 w 169"/>
                  <a:gd name="T5" fmla="*/ 131 h 160"/>
                  <a:gd name="T6" fmla="*/ 47 w 169"/>
                  <a:gd name="T7" fmla="*/ 157 h 160"/>
                  <a:gd name="T8" fmla="*/ 40 w 169"/>
                  <a:gd name="T9" fmla="*/ 160 h 160"/>
                  <a:gd name="T10" fmla="*/ 33 w 169"/>
                  <a:gd name="T11" fmla="*/ 157 h 160"/>
                  <a:gd name="T12" fmla="*/ 29 w 169"/>
                  <a:gd name="T13" fmla="*/ 144 h 160"/>
                  <a:gd name="T14" fmla="*/ 43 w 169"/>
                  <a:gd name="T15" fmla="*/ 101 h 160"/>
                  <a:gd name="T16" fmla="*/ 6 w 169"/>
                  <a:gd name="T17" fmla="*/ 74 h 160"/>
                  <a:gd name="T18" fmla="*/ 2 w 169"/>
                  <a:gd name="T19" fmla="*/ 60 h 160"/>
                  <a:gd name="T20" fmla="*/ 13 w 169"/>
                  <a:gd name="T21" fmla="*/ 52 h 160"/>
                  <a:gd name="T22" fmla="*/ 59 w 169"/>
                  <a:gd name="T23" fmla="*/ 52 h 160"/>
                  <a:gd name="T24" fmla="*/ 73 w 169"/>
                  <a:gd name="T25" fmla="*/ 9 h 160"/>
                  <a:gd name="T26" fmla="*/ 84 w 169"/>
                  <a:gd name="T27" fmla="*/ 0 h 160"/>
                  <a:gd name="T28" fmla="*/ 96 w 169"/>
                  <a:gd name="T29" fmla="*/ 9 h 160"/>
                  <a:gd name="T30" fmla="*/ 110 w 169"/>
                  <a:gd name="T31" fmla="*/ 52 h 160"/>
                  <a:gd name="T32" fmla="*/ 156 w 169"/>
                  <a:gd name="T33" fmla="*/ 52 h 160"/>
                  <a:gd name="T34" fmla="*/ 167 w 169"/>
                  <a:gd name="T35" fmla="*/ 60 h 160"/>
                  <a:gd name="T36" fmla="*/ 163 w 169"/>
                  <a:gd name="T37" fmla="*/ 74 h 160"/>
                  <a:gd name="T38" fmla="*/ 126 w 169"/>
                  <a:gd name="T39" fmla="*/ 101 h 160"/>
                  <a:gd name="T40" fmla="*/ 140 w 169"/>
                  <a:gd name="T41" fmla="*/ 144 h 160"/>
                  <a:gd name="T42" fmla="*/ 135 w 169"/>
                  <a:gd name="T43" fmla="*/ 157 h 160"/>
                  <a:gd name="T44" fmla="*/ 128 w 169"/>
                  <a:gd name="T4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160">
                    <a:moveTo>
                      <a:pt x="128" y="160"/>
                    </a:moveTo>
                    <a:cubicBezTo>
                      <a:pt x="126" y="160"/>
                      <a:pt x="123" y="159"/>
                      <a:pt x="121" y="157"/>
                    </a:cubicBezTo>
                    <a:cubicBezTo>
                      <a:pt x="84" y="131"/>
                      <a:pt x="84" y="131"/>
                      <a:pt x="84" y="131"/>
                    </a:cubicBezTo>
                    <a:cubicBezTo>
                      <a:pt x="47" y="157"/>
                      <a:pt x="47" y="157"/>
                      <a:pt x="47" y="157"/>
                    </a:cubicBezTo>
                    <a:cubicBezTo>
                      <a:pt x="45" y="159"/>
                      <a:pt x="43" y="160"/>
                      <a:pt x="40" y="160"/>
                    </a:cubicBezTo>
                    <a:cubicBezTo>
                      <a:pt x="38" y="160"/>
                      <a:pt x="35" y="159"/>
                      <a:pt x="33" y="157"/>
                    </a:cubicBezTo>
                    <a:cubicBezTo>
                      <a:pt x="29" y="154"/>
                      <a:pt x="27" y="149"/>
                      <a:pt x="29" y="144"/>
                    </a:cubicBezTo>
                    <a:cubicBezTo>
                      <a:pt x="43" y="101"/>
                      <a:pt x="43" y="101"/>
                      <a:pt x="43" y="101"/>
                    </a:cubicBezTo>
                    <a:cubicBezTo>
                      <a:pt x="6" y="74"/>
                      <a:pt x="6" y="74"/>
                      <a:pt x="6" y="74"/>
                    </a:cubicBezTo>
                    <a:cubicBezTo>
                      <a:pt x="2" y="71"/>
                      <a:pt x="0" y="65"/>
                      <a:pt x="2" y="60"/>
                    </a:cubicBezTo>
                    <a:cubicBezTo>
                      <a:pt x="3" y="55"/>
                      <a:pt x="8" y="52"/>
                      <a:pt x="13" y="52"/>
                    </a:cubicBezTo>
                    <a:cubicBezTo>
                      <a:pt x="59" y="52"/>
                      <a:pt x="59" y="52"/>
                      <a:pt x="59" y="52"/>
                    </a:cubicBezTo>
                    <a:cubicBezTo>
                      <a:pt x="73" y="9"/>
                      <a:pt x="73" y="9"/>
                      <a:pt x="73" y="9"/>
                    </a:cubicBezTo>
                    <a:cubicBezTo>
                      <a:pt x="75" y="4"/>
                      <a:pt x="79" y="0"/>
                      <a:pt x="84" y="0"/>
                    </a:cubicBezTo>
                    <a:cubicBezTo>
                      <a:pt x="90" y="0"/>
                      <a:pt x="94" y="4"/>
                      <a:pt x="96" y="9"/>
                    </a:cubicBezTo>
                    <a:cubicBezTo>
                      <a:pt x="110" y="52"/>
                      <a:pt x="110" y="52"/>
                      <a:pt x="110" y="52"/>
                    </a:cubicBezTo>
                    <a:cubicBezTo>
                      <a:pt x="156" y="52"/>
                      <a:pt x="156" y="52"/>
                      <a:pt x="156" y="52"/>
                    </a:cubicBezTo>
                    <a:cubicBezTo>
                      <a:pt x="161" y="52"/>
                      <a:pt x="165" y="55"/>
                      <a:pt x="167" y="60"/>
                    </a:cubicBezTo>
                    <a:cubicBezTo>
                      <a:pt x="169" y="65"/>
                      <a:pt x="167" y="71"/>
                      <a:pt x="163" y="74"/>
                    </a:cubicBezTo>
                    <a:cubicBezTo>
                      <a:pt x="126" y="101"/>
                      <a:pt x="126" y="101"/>
                      <a:pt x="126" y="101"/>
                    </a:cubicBezTo>
                    <a:cubicBezTo>
                      <a:pt x="140" y="144"/>
                      <a:pt x="140" y="144"/>
                      <a:pt x="140" y="144"/>
                    </a:cubicBezTo>
                    <a:cubicBezTo>
                      <a:pt x="141" y="149"/>
                      <a:pt x="140" y="154"/>
                      <a:pt x="135" y="157"/>
                    </a:cubicBezTo>
                    <a:cubicBezTo>
                      <a:pt x="133" y="159"/>
                      <a:pt x="131" y="160"/>
                      <a:pt x="128" y="160"/>
                    </a:cubicBezTo>
                    <a:close/>
                  </a:path>
                </a:pathLst>
              </a:custGeom>
              <a:solidFill>
                <a:srgbClr val="E4F3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237">
                <a:extLst>
                  <a:ext uri="{FF2B5EF4-FFF2-40B4-BE49-F238E27FC236}">
                    <a16:creationId xmlns:a16="http://schemas.microsoft.com/office/drawing/2014/main" id="{705CE452-958C-41D9-A3A3-1CCFB38FC5D9}"/>
                  </a:ext>
                </a:extLst>
              </p:cNvPr>
              <p:cNvSpPr>
                <a:spLocks noEditPoints="1"/>
              </p:cNvSpPr>
              <p:nvPr/>
            </p:nvSpPr>
            <p:spPr bwMode="auto">
              <a:xfrm>
                <a:off x="4638675" y="2141538"/>
                <a:ext cx="158750" cy="150813"/>
              </a:xfrm>
              <a:custGeom>
                <a:avLst/>
                <a:gdLst>
                  <a:gd name="T0" fmla="*/ 97 w 193"/>
                  <a:gd name="T1" fmla="*/ 24 h 184"/>
                  <a:gd name="T2" fmla="*/ 114 w 193"/>
                  <a:gd name="T3" fmla="*/ 76 h 184"/>
                  <a:gd name="T4" fmla="*/ 169 w 193"/>
                  <a:gd name="T5" fmla="*/ 76 h 184"/>
                  <a:gd name="T6" fmla="*/ 125 w 193"/>
                  <a:gd name="T7" fmla="*/ 108 h 184"/>
                  <a:gd name="T8" fmla="*/ 141 w 193"/>
                  <a:gd name="T9" fmla="*/ 160 h 184"/>
                  <a:gd name="T10" fmla="*/ 97 w 193"/>
                  <a:gd name="T11" fmla="*/ 128 h 184"/>
                  <a:gd name="T12" fmla="*/ 53 w 193"/>
                  <a:gd name="T13" fmla="*/ 160 h 184"/>
                  <a:gd name="T14" fmla="*/ 70 w 193"/>
                  <a:gd name="T15" fmla="*/ 108 h 184"/>
                  <a:gd name="T16" fmla="*/ 26 w 193"/>
                  <a:gd name="T17" fmla="*/ 76 h 184"/>
                  <a:gd name="T18" fmla="*/ 81 w 193"/>
                  <a:gd name="T19" fmla="*/ 76 h 184"/>
                  <a:gd name="T20" fmla="*/ 97 w 193"/>
                  <a:gd name="T21" fmla="*/ 24 h 184"/>
                  <a:gd name="T22" fmla="*/ 169 w 193"/>
                  <a:gd name="T23" fmla="*/ 76 h 184"/>
                  <a:gd name="T24" fmla="*/ 169 w 193"/>
                  <a:gd name="T25" fmla="*/ 76 h 184"/>
                  <a:gd name="T26" fmla="*/ 97 w 193"/>
                  <a:gd name="T27" fmla="*/ 0 h 184"/>
                  <a:gd name="T28" fmla="*/ 75 w 193"/>
                  <a:gd name="T29" fmla="*/ 17 h 184"/>
                  <a:gd name="T30" fmla="*/ 63 w 193"/>
                  <a:gd name="T31" fmla="*/ 52 h 184"/>
                  <a:gd name="T32" fmla="*/ 26 w 193"/>
                  <a:gd name="T33" fmla="*/ 52 h 184"/>
                  <a:gd name="T34" fmla="*/ 3 w 193"/>
                  <a:gd name="T35" fmla="*/ 69 h 184"/>
                  <a:gd name="T36" fmla="*/ 12 w 193"/>
                  <a:gd name="T37" fmla="*/ 95 h 184"/>
                  <a:gd name="T38" fmla="*/ 42 w 193"/>
                  <a:gd name="T39" fmla="*/ 117 h 184"/>
                  <a:gd name="T40" fmla="*/ 31 w 193"/>
                  <a:gd name="T41" fmla="*/ 152 h 184"/>
                  <a:gd name="T42" fmla="*/ 39 w 193"/>
                  <a:gd name="T43" fmla="*/ 179 h 184"/>
                  <a:gd name="T44" fmla="*/ 53 w 193"/>
                  <a:gd name="T45" fmla="*/ 184 h 184"/>
                  <a:gd name="T46" fmla="*/ 68 w 193"/>
                  <a:gd name="T47" fmla="*/ 179 h 184"/>
                  <a:gd name="T48" fmla="*/ 97 w 193"/>
                  <a:gd name="T49" fmla="*/ 157 h 184"/>
                  <a:gd name="T50" fmla="*/ 127 w 193"/>
                  <a:gd name="T51" fmla="*/ 179 h 184"/>
                  <a:gd name="T52" fmla="*/ 141 w 193"/>
                  <a:gd name="T53" fmla="*/ 184 h 184"/>
                  <a:gd name="T54" fmla="*/ 155 w 193"/>
                  <a:gd name="T55" fmla="*/ 179 h 184"/>
                  <a:gd name="T56" fmla="*/ 164 w 193"/>
                  <a:gd name="T57" fmla="*/ 152 h 184"/>
                  <a:gd name="T58" fmla="*/ 153 w 193"/>
                  <a:gd name="T59" fmla="*/ 117 h 184"/>
                  <a:gd name="T60" fmla="*/ 182 w 193"/>
                  <a:gd name="T61" fmla="*/ 96 h 184"/>
                  <a:gd name="T62" fmla="*/ 193 w 193"/>
                  <a:gd name="T63" fmla="*/ 76 h 184"/>
                  <a:gd name="T64" fmla="*/ 169 w 193"/>
                  <a:gd name="T65" fmla="*/ 52 h 184"/>
                  <a:gd name="T66" fmla="*/ 169 w 193"/>
                  <a:gd name="T67" fmla="*/ 52 h 184"/>
                  <a:gd name="T68" fmla="*/ 132 w 193"/>
                  <a:gd name="T69" fmla="*/ 52 h 184"/>
                  <a:gd name="T70" fmla="*/ 120 w 193"/>
                  <a:gd name="T71" fmla="*/ 17 h 184"/>
                  <a:gd name="T72" fmla="*/ 97 w 193"/>
                  <a:gd name="T7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 h="184">
                    <a:moveTo>
                      <a:pt x="97" y="24"/>
                    </a:moveTo>
                    <a:cubicBezTo>
                      <a:pt x="114" y="76"/>
                      <a:pt x="114" y="76"/>
                      <a:pt x="114" y="76"/>
                    </a:cubicBezTo>
                    <a:cubicBezTo>
                      <a:pt x="169" y="76"/>
                      <a:pt x="169" y="76"/>
                      <a:pt x="169" y="76"/>
                    </a:cubicBezTo>
                    <a:cubicBezTo>
                      <a:pt x="125" y="108"/>
                      <a:pt x="125" y="108"/>
                      <a:pt x="125" y="108"/>
                    </a:cubicBezTo>
                    <a:cubicBezTo>
                      <a:pt x="141" y="160"/>
                      <a:pt x="141" y="160"/>
                      <a:pt x="141" y="160"/>
                    </a:cubicBezTo>
                    <a:cubicBezTo>
                      <a:pt x="97" y="128"/>
                      <a:pt x="97" y="128"/>
                      <a:pt x="97" y="128"/>
                    </a:cubicBezTo>
                    <a:cubicBezTo>
                      <a:pt x="53" y="160"/>
                      <a:pt x="53" y="160"/>
                      <a:pt x="53" y="160"/>
                    </a:cubicBezTo>
                    <a:cubicBezTo>
                      <a:pt x="70" y="108"/>
                      <a:pt x="70" y="108"/>
                      <a:pt x="70" y="108"/>
                    </a:cubicBezTo>
                    <a:cubicBezTo>
                      <a:pt x="26" y="76"/>
                      <a:pt x="26" y="76"/>
                      <a:pt x="26" y="76"/>
                    </a:cubicBezTo>
                    <a:cubicBezTo>
                      <a:pt x="81" y="76"/>
                      <a:pt x="81" y="76"/>
                      <a:pt x="81" y="76"/>
                    </a:cubicBezTo>
                    <a:cubicBezTo>
                      <a:pt x="97" y="24"/>
                      <a:pt x="97" y="24"/>
                      <a:pt x="97" y="24"/>
                    </a:cubicBezTo>
                    <a:moveTo>
                      <a:pt x="169" y="76"/>
                    </a:moveTo>
                    <a:cubicBezTo>
                      <a:pt x="169" y="76"/>
                      <a:pt x="169" y="76"/>
                      <a:pt x="169" y="76"/>
                    </a:cubicBezTo>
                    <a:moveTo>
                      <a:pt x="97" y="0"/>
                    </a:moveTo>
                    <a:cubicBezTo>
                      <a:pt x="87" y="0"/>
                      <a:pt x="78" y="7"/>
                      <a:pt x="75" y="17"/>
                    </a:cubicBezTo>
                    <a:cubicBezTo>
                      <a:pt x="63" y="52"/>
                      <a:pt x="63" y="52"/>
                      <a:pt x="63" y="52"/>
                    </a:cubicBezTo>
                    <a:cubicBezTo>
                      <a:pt x="26" y="52"/>
                      <a:pt x="26" y="52"/>
                      <a:pt x="26" y="52"/>
                    </a:cubicBezTo>
                    <a:cubicBezTo>
                      <a:pt x="16" y="52"/>
                      <a:pt x="7" y="59"/>
                      <a:pt x="3" y="69"/>
                    </a:cubicBezTo>
                    <a:cubicBezTo>
                      <a:pt x="0" y="78"/>
                      <a:pt x="4" y="89"/>
                      <a:pt x="12" y="95"/>
                    </a:cubicBezTo>
                    <a:cubicBezTo>
                      <a:pt x="42" y="117"/>
                      <a:pt x="42" y="117"/>
                      <a:pt x="42" y="117"/>
                    </a:cubicBezTo>
                    <a:cubicBezTo>
                      <a:pt x="31" y="152"/>
                      <a:pt x="31" y="152"/>
                      <a:pt x="31" y="152"/>
                    </a:cubicBezTo>
                    <a:cubicBezTo>
                      <a:pt x="27" y="162"/>
                      <a:pt x="31" y="173"/>
                      <a:pt x="39" y="179"/>
                    </a:cubicBezTo>
                    <a:cubicBezTo>
                      <a:pt x="44" y="182"/>
                      <a:pt x="48" y="184"/>
                      <a:pt x="53" y="184"/>
                    </a:cubicBezTo>
                    <a:cubicBezTo>
                      <a:pt x="58" y="184"/>
                      <a:pt x="63" y="182"/>
                      <a:pt x="68" y="179"/>
                    </a:cubicBezTo>
                    <a:cubicBezTo>
                      <a:pt x="97" y="157"/>
                      <a:pt x="97" y="157"/>
                      <a:pt x="97" y="157"/>
                    </a:cubicBezTo>
                    <a:cubicBezTo>
                      <a:pt x="127" y="179"/>
                      <a:pt x="127" y="179"/>
                      <a:pt x="127" y="179"/>
                    </a:cubicBezTo>
                    <a:cubicBezTo>
                      <a:pt x="131" y="182"/>
                      <a:pt x="136" y="184"/>
                      <a:pt x="141" y="184"/>
                    </a:cubicBezTo>
                    <a:cubicBezTo>
                      <a:pt x="146" y="184"/>
                      <a:pt x="151" y="182"/>
                      <a:pt x="155" y="179"/>
                    </a:cubicBezTo>
                    <a:cubicBezTo>
                      <a:pt x="164" y="173"/>
                      <a:pt x="167" y="162"/>
                      <a:pt x="164" y="152"/>
                    </a:cubicBezTo>
                    <a:cubicBezTo>
                      <a:pt x="153" y="117"/>
                      <a:pt x="153" y="117"/>
                      <a:pt x="153" y="117"/>
                    </a:cubicBezTo>
                    <a:cubicBezTo>
                      <a:pt x="182" y="96"/>
                      <a:pt x="182" y="96"/>
                      <a:pt x="182" y="96"/>
                    </a:cubicBezTo>
                    <a:cubicBezTo>
                      <a:pt x="188" y="91"/>
                      <a:pt x="193" y="84"/>
                      <a:pt x="193" y="76"/>
                    </a:cubicBezTo>
                    <a:cubicBezTo>
                      <a:pt x="193" y="63"/>
                      <a:pt x="182" y="52"/>
                      <a:pt x="169" y="52"/>
                    </a:cubicBezTo>
                    <a:cubicBezTo>
                      <a:pt x="169" y="52"/>
                      <a:pt x="169" y="52"/>
                      <a:pt x="169" y="52"/>
                    </a:cubicBezTo>
                    <a:cubicBezTo>
                      <a:pt x="132" y="52"/>
                      <a:pt x="132" y="52"/>
                      <a:pt x="132" y="52"/>
                    </a:cubicBezTo>
                    <a:cubicBezTo>
                      <a:pt x="120" y="17"/>
                      <a:pt x="120" y="17"/>
                      <a:pt x="120" y="17"/>
                    </a:cubicBezTo>
                    <a:cubicBezTo>
                      <a:pt x="117" y="7"/>
                      <a:pt x="108" y="0"/>
                      <a:pt x="97" y="0"/>
                    </a:cubicBezTo>
                    <a:close/>
                  </a:path>
                </a:pathLst>
              </a:custGeom>
              <a:solidFill>
                <a:srgbClr val="7AC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63" name="Rectangle 162">
            <a:extLst>
              <a:ext uri="{FF2B5EF4-FFF2-40B4-BE49-F238E27FC236}">
                <a16:creationId xmlns:a16="http://schemas.microsoft.com/office/drawing/2014/main" id="{9A254DE9-97CA-44C9-A491-B8D134E3627F}"/>
              </a:ext>
            </a:extLst>
          </p:cNvPr>
          <p:cNvSpPr/>
          <p:nvPr/>
        </p:nvSpPr>
        <p:spPr>
          <a:xfrm>
            <a:off x="8492063" y="3555141"/>
            <a:ext cx="2918438" cy="276999"/>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NEED MORE SLIDES?</a:t>
            </a:r>
          </a:p>
        </p:txBody>
      </p:sp>
      <p:sp>
        <p:nvSpPr>
          <p:cNvPr id="164" name="Rectangle 163">
            <a:extLst>
              <a:ext uri="{FF2B5EF4-FFF2-40B4-BE49-F238E27FC236}">
                <a16:creationId xmlns:a16="http://schemas.microsoft.com/office/drawing/2014/main" id="{D8FA849A-F78C-4CB5-AF83-DB2B6DE7A67A}"/>
              </a:ext>
            </a:extLst>
          </p:cNvPr>
          <p:cNvSpPr/>
          <p:nvPr/>
        </p:nvSpPr>
        <p:spPr>
          <a:xfrm>
            <a:off x="8797990" y="3876180"/>
            <a:ext cx="2306584" cy="430887"/>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Ask us about special enterprise pricing.</a:t>
            </a:r>
          </a:p>
        </p:txBody>
      </p:sp>
      <p:sp>
        <p:nvSpPr>
          <p:cNvPr id="184" name="Rounded Rectangle 109">
            <a:extLst>
              <a:ext uri="{FF2B5EF4-FFF2-40B4-BE49-F238E27FC236}">
                <a16:creationId xmlns:a16="http://schemas.microsoft.com/office/drawing/2014/main" id="{FE924B0A-EE56-47DC-A2B2-4E228E4169C0}"/>
              </a:ext>
            </a:extLst>
          </p:cNvPr>
          <p:cNvSpPr/>
          <p:nvPr/>
        </p:nvSpPr>
        <p:spPr>
          <a:xfrm>
            <a:off x="10744964" y="6914539"/>
            <a:ext cx="2094671" cy="354514"/>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192" name="Group 191">
            <a:extLst>
              <a:ext uri="{FF2B5EF4-FFF2-40B4-BE49-F238E27FC236}">
                <a16:creationId xmlns:a16="http://schemas.microsoft.com/office/drawing/2014/main" id="{1BED403C-A43A-4B47-BB94-C2A67956DCC4}"/>
              </a:ext>
            </a:extLst>
          </p:cNvPr>
          <p:cNvGrpSpPr/>
          <p:nvPr/>
        </p:nvGrpSpPr>
        <p:grpSpPr>
          <a:xfrm>
            <a:off x="-1" y="4941426"/>
            <a:ext cx="12192000" cy="1909138"/>
            <a:chOff x="0" y="4948862"/>
            <a:chExt cx="12192000" cy="1909138"/>
          </a:xfrm>
        </p:grpSpPr>
        <p:sp>
          <p:nvSpPr>
            <p:cNvPr id="193" name="Freeform: Shape 192">
              <a:extLst>
                <a:ext uri="{FF2B5EF4-FFF2-40B4-BE49-F238E27FC236}">
                  <a16:creationId xmlns:a16="http://schemas.microsoft.com/office/drawing/2014/main" id="{45A43FA3-E6AD-4BC1-8F03-3B181CC959C7}"/>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Shape 193">
              <a:extLst>
                <a:ext uri="{FF2B5EF4-FFF2-40B4-BE49-F238E27FC236}">
                  <a16:creationId xmlns:a16="http://schemas.microsoft.com/office/drawing/2014/main" id="{A3F741A2-2517-494A-868D-957D47F779A9}"/>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5" name="Group 194">
            <a:extLst>
              <a:ext uri="{FF2B5EF4-FFF2-40B4-BE49-F238E27FC236}">
                <a16:creationId xmlns:a16="http://schemas.microsoft.com/office/drawing/2014/main" id="{4FB97BD3-49D0-466F-B87A-29A1676F7288}"/>
              </a:ext>
            </a:extLst>
          </p:cNvPr>
          <p:cNvGrpSpPr/>
          <p:nvPr/>
        </p:nvGrpSpPr>
        <p:grpSpPr>
          <a:xfrm>
            <a:off x="10928712" y="6378850"/>
            <a:ext cx="947290" cy="270982"/>
            <a:chOff x="4103688" y="-2378075"/>
            <a:chExt cx="1309687" cy="374650"/>
          </a:xfrm>
          <a:solidFill>
            <a:srgbClr val="468DC3"/>
          </a:solidFill>
        </p:grpSpPr>
        <p:sp>
          <p:nvSpPr>
            <p:cNvPr id="196" name="Freeform 254">
              <a:extLst>
                <a:ext uri="{FF2B5EF4-FFF2-40B4-BE49-F238E27FC236}">
                  <a16:creationId xmlns:a16="http://schemas.microsoft.com/office/drawing/2014/main" id="{9F837505-F58C-430A-9373-2F8E4B18E6E4}"/>
                </a:ext>
              </a:extLst>
            </p:cNvPr>
            <p:cNvSpPr>
              <a:spLocks/>
            </p:cNvSpPr>
            <p:nvPr/>
          </p:nvSpPr>
          <p:spPr bwMode="auto">
            <a:xfrm>
              <a:off x="4103688" y="-2374900"/>
              <a:ext cx="182562" cy="288925"/>
            </a:xfrm>
            <a:custGeom>
              <a:avLst/>
              <a:gdLst>
                <a:gd name="T0" fmla="*/ 43 w 61"/>
                <a:gd name="T1" fmla="*/ 47 h 95"/>
                <a:gd name="T2" fmla="*/ 30 w 61"/>
                <a:gd name="T3" fmla="*/ 55 h 95"/>
                <a:gd name="T4" fmla="*/ 11 w 61"/>
                <a:gd name="T5" fmla="*/ 83 h 95"/>
                <a:gd name="T6" fmla="*/ 11 w 61"/>
                <a:gd name="T7" fmla="*/ 85 h 95"/>
                <a:gd name="T8" fmla="*/ 57 w 61"/>
                <a:gd name="T9" fmla="*/ 85 h 95"/>
                <a:gd name="T10" fmla="*/ 60 w 61"/>
                <a:gd name="T11" fmla="*/ 88 h 95"/>
                <a:gd name="T12" fmla="*/ 60 w 61"/>
                <a:gd name="T13" fmla="*/ 93 h 95"/>
                <a:gd name="T14" fmla="*/ 57 w 61"/>
                <a:gd name="T15" fmla="*/ 95 h 95"/>
                <a:gd name="T16" fmla="*/ 3 w 61"/>
                <a:gd name="T17" fmla="*/ 95 h 95"/>
                <a:gd name="T18" fmla="*/ 0 w 61"/>
                <a:gd name="T19" fmla="*/ 93 h 95"/>
                <a:gd name="T20" fmla="*/ 0 w 61"/>
                <a:gd name="T21" fmla="*/ 83 h 95"/>
                <a:gd name="T22" fmla="*/ 21 w 61"/>
                <a:gd name="T23" fmla="*/ 49 h 95"/>
                <a:gd name="T24" fmla="*/ 35 w 61"/>
                <a:gd name="T25" fmla="*/ 40 h 95"/>
                <a:gd name="T26" fmla="*/ 49 w 61"/>
                <a:gd name="T27" fmla="*/ 22 h 95"/>
                <a:gd name="T28" fmla="*/ 28 w 61"/>
                <a:gd name="T29" fmla="*/ 9 h 95"/>
                <a:gd name="T30" fmla="*/ 4 w 61"/>
                <a:gd name="T31" fmla="*/ 11 h 95"/>
                <a:gd name="T32" fmla="*/ 3 w 61"/>
                <a:gd name="T33" fmla="*/ 11 h 95"/>
                <a:gd name="T34" fmla="*/ 1 w 61"/>
                <a:gd name="T35" fmla="*/ 9 h 95"/>
                <a:gd name="T36" fmla="*/ 1 w 61"/>
                <a:gd name="T37" fmla="*/ 4 h 95"/>
                <a:gd name="T38" fmla="*/ 4 w 61"/>
                <a:gd name="T39" fmla="*/ 2 h 95"/>
                <a:gd name="T40" fmla="*/ 28 w 61"/>
                <a:gd name="T41" fmla="*/ 0 h 95"/>
                <a:gd name="T42" fmla="*/ 61 w 61"/>
                <a:gd name="T43" fmla="*/ 22 h 95"/>
                <a:gd name="T44" fmla="*/ 43 w 61"/>
                <a:gd name="T45"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5">
                  <a:moveTo>
                    <a:pt x="43" y="47"/>
                  </a:moveTo>
                  <a:cubicBezTo>
                    <a:pt x="30" y="55"/>
                    <a:pt x="30" y="55"/>
                    <a:pt x="30" y="55"/>
                  </a:cubicBezTo>
                  <a:cubicBezTo>
                    <a:pt x="15" y="65"/>
                    <a:pt x="11" y="72"/>
                    <a:pt x="11" y="83"/>
                  </a:cubicBezTo>
                  <a:cubicBezTo>
                    <a:pt x="11" y="85"/>
                    <a:pt x="11" y="85"/>
                    <a:pt x="11" y="85"/>
                  </a:cubicBezTo>
                  <a:cubicBezTo>
                    <a:pt x="57" y="85"/>
                    <a:pt x="57" y="85"/>
                    <a:pt x="57" y="85"/>
                  </a:cubicBezTo>
                  <a:cubicBezTo>
                    <a:pt x="59" y="85"/>
                    <a:pt x="60" y="86"/>
                    <a:pt x="60" y="88"/>
                  </a:cubicBezTo>
                  <a:cubicBezTo>
                    <a:pt x="60" y="93"/>
                    <a:pt x="60" y="93"/>
                    <a:pt x="60" y="93"/>
                  </a:cubicBezTo>
                  <a:cubicBezTo>
                    <a:pt x="60" y="95"/>
                    <a:pt x="59" y="95"/>
                    <a:pt x="57" y="95"/>
                  </a:cubicBezTo>
                  <a:cubicBezTo>
                    <a:pt x="3" y="95"/>
                    <a:pt x="3" y="95"/>
                    <a:pt x="3" y="95"/>
                  </a:cubicBezTo>
                  <a:cubicBezTo>
                    <a:pt x="1" y="95"/>
                    <a:pt x="0" y="94"/>
                    <a:pt x="0" y="93"/>
                  </a:cubicBezTo>
                  <a:cubicBezTo>
                    <a:pt x="0" y="83"/>
                    <a:pt x="0" y="83"/>
                    <a:pt x="0" y="83"/>
                  </a:cubicBezTo>
                  <a:cubicBezTo>
                    <a:pt x="0" y="69"/>
                    <a:pt x="6" y="58"/>
                    <a:pt x="21" y="49"/>
                  </a:cubicBezTo>
                  <a:cubicBezTo>
                    <a:pt x="35" y="40"/>
                    <a:pt x="35" y="40"/>
                    <a:pt x="35" y="40"/>
                  </a:cubicBezTo>
                  <a:cubicBezTo>
                    <a:pt x="46" y="33"/>
                    <a:pt x="49" y="30"/>
                    <a:pt x="49" y="22"/>
                  </a:cubicBezTo>
                  <a:cubicBezTo>
                    <a:pt x="49" y="13"/>
                    <a:pt x="43" y="9"/>
                    <a:pt x="28" y="9"/>
                  </a:cubicBezTo>
                  <a:cubicBezTo>
                    <a:pt x="21" y="9"/>
                    <a:pt x="12" y="10"/>
                    <a:pt x="4" y="11"/>
                  </a:cubicBezTo>
                  <a:cubicBezTo>
                    <a:pt x="4" y="11"/>
                    <a:pt x="4" y="11"/>
                    <a:pt x="3" y="11"/>
                  </a:cubicBezTo>
                  <a:cubicBezTo>
                    <a:pt x="2" y="11"/>
                    <a:pt x="1" y="10"/>
                    <a:pt x="1" y="9"/>
                  </a:cubicBezTo>
                  <a:cubicBezTo>
                    <a:pt x="1" y="4"/>
                    <a:pt x="1" y="4"/>
                    <a:pt x="1" y="4"/>
                  </a:cubicBezTo>
                  <a:cubicBezTo>
                    <a:pt x="1" y="3"/>
                    <a:pt x="3" y="2"/>
                    <a:pt x="4" y="2"/>
                  </a:cubicBezTo>
                  <a:cubicBezTo>
                    <a:pt x="11" y="0"/>
                    <a:pt x="20" y="0"/>
                    <a:pt x="28" y="0"/>
                  </a:cubicBezTo>
                  <a:cubicBezTo>
                    <a:pt x="51" y="0"/>
                    <a:pt x="61" y="7"/>
                    <a:pt x="61" y="22"/>
                  </a:cubicBezTo>
                  <a:cubicBezTo>
                    <a:pt x="61" y="33"/>
                    <a:pt x="56" y="39"/>
                    <a:pt x="4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255">
              <a:extLst>
                <a:ext uri="{FF2B5EF4-FFF2-40B4-BE49-F238E27FC236}">
                  <a16:creationId xmlns:a16="http://schemas.microsoft.com/office/drawing/2014/main" id="{2DC673B3-9598-40CF-9563-7116FF8E1C4E}"/>
                </a:ext>
              </a:extLst>
            </p:cNvPr>
            <p:cNvSpPr>
              <a:spLocks noEditPoints="1"/>
            </p:cNvSpPr>
            <p:nvPr/>
          </p:nvSpPr>
          <p:spPr bwMode="auto">
            <a:xfrm>
              <a:off x="4208463" y="-2308225"/>
              <a:ext cx="211137" cy="304800"/>
            </a:xfrm>
            <a:custGeom>
              <a:avLst/>
              <a:gdLst>
                <a:gd name="T0" fmla="*/ 68 w 70"/>
                <a:gd name="T1" fmla="*/ 74 h 100"/>
                <a:gd name="T2" fmla="*/ 56 w 70"/>
                <a:gd name="T3" fmla="*/ 74 h 100"/>
                <a:gd name="T4" fmla="*/ 56 w 70"/>
                <a:gd name="T5" fmla="*/ 98 h 100"/>
                <a:gd name="T6" fmla="*/ 54 w 70"/>
                <a:gd name="T7" fmla="*/ 100 h 100"/>
                <a:gd name="T8" fmla="*/ 46 w 70"/>
                <a:gd name="T9" fmla="*/ 100 h 100"/>
                <a:gd name="T10" fmla="*/ 44 w 70"/>
                <a:gd name="T11" fmla="*/ 98 h 100"/>
                <a:gd name="T12" fmla="*/ 44 w 70"/>
                <a:gd name="T13" fmla="*/ 74 h 100"/>
                <a:gd name="T14" fmla="*/ 5 w 70"/>
                <a:gd name="T15" fmla="*/ 74 h 100"/>
                <a:gd name="T16" fmla="*/ 0 w 70"/>
                <a:gd name="T17" fmla="*/ 68 h 100"/>
                <a:gd name="T18" fmla="*/ 0 w 70"/>
                <a:gd name="T19" fmla="*/ 63 h 100"/>
                <a:gd name="T20" fmla="*/ 1 w 70"/>
                <a:gd name="T21" fmla="*/ 58 h 100"/>
                <a:gd name="T22" fmla="*/ 41 w 70"/>
                <a:gd name="T23" fmla="*/ 2 h 100"/>
                <a:gd name="T24" fmla="*/ 45 w 70"/>
                <a:gd name="T25" fmla="*/ 0 h 100"/>
                <a:gd name="T26" fmla="*/ 52 w 70"/>
                <a:gd name="T27" fmla="*/ 0 h 100"/>
                <a:gd name="T28" fmla="*/ 56 w 70"/>
                <a:gd name="T29" fmla="*/ 3 h 100"/>
                <a:gd name="T30" fmla="*/ 56 w 70"/>
                <a:gd name="T31" fmla="*/ 63 h 100"/>
                <a:gd name="T32" fmla="*/ 68 w 70"/>
                <a:gd name="T33" fmla="*/ 63 h 100"/>
                <a:gd name="T34" fmla="*/ 70 w 70"/>
                <a:gd name="T35" fmla="*/ 66 h 100"/>
                <a:gd name="T36" fmla="*/ 70 w 70"/>
                <a:gd name="T37" fmla="*/ 71 h 100"/>
                <a:gd name="T38" fmla="*/ 68 w 70"/>
                <a:gd name="T39" fmla="*/ 74 h 100"/>
                <a:gd name="T40" fmla="*/ 44 w 70"/>
                <a:gd name="T41" fmla="*/ 17 h 100"/>
                <a:gd name="T42" fmla="*/ 43 w 70"/>
                <a:gd name="T43" fmla="*/ 17 h 100"/>
                <a:gd name="T44" fmla="*/ 43 w 70"/>
                <a:gd name="T45" fmla="*/ 17 h 100"/>
                <a:gd name="T46" fmla="*/ 42 w 70"/>
                <a:gd name="T47" fmla="*/ 17 h 100"/>
                <a:gd name="T48" fmla="*/ 11 w 70"/>
                <a:gd name="T49" fmla="*/ 61 h 100"/>
                <a:gd name="T50" fmla="*/ 11 w 70"/>
                <a:gd name="T51" fmla="*/ 63 h 100"/>
                <a:gd name="T52" fmla="*/ 12 w 70"/>
                <a:gd name="T53" fmla="*/ 63 h 100"/>
                <a:gd name="T54" fmla="*/ 44 w 70"/>
                <a:gd name="T55" fmla="*/ 63 h 100"/>
                <a:gd name="T56" fmla="*/ 44 w 70"/>
                <a:gd name="T5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 h="100">
                  <a:moveTo>
                    <a:pt x="68" y="74"/>
                  </a:moveTo>
                  <a:cubicBezTo>
                    <a:pt x="56" y="74"/>
                    <a:pt x="56" y="74"/>
                    <a:pt x="56" y="74"/>
                  </a:cubicBezTo>
                  <a:cubicBezTo>
                    <a:pt x="56" y="98"/>
                    <a:pt x="56" y="98"/>
                    <a:pt x="56" y="98"/>
                  </a:cubicBezTo>
                  <a:cubicBezTo>
                    <a:pt x="56" y="99"/>
                    <a:pt x="55" y="100"/>
                    <a:pt x="54" y="100"/>
                  </a:cubicBezTo>
                  <a:cubicBezTo>
                    <a:pt x="46" y="100"/>
                    <a:pt x="46" y="100"/>
                    <a:pt x="46" y="100"/>
                  </a:cubicBezTo>
                  <a:cubicBezTo>
                    <a:pt x="44" y="100"/>
                    <a:pt x="44" y="99"/>
                    <a:pt x="44" y="98"/>
                  </a:cubicBezTo>
                  <a:cubicBezTo>
                    <a:pt x="44" y="74"/>
                    <a:pt x="44" y="74"/>
                    <a:pt x="44" y="74"/>
                  </a:cubicBezTo>
                  <a:cubicBezTo>
                    <a:pt x="5" y="74"/>
                    <a:pt x="5" y="74"/>
                    <a:pt x="5" y="74"/>
                  </a:cubicBezTo>
                  <a:cubicBezTo>
                    <a:pt x="1" y="74"/>
                    <a:pt x="0" y="72"/>
                    <a:pt x="0" y="68"/>
                  </a:cubicBezTo>
                  <a:cubicBezTo>
                    <a:pt x="0" y="63"/>
                    <a:pt x="0" y="63"/>
                    <a:pt x="0" y="63"/>
                  </a:cubicBezTo>
                  <a:cubicBezTo>
                    <a:pt x="0" y="61"/>
                    <a:pt x="0" y="60"/>
                    <a:pt x="1" y="58"/>
                  </a:cubicBezTo>
                  <a:cubicBezTo>
                    <a:pt x="41" y="2"/>
                    <a:pt x="41" y="2"/>
                    <a:pt x="41" y="2"/>
                  </a:cubicBezTo>
                  <a:cubicBezTo>
                    <a:pt x="41" y="1"/>
                    <a:pt x="42" y="0"/>
                    <a:pt x="45" y="0"/>
                  </a:cubicBezTo>
                  <a:cubicBezTo>
                    <a:pt x="52" y="0"/>
                    <a:pt x="52" y="0"/>
                    <a:pt x="52" y="0"/>
                  </a:cubicBezTo>
                  <a:cubicBezTo>
                    <a:pt x="55" y="0"/>
                    <a:pt x="56" y="1"/>
                    <a:pt x="56" y="3"/>
                  </a:cubicBezTo>
                  <a:cubicBezTo>
                    <a:pt x="56" y="63"/>
                    <a:pt x="56" y="63"/>
                    <a:pt x="56" y="63"/>
                  </a:cubicBezTo>
                  <a:cubicBezTo>
                    <a:pt x="68" y="63"/>
                    <a:pt x="68" y="63"/>
                    <a:pt x="68" y="63"/>
                  </a:cubicBezTo>
                  <a:cubicBezTo>
                    <a:pt x="69" y="63"/>
                    <a:pt x="70" y="64"/>
                    <a:pt x="70" y="66"/>
                  </a:cubicBezTo>
                  <a:cubicBezTo>
                    <a:pt x="70" y="71"/>
                    <a:pt x="70" y="71"/>
                    <a:pt x="70" y="71"/>
                  </a:cubicBezTo>
                  <a:cubicBezTo>
                    <a:pt x="70" y="73"/>
                    <a:pt x="69" y="74"/>
                    <a:pt x="68" y="74"/>
                  </a:cubicBezTo>
                  <a:close/>
                  <a:moveTo>
                    <a:pt x="44" y="17"/>
                  </a:moveTo>
                  <a:cubicBezTo>
                    <a:pt x="44" y="17"/>
                    <a:pt x="44" y="17"/>
                    <a:pt x="43" y="17"/>
                  </a:cubicBezTo>
                  <a:cubicBezTo>
                    <a:pt x="43" y="17"/>
                    <a:pt x="43" y="17"/>
                    <a:pt x="43" y="17"/>
                  </a:cubicBezTo>
                  <a:cubicBezTo>
                    <a:pt x="43" y="17"/>
                    <a:pt x="42" y="17"/>
                    <a:pt x="42" y="17"/>
                  </a:cubicBezTo>
                  <a:cubicBezTo>
                    <a:pt x="11" y="61"/>
                    <a:pt x="11" y="61"/>
                    <a:pt x="11" y="61"/>
                  </a:cubicBezTo>
                  <a:cubicBezTo>
                    <a:pt x="11" y="62"/>
                    <a:pt x="11" y="62"/>
                    <a:pt x="11" y="63"/>
                  </a:cubicBezTo>
                  <a:cubicBezTo>
                    <a:pt x="11" y="63"/>
                    <a:pt x="11" y="63"/>
                    <a:pt x="12" y="63"/>
                  </a:cubicBezTo>
                  <a:cubicBezTo>
                    <a:pt x="44" y="63"/>
                    <a:pt x="44" y="63"/>
                    <a:pt x="44" y="63"/>
                  </a:cubicBez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256">
              <a:extLst>
                <a:ext uri="{FF2B5EF4-FFF2-40B4-BE49-F238E27FC236}">
                  <a16:creationId xmlns:a16="http://schemas.microsoft.com/office/drawing/2014/main" id="{64ED6B7C-5205-4F5A-94CF-B178038719EF}"/>
                </a:ext>
              </a:extLst>
            </p:cNvPr>
            <p:cNvSpPr>
              <a:spLocks/>
            </p:cNvSpPr>
            <p:nvPr/>
          </p:nvSpPr>
          <p:spPr bwMode="auto">
            <a:xfrm>
              <a:off x="4645025" y="-2374900"/>
              <a:ext cx="34925" cy="292100"/>
            </a:xfrm>
            <a:custGeom>
              <a:avLst/>
              <a:gdLst>
                <a:gd name="T0" fmla="*/ 11 w 12"/>
                <a:gd name="T1" fmla="*/ 95 h 96"/>
                <a:gd name="T2" fmla="*/ 10 w 12"/>
                <a:gd name="T3" fmla="*/ 96 h 96"/>
                <a:gd name="T4" fmla="*/ 3 w 12"/>
                <a:gd name="T5" fmla="*/ 96 h 96"/>
                <a:gd name="T6" fmla="*/ 1 w 12"/>
                <a:gd name="T7" fmla="*/ 95 h 96"/>
                <a:gd name="T8" fmla="*/ 0 w 12"/>
                <a:gd name="T9" fmla="*/ 93 h 96"/>
                <a:gd name="T10" fmla="*/ 0 w 12"/>
                <a:gd name="T11" fmla="*/ 2 h 96"/>
                <a:gd name="T12" fmla="*/ 1 w 12"/>
                <a:gd name="T13" fmla="*/ 1 h 96"/>
                <a:gd name="T14" fmla="*/ 3 w 12"/>
                <a:gd name="T15" fmla="*/ 0 h 96"/>
                <a:gd name="T16" fmla="*/ 10 w 12"/>
                <a:gd name="T17" fmla="*/ 0 h 96"/>
                <a:gd name="T18" fmla="*/ 11 w 12"/>
                <a:gd name="T19" fmla="*/ 1 h 96"/>
                <a:gd name="T20" fmla="*/ 12 w 12"/>
                <a:gd name="T21" fmla="*/ 2 h 96"/>
                <a:gd name="T22" fmla="*/ 12 w 12"/>
                <a:gd name="T23" fmla="*/ 93 h 96"/>
                <a:gd name="T24" fmla="*/ 11 w 12"/>
                <a:gd name="T25"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6">
                  <a:moveTo>
                    <a:pt x="11" y="95"/>
                  </a:moveTo>
                  <a:cubicBezTo>
                    <a:pt x="11" y="95"/>
                    <a:pt x="10" y="96"/>
                    <a:pt x="10" y="96"/>
                  </a:cubicBezTo>
                  <a:cubicBezTo>
                    <a:pt x="3" y="96"/>
                    <a:pt x="3" y="96"/>
                    <a:pt x="3" y="96"/>
                  </a:cubicBezTo>
                  <a:cubicBezTo>
                    <a:pt x="2" y="96"/>
                    <a:pt x="1" y="95"/>
                    <a:pt x="1" y="95"/>
                  </a:cubicBezTo>
                  <a:cubicBezTo>
                    <a:pt x="0" y="94"/>
                    <a:pt x="0" y="94"/>
                    <a:pt x="0" y="93"/>
                  </a:cubicBezTo>
                  <a:cubicBezTo>
                    <a:pt x="0" y="2"/>
                    <a:pt x="0" y="2"/>
                    <a:pt x="0" y="2"/>
                  </a:cubicBezTo>
                  <a:cubicBezTo>
                    <a:pt x="0" y="2"/>
                    <a:pt x="0" y="1"/>
                    <a:pt x="1" y="1"/>
                  </a:cubicBezTo>
                  <a:cubicBezTo>
                    <a:pt x="1" y="0"/>
                    <a:pt x="2" y="0"/>
                    <a:pt x="3" y="0"/>
                  </a:cubicBezTo>
                  <a:cubicBezTo>
                    <a:pt x="10" y="0"/>
                    <a:pt x="10" y="0"/>
                    <a:pt x="10" y="0"/>
                  </a:cubicBezTo>
                  <a:cubicBezTo>
                    <a:pt x="10" y="0"/>
                    <a:pt x="11" y="0"/>
                    <a:pt x="11" y="1"/>
                  </a:cubicBezTo>
                  <a:cubicBezTo>
                    <a:pt x="12" y="1"/>
                    <a:pt x="12" y="2"/>
                    <a:pt x="12" y="2"/>
                  </a:cubicBezTo>
                  <a:cubicBezTo>
                    <a:pt x="12" y="93"/>
                    <a:pt x="12" y="93"/>
                    <a:pt x="12" y="93"/>
                  </a:cubicBezTo>
                  <a:cubicBezTo>
                    <a:pt x="12" y="94"/>
                    <a:pt x="12" y="94"/>
                    <a:pt x="1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257">
              <a:extLst>
                <a:ext uri="{FF2B5EF4-FFF2-40B4-BE49-F238E27FC236}">
                  <a16:creationId xmlns:a16="http://schemas.microsoft.com/office/drawing/2014/main" id="{502E8264-1E78-402C-8062-41904FCF686D}"/>
                </a:ext>
              </a:extLst>
            </p:cNvPr>
            <p:cNvSpPr>
              <a:spLocks noEditPoints="1"/>
            </p:cNvSpPr>
            <p:nvPr/>
          </p:nvSpPr>
          <p:spPr bwMode="auto">
            <a:xfrm>
              <a:off x="4743450" y="-2378075"/>
              <a:ext cx="36512" cy="295275"/>
            </a:xfrm>
            <a:custGeom>
              <a:avLst/>
              <a:gdLst>
                <a:gd name="T0" fmla="*/ 11 w 12"/>
                <a:gd name="T1" fmla="*/ 15 h 97"/>
                <a:gd name="T2" fmla="*/ 9 w 12"/>
                <a:gd name="T3" fmla="*/ 15 h 97"/>
                <a:gd name="T4" fmla="*/ 3 w 12"/>
                <a:gd name="T5" fmla="*/ 15 h 97"/>
                <a:gd name="T6" fmla="*/ 1 w 12"/>
                <a:gd name="T7" fmla="*/ 15 h 97"/>
                <a:gd name="T8" fmla="*/ 0 w 12"/>
                <a:gd name="T9" fmla="*/ 13 h 97"/>
                <a:gd name="T10" fmla="*/ 0 w 12"/>
                <a:gd name="T11" fmla="*/ 3 h 97"/>
                <a:gd name="T12" fmla="*/ 1 w 12"/>
                <a:gd name="T13" fmla="*/ 1 h 97"/>
                <a:gd name="T14" fmla="*/ 3 w 12"/>
                <a:gd name="T15" fmla="*/ 0 h 97"/>
                <a:gd name="T16" fmla="*/ 9 w 12"/>
                <a:gd name="T17" fmla="*/ 0 h 97"/>
                <a:gd name="T18" fmla="*/ 11 w 12"/>
                <a:gd name="T19" fmla="*/ 1 h 97"/>
                <a:gd name="T20" fmla="*/ 12 w 12"/>
                <a:gd name="T21" fmla="*/ 3 h 97"/>
                <a:gd name="T22" fmla="*/ 12 w 12"/>
                <a:gd name="T23" fmla="*/ 13 h 97"/>
                <a:gd name="T24" fmla="*/ 11 w 12"/>
                <a:gd name="T25" fmla="*/ 15 h 97"/>
                <a:gd name="T26" fmla="*/ 11 w 12"/>
                <a:gd name="T27" fmla="*/ 96 h 97"/>
                <a:gd name="T28" fmla="*/ 9 w 12"/>
                <a:gd name="T29" fmla="*/ 97 h 97"/>
                <a:gd name="T30" fmla="*/ 3 w 12"/>
                <a:gd name="T31" fmla="*/ 97 h 97"/>
                <a:gd name="T32" fmla="*/ 1 w 12"/>
                <a:gd name="T33" fmla="*/ 96 h 97"/>
                <a:gd name="T34" fmla="*/ 0 w 12"/>
                <a:gd name="T35" fmla="*/ 94 h 97"/>
                <a:gd name="T36" fmla="*/ 0 w 12"/>
                <a:gd name="T37" fmla="*/ 29 h 97"/>
                <a:gd name="T38" fmla="*/ 1 w 12"/>
                <a:gd name="T39" fmla="*/ 27 h 97"/>
                <a:gd name="T40" fmla="*/ 3 w 12"/>
                <a:gd name="T41" fmla="*/ 27 h 97"/>
                <a:gd name="T42" fmla="*/ 9 w 12"/>
                <a:gd name="T43" fmla="*/ 27 h 97"/>
                <a:gd name="T44" fmla="*/ 11 w 12"/>
                <a:gd name="T45" fmla="*/ 27 h 97"/>
                <a:gd name="T46" fmla="*/ 12 w 12"/>
                <a:gd name="T47" fmla="*/ 29 h 97"/>
                <a:gd name="T48" fmla="*/ 12 w 12"/>
                <a:gd name="T49" fmla="*/ 94 h 97"/>
                <a:gd name="T50" fmla="*/ 11 w 12"/>
                <a:gd name="T51"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97">
                  <a:moveTo>
                    <a:pt x="11" y="15"/>
                  </a:moveTo>
                  <a:cubicBezTo>
                    <a:pt x="11" y="15"/>
                    <a:pt x="10" y="15"/>
                    <a:pt x="9" y="15"/>
                  </a:cubicBezTo>
                  <a:cubicBezTo>
                    <a:pt x="3" y="15"/>
                    <a:pt x="3" y="15"/>
                    <a:pt x="3" y="15"/>
                  </a:cubicBezTo>
                  <a:cubicBezTo>
                    <a:pt x="2" y="15"/>
                    <a:pt x="1" y="15"/>
                    <a:pt x="1" y="15"/>
                  </a:cubicBezTo>
                  <a:cubicBezTo>
                    <a:pt x="0" y="14"/>
                    <a:pt x="0" y="14"/>
                    <a:pt x="0" y="13"/>
                  </a:cubicBezTo>
                  <a:cubicBezTo>
                    <a:pt x="0" y="3"/>
                    <a:pt x="0" y="3"/>
                    <a:pt x="0" y="3"/>
                  </a:cubicBezTo>
                  <a:cubicBezTo>
                    <a:pt x="0" y="2"/>
                    <a:pt x="0" y="1"/>
                    <a:pt x="1" y="1"/>
                  </a:cubicBezTo>
                  <a:cubicBezTo>
                    <a:pt x="1" y="0"/>
                    <a:pt x="2" y="0"/>
                    <a:pt x="3" y="0"/>
                  </a:cubicBezTo>
                  <a:cubicBezTo>
                    <a:pt x="9" y="0"/>
                    <a:pt x="9" y="0"/>
                    <a:pt x="9" y="0"/>
                  </a:cubicBezTo>
                  <a:cubicBezTo>
                    <a:pt x="10" y="0"/>
                    <a:pt x="11" y="0"/>
                    <a:pt x="11" y="1"/>
                  </a:cubicBezTo>
                  <a:cubicBezTo>
                    <a:pt x="12" y="1"/>
                    <a:pt x="12" y="2"/>
                    <a:pt x="12" y="3"/>
                  </a:cubicBezTo>
                  <a:cubicBezTo>
                    <a:pt x="12" y="13"/>
                    <a:pt x="12" y="13"/>
                    <a:pt x="12" y="13"/>
                  </a:cubicBezTo>
                  <a:cubicBezTo>
                    <a:pt x="12" y="14"/>
                    <a:pt x="12" y="14"/>
                    <a:pt x="11" y="15"/>
                  </a:cubicBezTo>
                  <a:close/>
                  <a:moveTo>
                    <a:pt x="11" y="96"/>
                  </a:moveTo>
                  <a:cubicBezTo>
                    <a:pt x="10" y="96"/>
                    <a:pt x="10" y="97"/>
                    <a:pt x="9" y="97"/>
                  </a:cubicBezTo>
                  <a:cubicBezTo>
                    <a:pt x="3" y="97"/>
                    <a:pt x="3" y="97"/>
                    <a:pt x="3" y="97"/>
                  </a:cubicBezTo>
                  <a:cubicBezTo>
                    <a:pt x="2" y="97"/>
                    <a:pt x="1" y="96"/>
                    <a:pt x="1" y="96"/>
                  </a:cubicBezTo>
                  <a:cubicBezTo>
                    <a:pt x="0" y="95"/>
                    <a:pt x="0" y="95"/>
                    <a:pt x="0" y="94"/>
                  </a:cubicBezTo>
                  <a:cubicBezTo>
                    <a:pt x="0" y="29"/>
                    <a:pt x="0" y="29"/>
                    <a:pt x="0" y="29"/>
                  </a:cubicBezTo>
                  <a:cubicBezTo>
                    <a:pt x="0" y="28"/>
                    <a:pt x="0" y="28"/>
                    <a:pt x="1" y="27"/>
                  </a:cubicBezTo>
                  <a:cubicBezTo>
                    <a:pt x="1" y="27"/>
                    <a:pt x="2" y="27"/>
                    <a:pt x="3" y="27"/>
                  </a:cubicBezTo>
                  <a:cubicBezTo>
                    <a:pt x="9" y="27"/>
                    <a:pt x="9" y="27"/>
                    <a:pt x="9" y="27"/>
                  </a:cubicBezTo>
                  <a:cubicBezTo>
                    <a:pt x="10" y="27"/>
                    <a:pt x="10" y="27"/>
                    <a:pt x="11" y="27"/>
                  </a:cubicBezTo>
                  <a:cubicBezTo>
                    <a:pt x="11" y="28"/>
                    <a:pt x="12" y="28"/>
                    <a:pt x="12" y="29"/>
                  </a:cubicBezTo>
                  <a:cubicBezTo>
                    <a:pt x="12" y="94"/>
                    <a:pt x="12" y="94"/>
                    <a:pt x="12" y="94"/>
                  </a:cubicBezTo>
                  <a:cubicBezTo>
                    <a:pt x="12" y="95"/>
                    <a:pt x="11" y="95"/>
                    <a:pt x="1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258">
              <a:extLst>
                <a:ext uri="{FF2B5EF4-FFF2-40B4-BE49-F238E27FC236}">
                  <a16:creationId xmlns:a16="http://schemas.microsoft.com/office/drawing/2014/main" id="{647CC5EE-ED70-4B94-9CC8-79E89A435563}"/>
                </a:ext>
              </a:extLst>
            </p:cNvPr>
            <p:cNvSpPr>
              <a:spLocks noEditPoints="1"/>
            </p:cNvSpPr>
            <p:nvPr/>
          </p:nvSpPr>
          <p:spPr bwMode="auto">
            <a:xfrm>
              <a:off x="4830763" y="-2374900"/>
              <a:ext cx="171450" cy="295275"/>
            </a:xfrm>
            <a:custGeom>
              <a:avLst/>
              <a:gdLst>
                <a:gd name="T0" fmla="*/ 56 w 57"/>
                <a:gd name="T1" fmla="*/ 93 h 97"/>
                <a:gd name="T2" fmla="*/ 54 w 57"/>
                <a:gd name="T3" fmla="*/ 94 h 97"/>
                <a:gd name="T4" fmla="*/ 41 w 57"/>
                <a:gd name="T5" fmla="*/ 96 h 97"/>
                <a:gd name="T6" fmla="*/ 29 w 57"/>
                <a:gd name="T7" fmla="*/ 97 h 97"/>
                <a:gd name="T8" fmla="*/ 16 w 57"/>
                <a:gd name="T9" fmla="*/ 94 h 97"/>
                <a:gd name="T10" fmla="*/ 7 w 57"/>
                <a:gd name="T11" fmla="*/ 88 h 97"/>
                <a:gd name="T12" fmla="*/ 2 w 57"/>
                <a:gd name="T13" fmla="*/ 78 h 97"/>
                <a:gd name="T14" fmla="*/ 0 w 57"/>
                <a:gd name="T15" fmla="*/ 65 h 97"/>
                <a:gd name="T16" fmla="*/ 0 w 57"/>
                <a:gd name="T17" fmla="*/ 56 h 97"/>
                <a:gd name="T18" fmla="*/ 7 w 57"/>
                <a:gd name="T19" fmla="*/ 33 h 97"/>
                <a:gd name="T20" fmla="*/ 29 w 57"/>
                <a:gd name="T21" fmla="*/ 25 h 97"/>
                <a:gd name="T22" fmla="*/ 37 w 57"/>
                <a:gd name="T23" fmla="*/ 25 h 97"/>
                <a:gd name="T24" fmla="*/ 45 w 57"/>
                <a:gd name="T25" fmla="*/ 26 h 97"/>
                <a:gd name="T26" fmla="*/ 45 w 57"/>
                <a:gd name="T27" fmla="*/ 2 h 97"/>
                <a:gd name="T28" fmla="*/ 46 w 57"/>
                <a:gd name="T29" fmla="*/ 1 h 97"/>
                <a:gd name="T30" fmla="*/ 47 w 57"/>
                <a:gd name="T31" fmla="*/ 0 h 97"/>
                <a:gd name="T32" fmla="*/ 54 w 57"/>
                <a:gd name="T33" fmla="*/ 0 h 97"/>
                <a:gd name="T34" fmla="*/ 56 w 57"/>
                <a:gd name="T35" fmla="*/ 1 h 97"/>
                <a:gd name="T36" fmla="*/ 57 w 57"/>
                <a:gd name="T37" fmla="*/ 2 h 97"/>
                <a:gd name="T38" fmla="*/ 57 w 57"/>
                <a:gd name="T39" fmla="*/ 91 h 97"/>
                <a:gd name="T40" fmla="*/ 56 w 57"/>
                <a:gd name="T41" fmla="*/ 93 h 97"/>
                <a:gd name="T42" fmla="*/ 45 w 57"/>
                <a:gd name="T43" fmla="*/ 35 h 97"/>
                <a:gd name="T44" fmla="*/ 37 w 57"/>
                <a:gd name="T45" fmla="*/ 35 h 97"/>
                <a:gd name="T46" fmla="*/ 29 w 57"/>
                <a:gd name="T47" fmla="*/ 35 h 97"/>
                <a:gd name="T48" fmla="*/ 16 w 57"/>
                <a:gd name="T49" fmla="*/ 40 h 97"/>
                <a:gd name="T50" fmla="*/ 12 w 57"/>
                <a:gd name="T51" fmla="*/ 56 h 97"/>
                <a:gd name="T52" fmla="*/ 12 w 57"/>
                <a:gd name="T53" fmla="*/ 65 h 97"/>
                <a:gd name="T54" fmla="*/ 16 w 57"/>
                <a:gd name="T55" fmla="*/ 81 h 97"/>
                <a:gd name="T56" fmla="*/ 29 w 57"/>
                <a:gd name="T57" fmla="*/ 87 h 97"/>
                <a:gd name="T58" fmla="*/ 37 w 57"/>
                <a:gd name="T59" fmla="*/ 86 h 97"/>
                <a:gd name="T60" fmla="*/ 45 w 57"/>
                <a:gd name="T61" fmla="*/ 86 h 97"/>
                <a:gd name="T62" fmla="*/ 45 w 57"/>
                <a:gd name="T63"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97">
                  <a:moveTo>
                    <a:pt x="56" y="93"/>
                  </a:moveTo>
                  <a:cubicBezTo>
                    <a:pt x="56" y="94"/>
                    <a:pt x="55" y="94"/>
                    <a:pt x="54" y="94"/>
                  </a:cubicBezTo>
                  <a:cubicBezTo>
                    <a:pt x="50" y="95"/>
                    <a:pt x="46" y="96"/>
                    <a:pt x="41" y="96"/>
                  </a:cubicBezTo>
                  <a:cubicBezTo>
                    <a:pt x="37" y="96"/>
                    <a:pt x="33" y="97"/>
                    <a:pt x="29" y="97"/>
                  </a:cubicBezTo>
                  <a:cubicBezTo>
                    <a:pt x="24" y="97"/>
                    <a:pt x="20" y="96"/>
                    <a:pt x="16" y="94"/>
                  </a:cubicBezTo>
                  <a:cubicBezTo>
                    <a:pt x="13" y="93"/>
                    <a:pt x="10" y="91"/>
                    <a:pt x="7" y="88"/>
                  </a:cubicBezTo>
                  <a:cubicBezTo>
                    <a:pt x="5" y="85"/>
                    <a:pt x="3" y="82"/>
                    <a:pt x="2" y="78"/>
                  </a:cubicBezTo>
                  <a:cubicBezTo>
                    <a:pt x="1" y="74"/>
                    <a:pt x="0" y="70"/>
                    <a:pt x="0" y="65"/>
                  </a:cubicBezTo>
                  <a:cubicBezTo>
                    <a:pt x="0" y="56"/>
                    <a:pt x="0" y="56"/>
                    <a:pt x="0" y="56"/>
                  </a:cubicBezTo>
                  <a:cubicBezTo>
                    <a:pt x="0" y="46"/>
                    <a:pt x="3" y="38"/>
                    <a:pt x="7" y="33"/>
                  </a:cubicBezTo>
                  <a:cubicBezTo>
                    <a:pt x="12" y="27"/>
                    <a:pt x="19" y="25"/>
                    <a:pt x="29" y="25"/>
                  </a:cubicBezTo>
                  <a:cubicBezTo>
                    <a:pt x="31" y="25"/>
                    <a:pt x="34" y="25"/>
                    <a:pt x="37" y="25"/>
                  </a:cubicBezTo>
                  <a:cubicBezTo>
                    <a:pt x="40" y="25"/>
                    <a:pt x="42" y="26"/>
                    <a:pt x="45" y="26"/>
                  </a:cubicBezTo>
                  <a:cubicBezTo>
                    <a:pt x="45" y="2"/>
                    <a:pt x="45" y="2"/>
                    <a:pt x="45" y="2"/>
                  </a:cubicBezTo>
                  <a:cubicBezTo>
                    <a:pt x="45" y="2"/>
                    <a:pt x="45" y="1"/>
                    <a:pt x="46" y="1"/>
                  </a:cubicBezTo>
                  <a:cubicBezTo>
                    <a:pt x="46" y="0"/>
                    <a:pt x="47" y="0"/>
                    <a:pt x="47" y="0"/>
                  </a:cubicBezTo>
                  <a:cubicBezTo>
                    <a:pt x="54" y="0"/>
                    <a:pt x="54" y="0"/>
                    <a:pt x="54" y="0"/>
                  </a:cubicBezTo>
                  <a:cubicBezTo>
                    <a:pt x="55" y="0"/>
                    <a:pt x="56" y="0"/>
                    <a:pt x="56" y="1"/>
                  </a:cubicBezTo>
                  <a:cubicBezTo>
                    <a:pt x="56" y="1"/>
                    <a:pt x="57" y="2"/>
                    <a:pt x="57" y="2"/>
                  </a:cubicBezTo>
                  <a:cubicBezTo>
                    <a:pt x="57" y="91"/>
                    <a:pt x="57" y="91"/>
                    <a:pt x="57" y="91"/>
                  </a:cubicBezTo>
                  <a:cubicBezTo>
                    <a:pt x="57" y="92"/>
                    <a:pt x="57" y="93"/>
                    <a:pt x="56" y="93"/>
                  </a:cubicBezTo>
                  <a:close/>
                  <a:moveTo>
                    <a:pt x="45" y="35"/>
                  </a:moveTo>
                  <a:cubicBezTo>
                    <a:pt x="43" y="35"/>
                    <a:pt x="40" y="35"/>
                    <a:pt x="37" y="35"/>
                  </a:cubicBezTo>
                  <a:cubicBezTo>
                    <a:pt x="34" y="35"/>
                    <a:pt x="31" y="35"/>
                    <a:pt x="29" y="35"/>
                  </a:cubicBezTo>
                  <a:cubicBezTo>
                    <a:pt x="23" y="35"/>
                    <a:pt x="18" y="36"/>
                    <a:pt x="16" y="40"/>
                  </a:cubicBezTo>
                  <a:cubicBezTo>
                    <a:pt x="13" y="44"/>
                    <a:pt x="12" y="49"/>
                    <a:pt x="12" y="56"/>
                  </a:cubicBezTo>
                  <a:cubicBezTo>
                    <a:pt x="12" y="65"/>
                    <a:pt x="12" y="65"/>
                    <a:pt x="12" y="65"/>
                  </a:cubicBezTo>
                  <a:cubicBezTo>
                    <a:pt x="12" y="72"/>
                    <a:pt x="13" y="77"/>
                    <a:pt x="16" y="81"/>
                  </a:cubicBezTo>
                  <a:cubicBezTo>
                    <a:pt x="18" y="85"/>
                    <a:pt x="23" y="87"/>
                    <a:pt x="29" y="87"/>
                  </a:cubicBezTo>
                  <a:cubicBezTo>
                    <a:pt x="32" y="87"/>
                    <a:pt x="34" y="87"/>
                    <a:pt x="37" y="86"/>
                  </a:cubicBezTo>
                  <a:cubicBezTo>
                    <a:pt x="40" y="86"/>
                    <a:pt x="43" y="86"/>
                    <a:pt x="45" y="86"/>
                  </a:cubicBez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259">
              <a:extLst>
                <a:ext uri="{FF2B5EF4-FFF2-40B4-BE49-F238E27FC236}">
                  <a16:creationId xmlns:a16="http://schemas.microsoft.com/office/drawing/2014/main" id="{5DCFFD9E-33C1-45DE-88EB-C3794A3154A4}"/>
                </a:ext>
              </a:extLst>
            </p:cNvPr>
            <p:cNvSpPr>
              <a:spLocks noEditPoints="1"/>
            </p:cNvSpPr>
            <p:nvPr/>
          </p:nvSpPr>
          <p:spPr bwMode="auto">
            <a:xfrm>
              <a:off x="5046663" y="-2298700"/>
              <a:ext cx="180975" cy="219075"/>
            </a:xfrm>
            <a:custGeom>
              <a:avLst/>
              <a:gdLst>
                <a:gd name="T0" fmla="*/ 57 w 60"/>
                <a:gd name="T1" fmla="*/ 39 h 72"/>
                <a:gd name="T2" fmla="*/ 12 w 60"/>
                <a:gd name="T3" fmla="*/ 39 h 72"/>
                <a:gd name="T4" fmla="*/ 12 w 60"/>
                <a:gd name="T5" fmla="*/ 41 h 72"/>
                <a:gd name="T6" fmla="*/ 17 w 60"/>
                <a:gd name="T7" fmla="*/ 57 h 72"/>
                <a:gd name="T8" fmla="*/ 31 w 60"/>
                <a:gd name="T9" fmla="*/ 62 h 72"/>
                <a:gd name="T10" fmla="*/ 43 w 60"/>
                <a:gd name="T11" fmla="*/ 61 h 72"/>
                <a:gd name="T12" fmla="*/ 55 w 60"/>
                <a:gd name="T13" fmla="*/ 60 h 72"/>
                <a:gd name="T14" fmla="*/ 55 w 60"/>
                <a:gd name="T15" fmla="*/ 60 h 72"/>
                <a:gd name="T16" fmla="*/ 57 w 60"/>
                <a:gd name="T17" fmla="*/ 61 h 72"/>
                <a:gd name="T18" fmla="*/ 57 w 60"/>
                <a:gd name="T19" fmla="*/ 62 h 72"/>
                <a:gd name="T20" fmla="*/ 57 w 60"/>
                <a:gd name="T21" fmla="*/ 66 h 72"/>
                <a:gd name="T22" fmla="*/ 57 w 60"/>
                <a:gd name="T23" fmla="*/ 68 h 72"/>
                <a:gd name="T24" fmla="*/ 55 w 60"/>
                <a:gd name="T25" fmla="*/ 69 h 72"/>
                <a:gd name="T26" fmla="*/ 43 w 60"/>
                <a:gd name="T27" fmla="*/ 71 h 72"/>
                <a:gd name="T28" fmla="*/ 31 w 60"/>
                <a:gd name="T29" fmla="*/ 72 h 72"/>
                <a:gd name="T30" fmla="*/ 20 w 60"/>
                <a:gd name="T31" fmla="*/ 70 h 72"/>
                <a:gd name="T32" fmla="*/ 10 w 60"/>
                <a:gd name="T33" fmla="*/ 65 h 72"/>
                <a:gd name="T34" fmla="*/ 3 w 60"/>
                <a:gd name="T35" fmla="*/ 56 h 72"/>
                <a:gd name="T36" fmla="*/ 0 w 60"/>
                <a:gd name="T37" fmla="*/ 41 h 72"/>
                <a:gd name="T38" fmla="*/ 0 w 60"/>
                <a:gd name="T39" fmla="*/ 29 h 72"/>
                <a:gd name="T40" fmla="*/ 8 w 60"/>
                <a:gd name="T41" fmla="*/ 8 h 72"/>
                <a:gd name="T42" fmla="*/ 30 w 60"/>
                <a:gd name="T43" fmla="*/ 0 h 72"/>
                <a:gd name="T44" fmla="*/ 43 w 60"/>
                <a:gd name="T45" fmla="*/ 2 h 72"/>
                <a:gd name="T46" fmla="*/ 52 w 60"/>
                <a:gd name="T47" fmla="*/ 8 h 72"/>
                <a:gd name="T48" fmla="*/ 58 w 60"/>
                <a:gd name="T49" fmla="*/ 17 h 72"/>
                <a:gd name="T50" fmla="*/ 60 w 60"/>
                <a:gd name="T51" fmla="*/ 29 h 72"/>
                <a:gd name="T52" fmla="*/ 60 w 60"/>
                <a:gd name="T53" fmla="*/ 36 h 72"/>
                <a:gd name="T54" fmla="*/ 57 w 60"/>
                <a:gd name="T55" fmla="*/ 39 h 72"/>
                <a:gd name="T56" fmla="*/ 48 w 60"/>
                <a:gd name="T57" fmla="*/ 29 h 72"/>
                <a:gd name="T58" fmla="*/ 43 w 60"/>
                <a:gd name="T59" fmla="*/ 14 h 72"/>
                <a:gd name="T60" fmla="*/ 30 w 60"/>
                <a:gd name="T61" fmla="*/ 10 h 72"/>
                <a:gd name="T62" fmla="*/ 17 w 60"/>
                <a:gd name="T63" fmla="*/ 14 h 72"/>
                <a:gd name="T64" fmla="*/ 12 w 60"/>
                <a:gd name="T65" fmla="*/ 29 h 72"/>
                <a:gd name="T66" fmla="*/ 12 w 60"/>
                <a:gd name="T67" fmla="*/ 31 h 72"/>
                <a:gd name="T68" fmla="*/ 48 w 60"/>
                <a:gd name="T69" fmla="*/ 31 h 72"/>
                <a:gd name="T70" fmla="*/ 48 w 60"/>
                <a:gd name="T71"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2">
                  <a:moveTo>
                    <a:pt x="57" y="39"/>
                  </a:moveTo>
                  <a:cubicBezTo>
                    <a:pt x="12" y="39"/>
                    <a:pt x="12" y="39"/>
                    <a:pt x="12" y="39"/>
                  </a:cubicBezTo>
                  <a:cubicBezTo>
                    <a:pt x="12" y="41"/>
                    <a:pt x="12" y="41"/>
                    <a:pt x="12" y="41"/>
                  </a:cubicBezTo>
                  <a:cubicBezTo>
                    <a:pt x="12" y="49"/>
                    <a:pt x="14" y="54"/>
                    <a:pt x="17" y="57"/>
                  </a:cubicBezTo>
                  <a:cubicBezTo>
                    <a:pt x="20" y="60"/>
                    <a:pt x="25" y="62"/>
                    <a:pt x="31" y="62"/>
                  </a:cubicBezTo>
                  <a:cubicBezTo>
                    <a:pt x="35" y="62"/>
                    <a:pt x="39" y="62"/>
                    <a:pt x="43" y="61"/>
                  </a:cubicBezTo>
                  <a:cubicBezTo>
                    <a:pt x="48" y="61"/>
                    <a:pt x="51" y="61"/>
                    <a:pt x="55" y="60"/>
                  </a:cubicBezTo>
                  <a:cubicBezTo>
                    <a:pt x="55" y="60"/>
                    <a:pt x="55" y="60"/>
                    <a:pt x="55" y="60"/>
                  </a:cubicBezTo>
                  <a:cubicBezTo>
                    <a:pt x="56" y="60"/>
                    <a:pt x="56" y="60"/>
                    <a:pt x="57" y="61"/>
                  </a:cubicBezTo>
                  <a:cubicBezTo>
                    <a:pt x="57" y="61"/>
                    <a:pt x="57" y="61"/>
                    <a:pt x="57" y="62"/>
                  </a:cubicBezTo>
                  <a:cubicBezTo>
                    <a:pt x="57" y="66"/>
                    <a:pt x="57" y="66"/>
                    <a:pt x="57" y="66"/>
                  </a:cubicBezTo>
                  <a:cubicBezTo>
                    <a:pt x="57" y="67"/>
                    <a:pt x="57" y="68"/>
                    <a:pt x="57" y="68"/>
                  </a:cubicBezTo>
                  <a:cubicBezTo>
                    <a:pt x="56" y="69"/>
                    <a:pt x="56" y="69"/>
                    <a:pt x="55" y="69"/>
                  </a:cubicBezTo>
                  <a:cubicBezTo>
                    <a:pt x="51" y="70"/>
                    <a:pt x="47" y="71"/>
                    <a:pt x="43" y="71"/>
                  </a:cubicBezTo>
                  <a:cubicBezTo>
                    <a:pt x="39" y="71"/>
                    <a:pt x="35" y="72"/>
                    <a:pt x="31" y="72"/>
                  </a:cubicBezTo>
                  <a:cubicBezTo>
                    <a:pt x="27" y="72"/>
                    <a:pt x="23" y="71"/>
                    <a:pt x="20" y="70"/>
                  </a:cubicBezTo>
                  <a:cubicBezTo>
                    <a:pt x="16" y="69"/>
                    <a:pt x="13" y="67"/>
                    <a:pt x="10" y="65"/>
                  </a:cubicBezTo>
                  <a:cubicBezTo>
                    <a:pt x="7" y="63"/>
                    <a:pt x="5" y="60"/>
                    <a:pt x="3" y="56"/>
                  </a:cubicBezTo>
                  <a:cubicBezTo>
                    <a:pt x="1" y="52"/>
                    <a:pt x="0" y="47"/>
                    <a:pt x="0" y="41"/>
                  </a:cubicBezTo>
                  <a:cubicBezTo>
                    <a:pt x="0" y="29"/>
                    <a:pt x="0" y="29"/>
                    <a:pt x="0" y="29"/>
                  </a:cubicBezTo>
                  <a:cubicBezTo>
                    <a:pt x="0" y="20"/>
                    <a:pt x="3" y="13"/>
                    <a:pt x="8" y="8"/>
                  </a:cubicBezTo>
                  <a:cubicBezTo>
                    <a:pt x="13" y="2"/>
                    <a:pt x="20" y="0"/>
                    <a:pt x="30" y="0"/>
                  </a:cubicBezTo>
                  <a:cubicBezTo>
                    <a:pt x="35" y="0"/>
                    <a:pt x="39" y="0"/>
                    <a:pt x="43" y="2"/>
                  </a:cubicBezTo>
                  <a:cubicBezTo>
                    <a:pt x="47" y="3"/>
                    <a:pt x="50" y="5"/>
                    <a:pt x="52" y="8"/>
                  </a:cubicBezTo>
                  <a:cubicBezTo>
                    <a:pt x="55" y="10"/>
                    <a:pt x="56" y="14"/>
                    <a:pt x="58" y="17"/>
                  </a:cubicBezTo>
                  <a:cubicBezTo>
                    <a:pt x="59" y="21"/>
                    <a:pt x="60" y="25"/>
                    <a:pt x="60" y="29"/>
                  </a:cubicBezTo>
                  <a:cubicBezTo>
                    <a:pt x="60" y="36"/>
                    <a:pt x="60" y="36"/>
                    <a:pt x="60" y="36"/>
                  </a:cubicBezTo>
                  <a:cubicBezTo>
                    <a:pt x="60" y="38"/>
                    <a:pt x="59" y="39"/>
                    <a:pt x="57" y="39"/>
                  </a:cubicBezTo>
                  <a:close/>
                  <a:moveTo>
                    <a:pt x="48" y="29"/>
                  </a:moveTo>
                  <a:cubicBezTo>
                    <a:pt x="48" y="22"/>
                    <a:pt x="46" y="17"/>
                    <a:pt x="43" y="14"/>
                  </a:cubicBezTo>
                  <a:cubicBezTo>
                    <a:pt x="40" y="11"/>
                    <a:pt x="36" y="10"/>
                    <a:pt x="30" y="10"/>
                  </a:cubicBezTo>
                  <a:cubicBezTo>
                    <a:pt x="24" y="10"/>
                    <a:pt x="20" y="11"/>
                    <a:pt x="17" y="14"/>
                  </a:cubicBezTo>
                  <a:cubicBezTo>
                    <a:pt x="14" y="18"/>
                    <a:pt x="12" y="23"/>
                    <a:pt x="12" y="29"/>
                  </a:cubicBezTo>
                  <a:cubicBezTo>
                    <a:pt x="12" y="31"/>
                    <a:pt x="12" y="31"/>
                    <a:pt x="12" y="31"/>
                  </a:cubicBezTo>
                  <a:cubicBezTo>
                    <a:pt x="48" y="31"/>
                    <a:pt x="48" y="31"/>
                    <a:pt x="48" y="31"/>
                  </a:cubicBezTo>
                  <a:lnTo>
                    <a:pt x="4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260">
              <a:extLst>
                <a:ext uri="{FF2B5EF4-FFF2-40B4-BE49-F238E27FC236}">
                  <a16:creationId xmlns:a16="http://schemas.microsoft.com/office/drawing/2014/main" id="{8D7DE8EB-EA55-4012-A945-DAAAF31F6512}"/>
                </a:ext>
              </a:extLst>
            </p:cNvPr>
            <p:cNvSpPr>
              <a:spLocks/>
            </p:cNvSpPr>
            <p:nvPr/>
          </p:nvSpPr>
          <p:spPr bwMode="auto">
            <a:xfrm>
              <a:off x="5265738" y="-2298700"/>
              <a:ext cx="147637" cy="219075"/>
            </a:xfrm>
            <a:custGeom>
              <a:avLst/>
              <a:gdLst>
                <a:gd name="T0" fmla="*/ 49 w 49"/>
                <a:gd name="T1" fmla="*/ 53 h 72"/>
                <a:gd name="T2" fmla="*/ 42 w 49"/>
                <a:gd name="T3" fmla="*/ 67 h 72"/>
                <a:gd name="T4" fmla="*/ 24 w 49"/>
                <a:gd name="T5" fmla="*/ 72 h 72"/>
                <a:gd name="T6" fmla="*/ 20 w 49"/>
                <a:gd name="T7" fmla="*/ 71 h 72"/>
                <a:gd name="T8" fmla="*/ 14 w 49"/>
                <a:gd name="T9" fmla="*/ 71 h 72"/>
                <a:gd name="T10" fmla="*/ 8 w 49"/>
                <a:gd name="T11" fmla="*/ 70 h 72"/>
                <a:gd name="T12" fmla="*/ 3 w 49"/>
                <a:gd name="T13" fmla="*/ 70 h 72"/>
                <a:gd name="T14" fmla="*/ 0 w 49"/>
                <a:gd name="T15" fmla="*/ 67 h 72"/>
                <a:gd name="T16" fmla="*/ 0 w 49"/>
                <a:gd name="T17" fmla="*/ 63 h 72"/>
                <a:gd name="T18" fmla="*/ 1 w 49"/>
                <a:gd name="T19" fmla="*/ 61 h 72"/>
                <a:gd name="T20" fmla="*/ 3 w 49"/>
                <a:gd name="T21" fmla="*/ 61 h 72"/>
                <a:gd name="T22" fmla="*/ 3 w 49"/>
                <a:gd name="T23" fmla="*/ 61 h 72"/>
                <a:gd name="T24" fmla="*/ 8 w 49"/>
                <a:gd name="T25" fmla="*/ 61 h 72"/>
                <a:gd name="T26" fmla="*/ 14 w 49"/>
                <a:gd name="T27" fmla="*/ 62 h 72"/>
                <a:gd name="T28" fmla="*/ 20 w 49"/>
                <a:gd name="T29" fmla="*/ 62 h 72"/>
                <a:gd name="T30" fmla="*/ 24 w 49"/>
                <a:gd name="T31" fmla="*/ 62 h 72"/>
                <a:gd name="T32" fmla="*/ 34 w 49"/>
                <a:gd name="T33" fmla="*/ 60 h 72"/>
                <a:gd name="T34" fmla="*/ 37 w 49"/>
                <a:gd name="T35" fmla="*/ 53 h 72"/>
                <a:gd name="T36" fmla="*/ 35 w 49"/>
                <a:gd name="T37" fmla="*/ 48 h 72"/>
                <a:gd name="T38" fmla="*/ 27 w 49"/>
                <a:gd name="T39" fmla="*/ 42 h 72"/>
                <a:gd name="T40" fmla="*/ 14 w 49"/>
                <a:gd name="T41" fmla="*/ 35 h 72"/>
                <a:gd name="T42" fmla="*/ 4 w 49"/>
                <a:gd name="T43" fmla="*/ 27 h 72"/>
                <a:gd name="T44" fmla="*/ 0 w 49"/>
                <a:gd name="T45" fmla="*/ 17 h 72"/>
                <a:gd name="T46" fmla="*/ 2 w 49"/>
                <a:gd name="T47" fmla="*/ 8 h 72"/>
                <a:gd name="T48" fmla="*/ 7 w 49"/>
                <a:gd name="T49" fmla="*/ 3 h 72"/>
                <a:gd name="T50" fmla="*/ 15 w 49"/>
                <a:gd name="T51" fmla="*/ 0 h 72"/>
                <a:gd name="T52" fmla="*/ 24 w 49"/>
                <a:gd name="T53" fmla="*/ 0 h 72"/>
                <a:gd name="T54" fmla="*/ 35 w 49"/>
                <a:gd name="T55" fmla="*/ 0 h 72"/>
                <a:gd name="T56" fmla="*/ 45 w 49"/>
                <a:gd name="T57" fmla="*/ 1 h 72"/>
                <a:gd name="T58" fmla="*/ 48 w 49"/>
                <a:gd name="T59" fmla="*/ 4 h 72"/>
                <a:gd name="T60" fmla="*/ 48 w 49"/>
                <a:gd name="T61" fmla="*/ 8 h 72"/>
                <a:gd name="T62" fmla="*/ 45 w 49"/>
                <a:gd name="T63" fmla="*/ 10 h 72"/>
                <a:gd name="T64" fmla="*/ 45 w 49"/>
                <a:gd name="T65" fmla="*/ 10 h 72"/>
                <a:gd name="T66" fmla="*/ 36 w 49"/>
                <a:gd name="T67" fmla="*/ 10 h 72"/>
                <a:gd name="T68" fmla="*/ 24 w 49"/>
                <a:gd name="T69" fmla="*/ 9 h 72"/>
                <a:gd name="T70" fmla="*/ 15 w 49"/>
                <a:gd name="T71" fmla="*/ 11 h 72"/>
                <a:gd name="T72" fmla="*/ 12 w 49"/>
                <a:gd name="T73" fmla="*/ 17 h 72"/>
                <a:gd name="T74" fmla="*/ 14 w 49"/>
                <a:gd name="T75" fmla="*/ 22 h 72"/>
                <a:gd name="T76" fmla="*/ 21 w 49"/>
                <a:gd name="T77" fmla="*/ 26 h 72"/>
                <a:gd name="T78" fmla="*/ 34 w 49"/>
                <a:gd name="T79" fmla="*/ 34 h 72"/>
                <a:gd name="T80" fmla="*/ 46 w 49"/>
                <a:gd name="T81" fmla="*/ 43 h 72"/>
                <a:gd name="T82" fmla="*/ 49 w 49"/>
                <a:gd name="T83"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72">
                  <a:moveTo>
                    <a:pt x="49" y="53"/>
                  </a:moveTo>
                  <a:cubicBezTo>
                    <a:pt x="49" y="59"/>
                    <a:pt x="47" y="64"/>
                    <a:pt x="42" y="67"/>
                  </a:cubicBezTo>
                  <a:cubicBezTo>
                    <a:pt x="38" y="70"/>
                    <a:pt x="32" y="72"/>
                    <a:pt x="24" y="72"/>
                  </a:cubicBezTo>
                  <a:cubicBezTo>
                    <a:pt x="23" y="72"/>
                    <a:pt x="21" y="71"/>
                    <a:pt x="20" y="71"/>
                  </a:cubicBezTo>
                  <a:cubicBezTo>
                    <a:pt x="18" y="71"/>
                    <a:pt x="16" y="71"/>
                    <a:pt x="14" y="71"/>
                  </a:cubicBezTo>
                  <a:cubicBezTo>
                    <a:pt x="12" y="71"/>
                    <a:pt x="10" y="71"/>
                    <a:pt x="8" y="70"/>
                  </a:cubicBezTo>
                  <a:cubicBezTo>
                    <a:pt x="6" y="70"/>
                    <a:pt x="5" y="70"/>
                    <a:pt x="3" y="70"/>
                  </a:cubicBezTo>
                  <a:cubicBezTo>
                    <a:pt x="1" y="69"/>
                    <a:pt x="0" y="68"/>
                    <a:pt x="0" y="67"/>
                  </a:cubicBezTo>
                  <a:cubicBezTo>
                    <a:pt x="0" y="63"/>
                    <a:pt x="0" y="63"/>
                    <a:pt x="0" y="63"/>
                  </a:cubicBezTo>
                  <a:cubicBezTo>
                    <a:pt x="0" y="62"/>
                    <a:pt x="0" y="62"/>
                    <a:pt x="1" y="61"/>
                  </a:cubicBezTo>
                  <a:cubicBezTo>
                    <a:pt x="1" y="61"/>
                    <a:pt x="2" y="61"/>
                    <a:pt x="3" y="61"/>
                  </a:cubicBezTo>
                  <a:cubicBezTo>
                    <a:pt x="3" y="61"/>
                    <a:pt x="3" y="61"/>
                    <a:pt x="3" y="61"/>
                  </a:cubicBezTo>
                  <a:cubicBezTo>
                    <a:pt x="5" y="61"/>
                    <a:pt x="6" y="61"/>
                    <a:pt x="8" y="61"/>
                  </a:cubicBezTo>
                  <a:cubicBezTo>
                    <a:pt x="10" y="61"/>
                    <a:pt x="12" y="62"/>
                    <a:pt x="14" y="62"/>
                  </a:cubicBezTo>
                  <a:cubicBezTo>
                    <a:pt x="16" y="62"/>
                    <a:pt x="18" y="62"/>
                    <a:pt x="20" y="62"/>
                  </a:cubicBezTo>
                  <a:cubicBezTo>
                    <a:pt x="21" y="62"/>
                    <a:pt x="23" y="62"/>
                    <a:pt x="24" y="62"/>
                  </a:cubicBezTo>
                  <a:cubicBezTo>
                    <a:pt x="28" y="62"/>
                    <a:pt x="32" y="61"/>
                    <a:pt x="34" y="60"/>
                  </a:cubicBezTo>
                  <a:cubicBezTo>
                    <a:pt x="36" y="59"/>
                    <a:pt x="37" y="57"/>
                    <a:pt x="37" y="53"/>
                  </a:cubicBezTo>
                  <a:cubicBezTo>
                    <a:pt x="37" y="51"/>
                    <a:pt x="37" y="49"/>
                    <a:pt x="35" y="48"/>
                  </a:cubicBezTo>
                  <a:cubicBezTo>
                    <a:pt x="34" y="47"/>
                    <a:pt x="31" y="45"/>
                    <a:pt x="27" y="42"/>
                  </a:cubicBezTo>
                  <a:cubicBezTo>
                    <a:pt x="14" y="35"/>
                    <a:pt x="14" y="35"/>
                    <a:pt x="14" y="35"/>
                  </a:cubicBezTo>
                  <a:cubicBezTo>
                    <a:pt x="10" y="32"/>
                    <a:pt x="6" y="30"/>
                    <a:pt x="4" y="27"/>
                  </a:cubicBezTo>
                  <a:cubicBezTo>
                    <a:pt x="1" y="24"/>
                    <a:pt x="0" y="21"/>
                    <a:pt x="0" y="17"/>
                  </a:cubicBezTo>
                  <a:cubicBezTo>
                    <a:pt x="0" y="13"/>
                    <a:pt x="1" y="11"/>
                    <a:pt x="2" y="8"/>
                  </a:cubicBezTo>
                  <a:cubicBezTo>
                    <a:pt x="3" y="6"/>
                    <a:pt x="5" y="5"/>
                    <a:pt x="7" y="3"/>
                  </a:cubicBezTo>
                  <a:cubicBezTo>
                    <a:pt x="9" y="2"/>
                    <a:pt x="12" y="1"/>
                    <a:pt x="15" y="0"/>
                  </a:cubicBezTo>
                  <a:cubicBezTo>
                    <a:pt x="18" y="0"/>
                    <a:pt x="21" y="0"/>
                    <a:pt x="24" y="0"/>
                  </a:cubicBezTo>
                  <a:cubicBezTo>
                    <a:pt x="28" y="0"/>
                    <a:pt x="32" y="0"/>
                    <a:pt x="35" y="0"/>
                  </a:cubicBezTo>
                  <a:cubicBezTo>
                    <a:pt x="39" y="0"/>
                    <a:pt x="42" y="1"/>
                    <a:pt x="45" y="1"/>
                  </a:cubicBezTo>
                  <a:cubicBezTo>
                    <a:pt x="47" y="2"/>
                    <a:pt x="48" y="2"/>
                    <a:pt x="48" y="4"/>
                  </a:cubicBezTo>
                  <a:cubicBezTo>
                    <a:pt x="48" y="8"/>
                    <a:pt x="48" y="8"/>
                    <a:pt x="48" y="8"/>
                  </a:cubicBezTo>
                  <a:cubicBezTo>
                    <a:pt x="48" y="10"/>
                    <a:pt x="47" y="10"/>
                    <a:pt x="45" y="10"/>
                  </a:cubicBezTo>
                  <a:cubicBezTo>
                    <a:pt x="45" y="10"/>
                    <a:pt x="45" y="10"/>
                    <a:pt x="45" y="10"/>
                  </a:cubicBezTo>
                  <a:cubicBezTo>
                    <a:pt x="43" y="10"/>
                    <a:pt x="40" y="10"/>
                    <a:pt x="36" y="10"/>
                  </a:cubicBezTo>
                  <a:cubicBezTo>
                    <a:pt x="32" y="9"/>
                    <a:pt x="28" y="9"/>
                    <a:pt x="24" y="9"/>
                  </a:cubicBezTo>
                  <a:cubicBezTo>
                    <a:pt x="21" y="9"/>
                    <a:pt x="18" y="10"/>
                    <a:pt x="15" y="11"/>
                  </a:cubicBezTo>
                  <a:cubicBezTo>
                    <a:pt x="13" y="11"/>
                    <a:pt x="12" y="13"/>
                    <a:pt x="12" y="17"/>
                  </a:cubicBezTo>
                  <a:cubicBezTo>
                    <a:pt x="12" y="19"/>
                    <a:pt x="13" y="20"/>
                    <a:pt x="14" y="22"/>
                  </a:cubicBezTo>
                  <a:cubicBezTo>
                    <a:pt x="16" y="23"/>
                    <a:pt x="18" y="25"/>
                    <a:pt x="21" y="26"/>
                  </a:cubicBezTo>
                  <a:cubicBezTo>
                    <a:pt x="34" y="34"/>
                    <a:pt x="34" y="34"/>
                    <a:pt x="34" y="34"/>
                  </a:cubicBezTo>
                  <a:cubicBezTo>
                    <a:pt x="40" y="37"/>
                    <a:pt x="44" y="40"/>
                    <a:pt x="46" y="43"/>
                  </a:cubicBezTo>
                  <a:cubicBezTo>
                    <a:pt x="48" y="46"/>
                    <a:pt x="49" y="49"/>
                    <a:pt x="49"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Rectangle 261">
              <a:extLst>
                <a:ext uri="{FF2B5EF4-FFF2-40B4-BE49-F238E27FC236}">
                  <a16:creationId xmlns:a16="http://schemas.microsoft.com/office/drawing/2014/main" id="{807B0D91-E3FA-4C4E-BE44-BAF1A31F7091}"/>
                </a:ext>
              </a:extLst>
            </p:cNvPr>
            <p:cNvSpPr>
              <a:spLocks noChangeArrowheads="1"/>
            </p:cNvSpPr>
            <p:nvPr/>
          </p:nvSpPr>
          <p:spPr bwMode="auto">
            <a:xfrm>
              <a:off x="4410075" y="-2116138"/>
              <a:ext cx="165100" cy="3333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Freeform 262">
              <a:extLst>
                <a:ext uri="{FF2B5EF4-FFF2-40B4-BE49-F238E27FC236}">
                  <a16:creationId xmlns:a16="http://schemas.microsoft.com/office/drawing/2014/main" id="{17C8CF70-D7A5-489B-9E49-4849C38647B5}"/>
                </a:ext>
              </a:extLst>
            </p:cNvPr>
            <p:cNvSpPr>
              <a:spLocks/>
            </p:cNvSpPr>
            <p:nvPr/>
          </p:nvSpPr>
          <p:spPr bwMode="auto">
            <a:xfrm>
              <a:off x="4419600" y="-2374900"/>
              <a:ext cx="168275" cy="292100"/>
            </a:xfrm>
            <a:custGeom>
              <a:avLst/>
              <a:gdLst>
                <a:gd name="T0" fmla="*/ 7 w 56"/>
                <a:gd name="T1" fmla="*/ 5 h 96"/>
                <a:gd name="T2" fmla="*/ 30 w 56"/>
                <a:gd name="T3" fmla="*/ 0 h 96"/>
                <a:gd name="T4" fmla="*/ 41 w 56"/>
                <a:gd name="T5" fmla="*/ 0 h 96"/>
                <a:gd name="T6" fmla="*/ 52 w 56"/>
                <a:gd name="T7" fmla="*/ 2 h 96"/>
                <a:gd name="T8" fmla="*/ 54 w 56"/>
                <a:gd name="T9" fmla="*/ 3 h 96"/>
                <a:gd name="T10" fmla="*/ 54 w 56"/>
                <a:gd name="T11" fmla="*/ 5 h 96"/>
                <a:gd name="T12" fmla="*/ 54 w 56"/>
                <a:gd name="T13" fmla="*/ 9 h 96"/>
                <a:gd name="T14" fmla="*/ 52 w 56"/>
                <a:gd name="T15" fmla="*/ 12 h 96"/>
                <a:gd name="T16" fmla="*/ 52 w 56"/>
                <a:gd name="T17" fmla="*/ 12 h 96"/>
                <a:gd name="T18" fmla="*/ 41 w 56"/>
                <a:gd name="T19" fmla="*/ 10 h 96"/>
                <a:gd name="T20" fmla="*/ 30 w 56"/>
                <a:gd name="T21" fmla="*/ 10 h 96"/>
                <a:gd name="T22" fmla="*/ 15 w 56"/>
                <a:gd name="T23" fmla="*/ 13 h 96"/>
                <a:gd name="T24" fmla="*/ 11 w 56"/>
                <a:gd name="T25" fmla="*/ 23 h 96"/>
                <a:gd name="T26" fmla="*/ 11 w 56"/>
                <a:gd name="T27" fmla="*/ 28 h 96"/>
                <a:gd name="T28" fmla="*/ 13 w 56"/>
                <a:gd name="T29" fmla="*/ 32 h 96"/>
                <a:gd name="T30" fmla="*/ 17 w 56"/>
                <a:gd name="T31" fmla="*/ 36 h 96"/>
                <a:gd name="T32" fmla="*/ 24 w 56"/>
                <a:gd name="T33" fmla="*/ 41 h 96"/>
                <a:gd name="T34" fmla="*/ 36 w 56"/>
                <a:gd name="T35" fmla="*/ 49 h 96"/>
                <a:gd name="T36" fmla="*/ 51 w 56"/>
                <a:gd name="T37" fmla="*/ 65 h 96"/>
                <a:gd name="T38" fmla="*/ 56 w 56"/>
                <a:gd name="T39" fmla="*/ 83 h 96"/>
                <a:gd name="T40" fmla="*/ 56 w 56"/>
                <a:gd name="T41" fmla="*/ 93 h 96"/>
                <a:gd name="T42" fmla="*/ 55 w 56"/>
                <a:gd name="T43" fmla="*/ 95 h 96"/>
                <a:gd name="T44" fmla="*/ 53 w 56"/>
                <a:gd name="T45" fmla="*/ 96 h 96"/>
                <a:gd name="T46" fmla="*/ 3 w 56"/>
                <a:gd name="T47" fmla="*/ 96 h 96"/>
                <a:gd name="T48" fmla="*/ 2 w 56"/>
                <a:gd name="T49" fmla="*/ 95 h 96"/>
                <a:gd name="T50" fmla="*/ 1 w 56"/>
                <a:gd name="T51" fmla="*/ 93 h 96"/>
                <a:gd name="T52" fmla="*/ 1 w 56"/>
                <a:gd name="T53" fmla="*/ 88 h 96"/>
                <a:gd name="T54" fmla="*/ 2 w 56"/>
                <a:gd name="T55" fmla="*/ 86 h 96"/>
                <a:gd name="T56" fmla="*/ 3 w 56"/>
                <a:gd name="T57" fmla="*/ 85 h 96"/>
                <a:gd name="T58" fmla="*/ 46 w 56"/>
                <a:gd name="T59" fmla="*/ 85 h 96"/>
                <a:gd name="T60" fmla="*/ 46 w 56"/>
                <a:gd name="T61" fmla="*/ 83 h 96"/>
                <a:gd name="T62" fmla="*/ 45 w 56"/>
                <a:gd name="T63" fmla="*/ 75 h 96"/>
                <a:gd name="T64" fmla="*/ 42 w 56"/>
                <a:gd name="T65" fmla="*/ 69 h 96"/>
                <a:gd name="T66" fmla="*/ 37 w 56"/>
                <a:gd name="T67" fmla="*/ 62 h 96"/>
                <a:gd name="T68" fmla="*/ 28 w 56"/>
                <a:gd name="T69" fmla="*/ 56 h 96"/>
                <a:gd name="T70" fmla="*/ 16 w 56"/>
                <a:gd name="T71" fmla="*/ 47 h 96"/>
                <a:gd name="T72" fmla="*/ 3 w 56"/>
                <a:gd name="T73" fmla="*/ 36 h 96"/>
                <a:gd name="T74" fmla="*/ 0 w 56"/>
                <a:gd name="T75" fmla="*/ 23 h 96"/>
                <a:gd name="T76" fmla="*/ 7 w 56"/>
                <a:gd name="T7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96">
                  <a:moveTo>
                    <a:pt x="7" y="5"/>
                  </a:moveTo>
                  <a:cubicBezTo>
                    <a:pt x="12" y="2"/>
                    <a:pt x="19" y="0"/>
                    <a:pt x="30" y="0"/>
                  </a:cubicBezTo>
                  <a:cubicBezTo>
                    <a:pt x="33" y="0"/>
                    <a:pt x="37" y="0"/>
                    <a:pt x="41" y="0"/>
                  </a:cubicBezTo>
                  <a:cubicBezTo>
                    <a:pt x="45" y="1"/>
                    <a:pt x="49" y="1"/>
                    <a:pt x="52" y="2"/>
                  </a:cubicBezTo>
                  <a:cubicBezTo>
                    <a:pt x="53" y="3"/>
                    <a:pt x="53" y="3"/>
                    <a:pt x="54" y="3"/>
                  </a:cubicBezTo>
                  <a:cubicBezTo>
                    <a:pt x="54" y="3"/>
                    <a:pt x="54" y="4"/>
                    <a:pt x="54" y="5"/>
                  </a:cubicBezTo>
                  <a:cubicBezTo>
                    <a:pt x="54" y="9"/>
                    <a:pt x="54" y="9"/>
                    <a:pt x="54" y="9"/>
                  </a:cubicBezTo>
                  <a:cubicBezTo>
                    <a:pt x="54" y="11"/>
                    <a:pt x="54" y="12"/>
                    <a:pt x="52" y="12"/>
                  </a:cubicBezTo>
                  <a:cubicBezTo>
                    <a:pt x="52" y="12"/>
                    <a:pt x="52" y="12"/>
                    <a:pt x="52" y="12"/>
                  </a:cubicBezTo>
                  <a:cubicBezTo>
                    <a:pt x="48" y="11"/>
                    <a:pt x="45" y="11"/>
                    <a:pt x="41" y="10"/>
                  </a:cubicBezTo>
                  <a:cubicBezTo>
                    <a:pt x="37" y="10"/>
                    <a:pt x="33" y="10"/>
                    <a:pt x="30" y="10"/>
                  </a:cubicBezTo>
                  <a:cubicBezTo>
                    <a:pt x="23" y="10"/>
                    <a:pt x="18" y="11"/>
                    <a:pt x="15" y="13"/>
                  </a:cubicBezTo>
                  <a:cubicBezTo>
                    <a:pt x="12" y="15"/>
                    <a:pt x="11" y="18"/>
                    <a:pt x="11" y="23"/>
                  </a:cubicBezTo>
                  <a:cubicBezTo>
                    <a:pt x="11" y="25"/>
                    <a:pt x="11" y="26"/>
                    <a:pt x="11" y="28"/>
                  </a:cubicBezTo>
                  <a:cubicBezTo>
                    <a:pt x="12" y="29"/>
                    <a:pt x="12" y="31"/>
                    <a:pt x="13" y="32"/>
                  </a:cubicBezTo>
                  <a:cubicBezTo>
                    <a:pt x="14" y="33"/>
                    <a:pt x="16" y="35"/>
                    <a:pt x="17" y="36"/>
                  </a:cubicBezTo>
                  <a:cubicBezTo>
                    <a:pt x="19" y="37"/>
                    <a:pt x="21" y="39"/>
                    <a:pt x="24" y="41"/>
                  </a:cubicBezTo>
                  <a:cubicBezTo>
                    <a:pt x="36" y="49"/>
                    <a:pt x="36" y="49"/>
                    <a:pt x="36" y="49"/>
                  </a:cubicBezTo>
                  <a:cubicBezTo>
                    <a:pt x="43" y="54"/>
                    <a:pt x="48" y="59"/>
                    <a:pt x="51" y="65"/>
                  </a:cubicBezTo>
                  <a:cubicBezTo>
                    <a:pt x="54" y="70"/>
                    <a:pt x="56" y="76"/>
                    <a:pt x="56" y="83"/>
                  </a:cubicBezTo>
                  <a:cubicBezTo>
                    <a:pt x="56" y="93"/>
                    <a:pt x="56" y="93"/>
                    <a:pt x="56" y="93"/>
                  </a:cubicBezTo>
                  <a:cubicBezTo>
                    <a:pt x="56" y="94"/>
                    <a:pt x="56" y="94"/>
                    <a:pt x="55" y="95"/>
                  </a:cubicBezTo>
                  <a:cubicBezTo>
                    <a:pt x="55" y="95"/>
                    <a:pt x="54" y="96"/>
                    <a:pt x="53" y="96"/>
                  </a:cubicBezTo>
                  <a:cubicBezTo>
                    <a:pt x="3" y="96"/>
                    <a:pt x="3" y="96"/>
                    <a:pt x="3" y="96"/>
                  </a:cubicBezTo>
                  <a:cubicBezTo>
                    <a:pt x="3" y="96"/>
                    <a:pt x="2" y="95"/>
                    <a:pt x="2" y="95"/>
                  </a:cubicBezTo>
                  <a:cubicBezTo>
                    <a:pt x="1" y="94"/>
                    <a:pt x="1" y="94"/>
                    <a:pt x="1" y="93"/>
                  </a:cubicBezTo>
                  <a:cubicBezTo>
                    <a:pt x="1" y="88"/>
                    <a:pt x="1" y="88"/>
                    <a:pt x="1" y="88"/>
                  </a:cubicBezTo>
                  <a:cubicBezTo>
                    <a:pt x="1" y="87"/>
                    <a:pt x="1" y="86"/>
                    <a:pt x="2" y="86"/>
                  </a:cubicBezTo>
                  <a:cubicBezTo>
                    <a:pt x="2" y="86"/>
                    <a:pt x="3" y="85"/>
                    <a:pt x="3" y="85"/>
                  </a:cubicBezTo>
                  <a:cubicBezTo>
                    <a:pt x="46" y="85"/>
                    <a:pt x="46" y="85"/>
                    <a:pt x="46" y="85"/>
                  </a:cubicBezTo>
                  <a:cubicBezTo>
                    <a:pt x="46" y="83"/>
                    <a:pt x="46" y="83"/>
                    <a:pt x="46" y="83"/>
                  </a:cubicBezTo>
                  <a:cubicBezTo>
                    <a:pt x="46" y="80"/>
                    <a:pt x="46" y="77"/>
                    <a:pt x="45" y="75"/>
                  </a:cubicBezTo>
                  <a:cubicBezTo>
                    <a:pt x="44" y="73"/>
                    <a:pt x="44" y="71"/>
                    <a:pt x="42" y="69"/>
                  </a:cubicBezTo>
                  <a:cubicBezTo>
                    <a:pt x="41" y="66"/>
                    <a:pt x="39" y="64"/>
                    <a:pt x="37" y="62"/>
                  </a:cubicBezTo>
                  <a:cubicBezTo>
                    <a:pt x="35" y="60"/>
                    <a:pt x="32" y="58"/>
                    <a:pt x="28" y="56"/>
                  </a:cubicBezTo>
                  <a:cubicBezTo>
                    <a:pt x="16" y="47"/>
                    <a:pt x="16" y="47"/>
                    <a:pt x="16" y="47"/>
                  </a:cubicBezTo>
                  <a:cubicBezTo>
                    <a:pt x="10" y="43"/>
                    <a:pt x="6" y="39"/>
                    <a:pt x="3" y="36"/>
                  </a:cubicBezTo>
                  <a:cubicBezTo>
                    <a:pt x="1" y="32"/>
                    <a:pt x="0" y="28"/>
                    <a:pt x="0" y="23"/>
                  </a:cubicBezTo>
                  <a:cubicBezTo>
                    <a:pt x="0" y="15"/>
                    <a:pt x="2" y="9"/>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B545BCDF-AE9B-4A79-AB96-AD1ECE344488}"/>
              </a:ext>
            </a:extLst>
          </p:cNvPr>
          <p:cNvSpPr/>
          <p:nvPr/>
        </p:nvSpPr>
        <p:spPr>
          <a:xfrm>
            <a:off x="4033032" y="5872775"/>
            <a:ext cx="4125938"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Go to </a:t>
            </a:r>
            <a:r>
              <a:rPr kumimoji="0" lang="en-US" sz="1800" b="1"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24Slides.com/</a:t>
            </a:r>
            <a:r>
              <a:rPr kumimoji="0" lang="id-ID" sz="1800" b="1"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sales </a:t>
            </a:r>
            <a:r>
              <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to find out more</a:t>
            </a:r>
            <a:endParaRPr kumimoji="0" lang="en-US" sz="16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71820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96181093-D069-46E3-8EFA-D4EF1E61AB7F}"/>
              </a:ext>
            </a:extLst>
          </p:cNvPr>
          <p:cNvSpPr txBox="1"/>
          <p:nvPr/>
        </p:nvSpPr>
        <p:spPr>
          <a:xfrm>
            <a:off x="690563" y="314325"/>
            <a:ext cx="10808351" cy="677108"/>
          </a:xfrm>
          <a:prstGeom prst="rect">
            <a:avLst/>
          </a:prstGeom>
          <a:noFill/>
        </p:spPr>
        <p:txBody>
          <a:bodyPr wrap="square" lIns="0" tIns="0" rIns="0" bIns="0" rtlCol="0" anchor="t">
            <a:spAutoFit/>
          </a:bodyPr>
          <a:lstStyle/>
          <a:p>
            <a:r>
              <a:rPr lang="en-US" sz="4400" dirty="0">
                <a:latin typeface="+mj-lt"/>
              </a:rPr>
              <a:t>CSR ANALYSIS</a:t>
            </a:r>
          </a:p>
        </p:txBody>
      </p:sp>
      <p:cxnSp>
        <p:nvCxnSpPr>
          <p:cNvPr id="38" name="Straight Connector 37">
            <a:extLst>
              <a:ext uri="{FF2B5EF4-FFF2-40B4-BE49-F238E27FC236}">
                <a16:creationId xmlns:a16="http://schemas.microsoft.com/office/drawing/2014/main" id="{163E2F68-FAAD-4B9C-AA3E-5D2EEC51B29B}"/>
              </a:ext>
            </a:extLst>
          </p:cNvPr>
          <p:cNvCxnSpPr>
            <a:cxnSpLocks/>
            <a:stCxn id="26" idx="3"/>
          </p:cNvCxnSpPr>
          <p:nvPr/>
        </p:nvCxnSpPr>
        <p:spPr>
          <a:xfrm>
            <a:off x="10952245" y="4170295"/>
            <a:ext cx="1239754" cy="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60862BA-9008-433E-B10B-B6FD8FAA5D54}"/>
              </a:ext>
            </a:extLst>
          </p:cNvPr>
          <p:cNvCxnSpPr>
            <a:cxnSpLocks/>
          </p:cNvCxnSpPr>
          <p:nvPr/>
        </p:nvCxnSpPr>
        <p:spPr>
          <a:xfrm>
            <a:off x="0" y="2428969"/>
            <a:ext cx="75947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1</a:t>
            </a:fld>
            <a:endParaRPr lang="en-US"/>
          </a:p>
        </p:txBody>
      </p:sp>
      <p:grpSp>
        <p:nvGrpSpPr>
          <p:cNvPr id="27" name="Group 26">
            <a:extLst>
              <a:ext uri="{FF2B5EF4-FFF2-40B4-BE49-F238E27FC236}">
                <a16:creationId xmlns:a16="http://schemas.microsoft.com/office/drawing/2014/main" id="{C7171E0C-EBCD-4BB1-A2A8-1C1909E0E15B}"/>
              </a:ext>
            </a:extLst>
          </p:cNvPr>
          <p:cNvGrpSpPr/>
          <p:nvPr/>
        </p:nvGrpSpPr>
        <p:grpSpPr>
          <a:xfrm>
            <a:off x="1239756" y="3271327"/>
            <a:ext cx="4699275" cy="1797939"/>
            <a:chOff x="1120610" y="3271327"/>
            <a:chExt cx="4699275" cy="1797939"/>
          </a:xfrm>
        </p:grpSpPr>
        <p:sp>
          <p:nvSpPr>
            <p:cNvPr id="25" name="Rectangle 24">
              <a:extLst>
                <a:ext uri="{FF2B5EF4-FFF2-40B4-BE49-F238E27FC236}">
                  <a16:creationId xmlns:a16="http://schemas.microsoft.com/office/drawing/2014/main" id="{9C5D970D-C2DA-45F7-91DD-97A5E204899A}"/>
                </a:ext>
              </a:extLst>
            </p:cNvPr>
            <p:cNvSpPr/>
            <p:nvPr/>
          </p:nvSpPr>
          <p:spPr>
            <a:xfrm>
              <a:off x="1120610" y="3427346"/>
              <a:ext cx="3924300" cy="14859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Hexagon 8">
              <a:extLst>
                <a:ext uri="{FF2B5EF4-FFF2-40B4-BE49-F238E27FC236}">
                  <a16:creationId xmlns:a16="http://schemas.microsoft.com/office/drawing/2014/main" id="{C284BAC7-3F58-4AB3-82DB-EF4A8638B49D}"/>
                </a:ext>
              </a:extLst>
            </p:cNvPr>
            <p:cNvSpPr/>
            <p:nvPr/>
          </p:nvSpPr>
          <p:spPr>
            <a:xfrm rot="5400000">
              <a:off x="4145942" y="3395323"/>
              <a:ext cx="1797939" cy="1549947"/>
            </a:xfrm>
            <a:prstGeom prst="hexagon">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EDBC07A-EA98-4A2F-A57B-BA484D4DDF83}"/>
                </a:ext>
              </a:extLst>
            </p:cNvPr>
            <p:cNvSpPr txBox="1"/>
            <p:nvPr/>
          </p:nvSpPr>
          <p:spPr>
            <a:xfrm>
              <a:off x="4354348" y="4047185"/>
              <a:ext cx="1381125" cy="246221"/>
            </a:xfrm>
            <a:prstGeom prst="rect">
              <a:avLst/>
            </a:prstGeom>
            <a:noFill/>
          </p:spPr>
          <p:txBody>
            <a:bodyPr wrap="square" lIns="0" tIns="0" rIns="0" bIns="0" rtlCol="0" anchor="ctr">
              <a:spAutoFit/>
            </a:bodyPr>
            <a:lstStyle/>
            <a:p>
              <a:pPr algn="ctr"/>
              <a:r>
                <a:rPr lang="en-US" sz="1600" b="1" dirty="0">
                  <a:solidFill>
                    <a:schemeClr val="tx1">
                      <a:lumMod val="75000"/>
                      <a:lumOff val="25000"/>
                    </a:schemeClr>
                  </a:solidFill>
                </a:rPr>
                <a:t>MISSION</a:t>
              </a:r>
            </a:p>
          </p:txBody>
        </p:sp>
      </p:grpSp>
      <p:grpSp>
        <p:nvGrpSpPr>
          <p:cNvPr id="29" name="Group 28">
            <a:extLst>
              <a:ext uri="{FF2B5EF4-FFF2-40B4-BE49-F238E27FC236}">
                <a16:creationId xmlns:a16="http://schemas.microsoft.com/office/drawing/2014/main" id="{83439C61-B24B-4F94-AC83-75EFFAF0968C}"/>
              </a:ext>
            </a:extLst>
          </p:cNvPr>
          <p:cNvGrpSpPr/>
          <p:nvPr/>
        </p:nvGrpSpPr>
        <p:grpSpPr>
          <a:xfrm>
            <a:off x="6252973" y="3271327"/>
            <a:ext cx="4699272" cy="1797939"/>
            <a:chOff x="6133827" y="2982038"/>
            <a:chExt cx="4699272" cy="1797939"/>
          </a:xfrm>
        </p:grpSpPr>
        <p:sp>
          <p:nvSpPr>
            <p:cNvPr id="26" name="Rectangle 25">
              <a:extLst>
                <a:ext uri="{FF2B5EF4-FFF2-40B4-BE49-F238E27FC236}">
                  <a16:creationId xmlns:a16="http://schemas.microsoft.com/office/drawing/2014/main" id="{E6992184-68A9-4985-8AB1-B1A6FD66C121}"/>
                </a:ext>
              </a:extLst>
            </p:cNvPr>
            <p:cNvSpPr/>
            <p:nvPr/>
          </p:nvSpPr>
          <p:spPr>
            <a:xfrm>
              <a:off x="6908799" y="3138056"/>
              <a:ext cx="3924300" cy="1485900"/>
            </a:xfrm>
            <a:prstGeom prst="rect">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Hexagon 9">
              <a:extLst>
                <a:ext uri="{FF2B5EF4-FFF2-40B4-BE49-F238E27FC236}">
                  <a16:creationId xmlns:a16="http://schemas.microsoft.com/office/drawing/2014/main" id="{44AEB6FC-837F-4506-87D5-329D7032D6B2}"/>
                </a:ext>
              </a:extLst>
            </p:cNvPr>
            <p:cNvSpPr/>
            <p:nvPr/>
          </p:nvSpPr>
          <p:spPr>
            <a:xfrm rot="5400000">
              <a:off x="6009831" y="3106034"/>
              <a:ext cx="1797939" cy="1549947"/>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169E2545-C800-42F2-8883-1551D5867FD4}"/>
                </a:ext>
              </a:extLst>
            </p:cNvPr>
            <p:cNvSpPr txBox="1"/>
            <p:nvPr/>
          </p:nvSpPr>
          <p:spPr>
            <a:xfrm>
              <a:off x="6218237" y="3757896"/>
              <a:ext cx="1381125" cy="246221"/>
            </a:xfrm>
            <a:prstGeom prst="rect">
              <a:avLst/>
            </a:prstGeom>
            <a:noFill/>
          </p:spPr>
          <p:txBody>
            <a:bodyPr wrap="square" lIns="0" tIns="0" rIns="0" bIns="0" rtlCol="0" anchor="ctr">
              <a:spAutoFit/>
            </a:bodyPr>
            <a:lstStyle/>
            <a:p>
              <a:pPr algn="ctr"/>
              <a:r>
                <a:rPr lang="en-US" sz="1600" b="1" dirty="0">
                  <a:solidFill>
                    <a:schemeClr val="tx1">
                      <a:lumMod val="75000"/>
                      <a:lumOff val="25000"/>
                    </a:schemeClr>
                  </a:solidFill>
                </a:rPr>
                <a:t>GOALS</a:t>
              </a:r>
            </a:p>
          </p:txBody>
        </p:sp>
      </p:grpSp>
      <p:grpSp>
        <p:nvGrpSpPr>
          <p:cNvPr id="23" name="Group 22">
            <a:extLst>
              <a:ext uri="{FF2B5EF4-FFF2-40B4-BE49-F238E27FC236}">
                <a16:creationId xmlns:a16="http://schemas.microsoft.com/office/drawing/2014/main" id="{4D558ABB-20CF-4D34-A76B-DE8D7E617DFE}"/>
              </a:ext>
            </a:extLst>
          </p:cNvPr>
          <p:cNvGrpSpPr/>
          <p:nvPr/>
        </p:nvGrpSpPr>
        <p:grpSpPr>
          <a:xfrm>
            <a:off x="759475" y="1530000"/>
            <a:ext cx="4699274" cy="1797939"/>
            <a:chOff x="1631076" y="1530000"/>
            <a:chExt cx="4699274" cy="1797939"/>
          </a:xfrm>
        </p:grpSpPr>
        <p:sp>
          <p:nvSpPr>
            <p:cNvPr id="24" name="Rectangle 23">
              <a:extLst>
                <a:ext uri="{FF2B5EF4-FFF2-40B4-BE49-F238E27FC236}">
                  <a16:creationId xmlns:a16="http://schemas.microsoft.com/office/drawing/2014/main" id="{C5960659-3872-4C3D-925F-8A285B96802C}"/>
                </a:ext>
              </a:extLst>
            </p:cNvPr>
            <p:cNvSpPr/>
            <p:nvPr/>
          </p:nvSpPr>
          <p:spPr>
            <a:xfrm>
              <a:off x="1631076" y="1686019"/>
              <a:ext cx="3924300" cy="1485900"/>
            </a:xfrm>
            <a:prstGeom prst="rect">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Hexagon 7">
              <a:extLst>
                <a:ext uri="{FF2B5EF4-FFF2-40B4-BE49-F238E27FC236}">
                  <a16:creationId xmlns:a16="http://schemas.microsoft.com/office/drawing/2014/main" id="{14A31980-B7C1-4F5C-98A5-A737A70C0F1E}"/>
                </a:ext>
              </a:extLst>
            </p:cNvPr>
            <p:cNvSpPr/>
            <p:nvPr/>
          </p:nvSpPr>
          <p:spPr>
            <a:xfrm rot="5400000">
              <a:off x="4656407" y="1653996"/>
              <a:ext cx="1797939" cy="1549947"/>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FFFCF660-37B8-45A0-9C79-E1A032B692ED}"/>
                </a:ext>
              </a:extLst>
            </p:cNvPr>
            <p:cNvSpPr txBox="1"/>
            <p:nvPr/>
          </p:nvSpPr>
          <p:spPr>
            <a:xfrm>
              <a:off x="4864814" y="2305858"/>
              <a:ext cx="1381125" cy="246221"/>
            </a:xfrm>
            <a:prstGeom prst="rect">
              <a:avLst/>
            </a:prstGeom>
            <a:noFill/>
          </p:spPr>
          <p:txBody>
            <a:bodyPr wrap="square" lIns="0" tIns="0" rIns="0" bIns="0" rtlCol="0" anchor="ctr">
              <a:spAutoFit/>
            </a:bodyPr>
            <a:lstStyle/>
            <a:p>
              <a:pPr algn="ctr"/>
              <a:r>
                <a:rPr lang="en-US" sz="1600" b="1" dirty="0">
                  <a:solidFill>
                    <a:schemeClr val="tx1">
                      <a:lumMod val="75000"/>
                      <a:lumOff val="25000"/>
                    </a:schemeClr>
                  </a:solidFill>
                </a:rPr>
                <a:t>PURPOSE</a:t>
              </a:r>
            </a:p>
          </p:txBody>
        </p:sp>
      </p:grpSp>
      <p:grpSp>
        <p:nvGrpSpPr>
          <p:cNvPr id="28" name="Group 27">
            <a:extLst>
              <a:ext uri="{FF2B5EF4-FFF2-40B4-BE49-F238E27FC236}">
                <a16:creationId xmlns:a16="http://schemas.microsoft.com/office/drawing/2014/main" id="{30254475-4444-40C2-B388-DFE3D149C54D}"/>
              </a:ext>
            </a:extLst>
          </p:cNvPr>
          <p:cNvGrpSpPr/>
          <p:nvPr/>
        </p:nvGrpSpPr>
        <p:grpSpPr>
          <a:xfrm>
            <a:off x="6755120" y="1530000"/>
            <a:ext cx="4677405" cy="1797939"/>
            <a:chOff x="7070890" y="1220291"/>
            <a:chExt cx="4677405" cy="1797939"/>
          </a:xfrm>
        </p:grpSpPr>
        <p:sp>
          <p:nvSpPr>
            <p:cNvPr id="17" name="Rectangle 16">
              <a:extLst>
                <a:ext uri="{FF2B5EF4-FFF2-40B4-BE49-F238E27FC236}">
                  <a16:creationId xmlns:a16="http://schemas.microsoft.com/office/drawing/2014/main" id="{5C26F98C-E45D-45D9-9EDE-770CA5A7CC79}"/>
                </a:ext>
              </a:extLst>
            </p:cNvPr>
            <p:cNvSpPr/>
            <p:nvPr/>
          </p:nvSpPr>
          <p:spPr>
            <a:xfrm>
              <a:off x="7823995" y="1376310"/>
              <a:ext cx="3924300" cy="14859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exagon 13">
              <a:extLst>
                <a:ext uri="{FF2B5EF4-FFF2-40B4-BE49-F238E27FC236}">
                  <a16:creationId xmlns:a16="http://schemas.microsoft.com/office/drawing/2014/main" id="{5E915237-C0F2-4972-8B99-04DF521424D8}"/>
                </a:ext>
              </a:extLst>
            </p:cNvPr>
            <p:cNvSpPr/>
            <p:nvPr/>
          </p:nvSpPr>
          <p:spPr>
            <a:xfrm rot="5400000">
              <a:off x="6946894" y="1344287"/>
              <a:ext cx="1797939" cy="1549947"/>
            </a:xfrm>
            <a:prstGeom prst="hexagon">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99836FC8-60DF-4BD2-B7DB-501ECB9AA790}"/>
                </a:ext>
              </a:extLst>
            </p:cNvPr>
            <p:cNvSpPr txBox="1"/>
            <p:nvPr/>
          </p:nvSpPr>
          <p:spPr>
            <a:xfrm>
              <a:off x="7155300" y="1996149"/>
              <a:ext cx="1381125" cy="246221"/>
            </a:xfrm>
            <a:prstGeom prst="rect">
              <a:avLst/>
            </a:prstGeom>
            <a:noFill/>
          </p:spPr>
          <p:txBody>
            <a:bodyPr wrap="square" lIns="0" tIns="0" rIns="0" bIns="0" rtlCol="0" anchor="ctr">
              <a:spAutoFit/>
            </a:bodyPr>
            <a:lstStyle/>
            <a:p>
              <a:pPr algn="ctr"/>
              <a:r>
                <a:rPr lang="en-US" sz="1600" b="1" dirty="0">
                  <a:solidFill>
                    <a:schemeClr val="tx1">
                      <a:lumMod val="75000"/>
                      <a:lumOff val="25000"/>
                    </a:schemeClr>
                  </a:solidFill>
                </a:rPr>
                <a:t>VISION</a:t>
              </a:r>
            </a:p>
          </p:txBody>
        </p:sp>
      </p:grpSp>
      <p:sp>
        <p:nvSpPr>
          <p:cNvPr id="33" name="TextBox 32">
            <a:extLst>
              <a:ext uri="{FF2B5EF4-FFF2-40B4-BE49-F238E27FC236}">
                <a16:creationId xmlns:a16="http://schemas.microsoft.com/office/drawing/2014/main" id="{A577094A-3F01-4AA7-A62C-5314274A6423}"/>
              </a:ext>
            </a:extLst>
          </p:cNvPr>
          <p:cNvSpPr txBox="1"/>
          <p:nvPr/>
        </p:nvSpPr>
        <p:spPr>
          <a:xfrm>
            <a:off x="917755" y="2182747"/>
            <a:ext cx="2832767" cy="492443"/>
          </a:xfrm>
          <a:prstGeom prst="rect">
            <a:avLst/>
          </a:prstGeom>
          <a:noFill/>
        </p:spPr>
        <p:txBody>
          <a:bodyPr wrap="square" lIns="0" tIns="0" rIns="0" bIns="0" rtlCol="0" anchor="ctr">
            <a:spAutoFit/>
          </a:bodyPr>
          <a:lstStyle/>
          <a:p>
            <a:pPr algn="ctr"/>
            <a:r>
              <a:rPr lang="en-US" sz="1600" dirty="0">
                <a:solidFill>
                  <a:schemeClr val="tx1">
                    <a:lumMod val="75000"/>
                    <a:lumOff val="25000"/>
                  </a:schemeClr>
                </a:solidFill>
              </a:rPr>
              <a:t>We exist to empower people in emerging markets. </a:t>
            </a:r>
          </a:p>
        </p:txBody>
      </p:sp>
      <p:sp>
        <p:nvSpPr>
          <p:cNvPr id="34" name="TextBox 33">
            <a:extLst>
              <a:ext uri="{FF2B5EF4-FFF2-40B4-BE49-F238E27FC236}">
                <a16:creationId xmlns:a16="http://schemas.microsoft.com/office/drawing/2014/main" id="{AA5DFFE6-BE30-4FF5-8218-87BC2BB276A6}"/>
              </a:ext>
            </a:extLst>
          </p:cNvPr>
          <p:cNvSpPr txBox="1"/>
          <p:nvPr/>
        </p:nvSpPr>
        <p:spPr>
          <a:xfrm>
            <a:off x="1399346" y="3677852"/>
            <a:ext cx="2832767" cy="984885"/>
          </a:xfrm>
          <a:prstGeom prst="rect">
            <a:avLst/>
          </a:prstGeom>
          <a:noFill/>
        </p:spPr>
        <p:txBody>
          <a:bodyPr wrap="square" lIns="0" tIns="0" rIns="0" bIns="0" rtlCol="0" anchor="ctr">
            <a:spAutoFit/>
          </a:bodyPr>
          <a:lstStyle/>
          <a:p>
            <a:pPr algn="ctr"/>
            <a:r>
              <a:rPr lang="en-US" sz="1600" dirty="0">
                <a:solidFill>
                  <a:schemeClr val="tx1">
                    <a:lumMod val="75000"/>
                    <a:lumOff val="25000"/>
                  </a:schemeClr>
                </a:solidFill>
              </a:rPr>
              <a:t>We want to showcase our incredible and talented designers and build a better, fairer model of digital outsourcing. . </a:t>
            </a:r>
          </a:p>
        </p:txBody>
      </p:sp>
      <p:sp>
        <p:nvSpPr>
          <p:cNvPr id="35" name="TextBox 34">
            <a:extLst>
              <a:ext uri="{FF2B5EF4-FFF2-40B4-BE49-F238E27FC236}">
                <a16:creationId xmlns:a16="http://schemas.microsoft.com/office/drawing/2014/main" id="{3480DF5D-9A47-4A1D-943D-3BF984E75A48}"/>
              </a:ext>
            </a:extLst>
          </p:cNvPr>
          <p:cNvSpPr txBox="1"/>
          <p:nvPr/>
        </p:nvSpPr>
        <p:spPr>
          <a:xfrm>
            <a:off x="8441478" y="1813417"/>
            <a:ext cx="2832767" cy="1231106"/>
          </a:xfrm>
          <a:prstGeom prst="rect">
            <a:avLst/>
          </a:prstGeom>
          <a:noFill/>
        </p:spPr>
        <p:txBody>
          <a:bodyPr wrap="square" lIns="0" tIns="0" rIns="0" bIns="0" rtlCol="0" anchor="ctr">
            <a:spAutoFit/>
          </a:bodyPr>
          <a:lstStyle/>
          <a:p>
            <a:pPr algn="ctr"/>
            <a:r>
              <a:rPr lang="en-US" sz="1600" dirty="0">
                <a:solidFill>
                  <a:schemeClr val="tx1">
                    <a:lumMod val="75000"/>
                    <a:lumOff val="25000"/>
                  </a:schemeClr>
                </a:solidFill>
              </a:rPr>
              <a:t>We want to offer graphic design services at a revolutionary price value, while leading the way for socially conscious businesses in emerging markets.</a:t>
            </a:r>
          </a:p>
        </p:txBody>
      </p:sp>
      <p:sp>
        <p:nvSpPr>
          <p:cNvPr id="36" name="TextBox 35">
            <a:extLst>
              <a:ext uri="{FF2B5EF4-FFF2-40B4-BE49-F238E27FC236}">
                <a16:creationId xmlns:a16="http://schemas.microsoft.com/office/drawing/2014/main" id="{3DCF470A-B12D-4BF1-93E3-CC17AA0F3992}"/>
              </a:ext>
            </a:extLst>
          </p:cNvPr>
          <p:cNvSpPr txBox="1"/>
          <p:nvPr/>
        </p:nvSpPr>
        <p:spPr>
          <a:xfrm>
            <a:off x="7948257" y="3554741"/>
            <a:ext cx="2832767" cy="1231106"/>
          </a:xfrm>
          <a:prstGeom prst="rect">
            <a:avLst/>
          </a:prstGeom>
          <a:noFill/>
        </p:spPr>
        <p:txBody>
          <a:bodyPr wrap="square" lIns="0" tIns="0" rIns="0" bIns="0" rtlCol="0" anchor="ctr">
            <a:spAutoFit/>
          </a:bodyPr>
          <a:lstStyle/>
          <a:p>
            <a:pPr algn="ctr"/>
            <a:r>
              <a:rPr lang="en-US" sz="1600" dirty="0">
                <a:solidFill>
                  <a:schemeClr val="tx1">
                    <a:lumMod val="75000"/>
                    <a:lumOff val="25000"/>
                  </a:schemeClr>
                </a:solidFill>
              </a:rPr>
              <a:t>We wish to contribute to the UN 2030 agenda by supporting the Sustainable Development Goals (SDGs), mainly within education and employment opportunities.</a:t>
            </a:r>
          </a:p>
        </p:txBody>
      </p:sp>
      <p:cxnSp>
        <p:nvCxnSpPr>
          <p:cNvPr id="41" name="Straight Connector 40">
            <a:extLst>
              <a:ext uri="{FF2B5EF4-FFF2-40B4-BE49-F238E27FC236}">
                <a16:creationId xmlns:a16="http://schemas.microsoft.com/office/drawing/2014/main" id="{D19B0DBA-C95B-4473-832D-D2F875FEE512}"/>
              </a:ext>
            </a:extLst>
          </p:cNvPr>
          <p:cNvCxnSpPr>
            <a:cxnSpLocks/>
            <a:stCxn id="17" idx="3"/>
          </p:cNvCxnSpPr>
          <p:nvPr/>
        </p:nvCxnSpPr>
        <p:spPr>
          <a:xfrm>
            <a:off x="11432525" y="2428969"/>
            <a:ext cx="75947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44C9C0B-067D-4F3A-9315-805779B7F0DB}"/>
              </a:ext>
            </a:extLst>
          </p:cNvPr>
          <p:cNvCxnSpPr>
            <a:cxnSpLocks/>
            <a:endCxn id="25" idx="1"/>
          </p:cNvCxnSpPr>
          <p:nvPr/>
        </p:nvCxnSpPr>
        <p:spPr>
          <a:xfrm>
            <a:off x="0" y="4170295"/>
            <a:ext cx="1239756" cy="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B3635F8-95F5-4F44-B9C4-1CDDE37A987A}"/>
              </a:ext>
            </a:extLst>
          </p:cNvPr>
          <p:cNvSpPr txBox="1"/>
          <p:nvPr/>
        </p:nvSpPr>
        <p:spPr>
          <a:xfrm>
            <a:off x="1143000" y="5411413"/>
            <a:ext cx="9906000" cy="984885"/>
          </a:xfrm>
          <a:prstGeom prst="rect">
            <a:avLst/>
          </a:prstGeom>
          <a:noFill/>
        </p:spPr>
        <p:txBody>
          <a:bodyPr wrap="square" lIns="0" tIns="0" rIns="0" bIns="0" rtlCol="0">
            <a:spAutoFit/>
          </a:bodyPr>
          <a:lstStyle/>
          <a:p>
            <a:pPr algn="ctr"/>
            <a:r>
              <a:rPr lang="en-US" sz="1600" dirty="0">
                <a:solidFill>
                  <a:schemeClr val="tx1">
                    <a:lumMod val="75000"/>
                    <a:lumOff val="25000"/>
                  </a:schemeClr>
                </a:solidFill>
              </a:rPr>
              <a:t>Behind every slide is a team of talented and passionate people. We know that our success is directly related to our colleagues’ hard work and integrity. And we believe that every person has something unique to bring to the world - you just need to be given the chance. At </a:t>
            </a:r>
            <a:r>
              <a:rPr lang="en-US" sz="1600" b="1" dirty="0">
                <a:solidFill>
                  <a:schemeClr val="tx1">
                    <a:lumMod val="75000"/>
                    <a:lumOff val="25000"/>
                  </a:schemeClr>
                </a:solidFill>
              </a:rPr>
              <a:t>24Slides</a:t>
            </a:r>
            <a:r>
              <a:rPr lang="en-US" sz="1600" dirty="0">
                <a:solidFill>
                  <a:schemeClr val="tx1">
                    <a:lumMod val="75000"/>
                    <a:lumOff val="25000"/>
                  </a:schemeClr>
                </a:solidFill>
              </a:rPr>
              <a:t>, we believe that our purpose is to create opportunities and empower people in emerging markets</a:t>
            </a:r>
          </a:p>
        </p:txBody>
      </p:sp>
    </p:spTree>
    <p:extLst>
      <p:ext uri="{BB962C8B-B14F-4D97-AF65-F5344CB8AC3E}">
        <p14:creationId xmlns:p14="http://schemas.microsoft.com/office/powerpoint/2010/main" val="1056443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Rounded Corners 125">
            <a:extLst>
              <a:ext uri="{FF2B5EF4-FFF2-40B4-BE49-F238E27FC236}">
                <a16:creationId xmlns:a16="http://schemas.microsoft.com/office/drawing/2014/main" id="{C351509D-B935-48CD-8D2A-E028D3C12CDF}"/>
              </a:ext>
            </a:extLst>
          </p:cNvPr>
          <p:cNvSpPr/>
          <p:nvPr/>
        </p:nvSpPr>
        <p:spPr>
          <a:xfrm>
            <a:off x="5185670" y="1367422"/>
            <a:ext cx="1825899" cy="1825899"/>
          </a:xfrm>
          <a:prstGeom prst="roundRect">
            <a:avLst>
              <a:gd name="adj" fmla="val 50000"/>
            </a:avLst>
          </a:prstGeom>
          <a:solidFill>
            <a:srgbClr val="72BFC5"/>
          </a:solidFill>
          <a:ln w="25400">
            <a:solidFill>
              <a:srgbClr val="72BF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Rounded Corners 131">
            <a:extLst>
              <a:ext uri="{FF2B5EF4-FFF2-40B4-BE49-F238E27FC236}">
                <a16:creationId xmlns:a16="http://schemas.microsoft.com/office/drawing/2014/main" id="{B38184FD-06B3-40F3-A98C-2566C99D84D6}"/>
              </a:ext>
            </a:extLst>
          </p:cNvPr>
          <p:cNvSpPr/>
          <p:nvPr/>
        </p:nvSpPr>
        <p:spPr>
          <a:xfrm>
            <a:off x="7000125" y="3191861"/>
            <a:ext cx="1825899" cy="1825899"/>
          </a:xfrm>
          <a:prstGeom prst="roundRect">
            <a:avLst>
              <a:gd name="adj" fmla="val 50000"/>
            </a:avLst>
          </a:prstGeom>
          <a:solidFill>
            <a:srgbClr val="EF95A0"/>
          </a:solidFill>
          <a:ln w="25400">
            <a:solidFill>
              <a:srgbClr val="EF95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Rounded Corners 104">
            <a:extLst>
              <a:ext uri="{FF2B5EF4-FFF2-40B4-BE49-F238E27FC236}">
                <a16:creationId xmlns:a16="http://schemas.microsoft.com/office/drawing/2014/main" id="{5D9CBF70-344B-4C0B-9458-3A68D52864E3}"/>
              </a:ext>
            </a:extLst>
          </p:cNvPr>
          <p:cNvSpPr/>
          <p:nvPr/>
        </p:nvSpPr>
        <p:spPr>
          <a:xfrm>
            <a:off x="3364668" y="3191861"/>
            <a:ext cx="1825899" cy="1825899"/>
          </a:xfrm>
          <a:prstGeom prst="roundRect">
            <a:avLst>
              <a:gd name="adj" fmla="val 50000"/>
            </a:avLst>
          </a:prstGeom>
          <a:solidFill>
            <a:srgbClr val="9ED3D7"/>
          </a:solidFill>
          <a:ln w="25400">
            <a:solidFill>
              <a:srgbClr val="9ED3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Rounded Corners 99">
            <a:extLst>
              <a:ext uri="{FF2B5EF4-FFF2-40B4-BE49-F238E27FC236}">
                <a16:creationId xmlns:a16="http://schemas.microsoft.com/office/drawing/2014/main" id="{F31811F0-42DA-4C19-9B31-BDEC962B2371}"/>
              </a:ext>
            </a:extLst>
          </p:cNvPr>
          <p:cNvSpPr/>
          <p:nvPr/>
        </p:nvSpPr>
        <p:spPr>
          <a:xfrm>
            <a:off x="1543666" y="1367422"/>
            <a:ext cx="1825899" cy="1825899"/>
          </a:xfrm>
          <a:prstGeom prst="roundRect">
            <a:avLst>
              <a:gd name="adj" fmla="val 50000"/>
            </a:avLst>
          </a:prstGeom>
          <a:solidFill>
            <a:srgbClr val="BBE0E3"/>
          </a:solidFill>
          <a:ln w="25400">
            <a:solidFill>
              <a:srgbClr val="BBE0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Freeform: Shape 96">
            <a:extLst>
              <a:ext uri="{FF2B5EF4-FFF2-40B4-BE49-F238E27FC236}">
                <a16:creationId xmlns:a16="http://schemas.microsoft.com/office/drawing/2014/main" id="{B1A60F18-27A6-4140-95B8-A844ABB60EE4}"/>
              </a:ext>
            </a:extLst>
          </p:cNvPr>
          <p:cNvSpPr/>
          <p:nvPr/>
        </p:nvSpPr>
        <p:spPr>
          <a:xfrm>
            <a:off x="2522943" y="2328860"/>
            <a:ext cx="1824117" cy="1727452"/>
          </a:xfrm>
          <a:custGeom>
            <a:avLst/>
            <a:gdLst>
              <a:gd name="connsiteX0" fmla="*/ 1823837 w 1824117"/>
              <a:gd name="connsiteY0" fmla="*/ 860970 h 1727452"/>
              <a:gd name="connsiteX1" fmla="*/ 1824117 w 1824117"/>
              <a:gd name="connsiteY1" fmla="*/ 866508 h 1727452"/>
              <a:gd name="connsiteX2" fmla="*/ 1769141 w 1824117"/>
              <a:gd name="connsiteY2" fmla="*/ 863732 h 1727452"/>
              <a:gd name="connsiteX3" fmla="*/ 844174 w 1824117"/>
              <a:gd name="connsiteY3" fmla="*/ 0 h 1727452"/>
              <a:gd name="connsiteX4" fmla="*/ 846439 w 1824117"/>
              <a:gd name="connsiteY4" fmla="*/ 44855 h 1727452"/>
              <a:gd name="connsiteX5" fmla="*/ 1667091 w 1824117"/>
              <a:gd name="connsiteY5" fmla="*/ 860314 h 1727452"/>
              <a:gd name="connsiteX6" fmla="*/ 1739754 w 1824117"/>
              <a:gd name="connsiteY6" fmla="*/ 863755 h 1727452"/>
              <a:gd name="connsiteX7" fmla="*/ 1661331 w 1824117"/>
              <a:gd name="connsiteY7" fmla="*/ 867715 h 1727452"/>
              <a:gd name="connsiteX8" fmla="*/ 846439 w 1824117"/>
              <a:gd name="connsiteY8" fmla="*/ 1682607 h 1727452"/>
              <a:gd name="connsiteX9" fmla="*/ 844174 w 1824117"/>
              <a:gd name="connsiteY9" fmla="*/ 1727452 h 1727452"/>
              <a:gd name="connsiteX10" fmla="*/ 841910 w 1824117"/>
              <a:gd name="connsiteY10" fmla="*/ 1682607 h 1727452"/>
              <a:gd name="connsiteX11" fmla="*/ 27017 w 1824117"/>
              <a:gd name="connsiteY11" fmla="*/ 867715 h 1727452"/>
              <a:gd name="connsiteX12" fmla="*/ 0 w 1824117"/>
              <a:gd name="connsiteY12" fmla="*/ 866350 h 1727452"/>
              <a:gd name="connsiteX13" fmla="*/ 265 w 1824117"/>
              <a:gd name="connsiteY13" fmla="*/ 861099 h 1727452"/>
              <a:gd name="connsiteX14" fmla="*/ 27016 w 1824117"/>
              <a:gd name="connsiteY14" fmla="*/ 859749 h 1727452"/>
              <a:gd name="connsiteX15" fmla="*/ 841909 w 1824117"/>
              <a:gd name="connsiteY15" fmla="*/ 44856 h 172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4117" h="1727452">
                <a:moveTo>
                  <a:pt x="1823837" y="860970"/>
                </a:moveTo>
                <a:lnTo>
                  <a:pt x="1824117" y="866508"/>
                </a:lnTo>
                <a:lnTo>
                  <a:pt x="1769141" y="863732"/>
                </a:lnTo>
                <a:close/>
                <a:moveTo>
                  <a:pt x="844174" y="0"/>
                </a:moveTo>
                <a:lnTo>
                  <a:pt x="846439" y="44855"/>
                </a:lnTo>
                <a:cubicBezTo>
                  <a:pt x="890269" y="476443"/>
                  <a:pt x="1234718" y="819160"/>
                  <a:pt x="1667091" y="860314"/>
                </a:cubicBezTo>
                <a:lnTo>
                  <a:pt x="1739754" y="863755"/>
                </a:lnTo>
                <a:lnTo>
                  <a:pt x="1661331" y="867715"/>
                </a:lnTo>
                <a:cubicBezTo>
                  <a:pt x="1231662" y="911350"/>
                  <a:pt x="890074" y="1252938"/>
                  <a:pt x="846439" y="1682607"/>
                </a:cubicBezTo>
                <a:lnTo>
                  <a:pt x="844174" y="1727452"/>
                </a:lnTo>
                <a:lnTo>
                  <a:pt x="841910" y="1682607"/>
                </a:lnTo>
                <a:cubicBezTo>
                  <a:pt x="798274" y="1252938"/>
                  <a:pt x="456687" y="911350"/>
                  <a:pt x="27017" y="867715"/>
                </a:cubicBezTo>
                <a:lnTo>
                  <a:pt x="0" y="866350"/>
                </a:lnTo>
                <a:lnTo>
                  <a:pt x="265" y="861099"/>
                </a:lnTo>
                <a:lnTo>
                  <a:pt x="27016" y="859749"/>
                </a:lnTo>
                <a:cubicBezTo>
                  <a:pt x="456686" y="816113"/>
                  <a:pt x="798273" y="474526"/>
                  <a:pt x="841909" y="44856"/>
                </a:cubicBezTo>
                <a:close/>
              </a:path>
            </a:pathLst>
          </a:custGeom>
          <a:solidFill>
            <a:srgbClr val="BBE0E3"/>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3" name="Freeform: Shape 102">
            <a:extLst>
              <a:ext uri="{FF2B5EF4-FFF2-40B4-BE49-F238E27FC236}">
                <a16:creationId xmlns:a16="http://schemas.microsoft.com/office/drawing/2014/main" id="{BAA85B24-C404-4D8C-963A-8C397CFCED17}"/>
              </a:ext>
            </a:extLst>
          </p:cNvPr>
          <p:cNvSpPr/>
          <p:nvPr/>
        </p:nvSpPr>
        <p:spPr>
          <a:xfrm>
            <a:off x="4292084" y="2328861"/>
            <a:ext cx="1791614" cy="1727452"/>
          </a:xfrm>
          <a:custGeom>
            <a:avLst/>
            <a:gdLst>
              <a:gd name="connsiteX0" fmla="*/ 896035 w 1791614"/>
              <a:gd name="connsiteY0" fmla="*/ 0 h 1727452"/>
              <a:gd name="connsiteX1" fmla="*/ 898300 w 1791614"/>
              <a:gd name="connsiteY1" fmla="*/ 44854 h 1727452"/>
              <a:gd name="connsiteX2" fmla="*/ 1718952 w 1791614"/>
              <a:gd name="connsiteY2" fmla="*/ 860313 h 1727452"/>
              <a:gd name="connsiteX3" fmla="*/ 1791614 w 1791614"/>
              <a:gd name="connsiteY3" fmla="*/ 863754 h 1727452"/>
              <a:gd name="connsiteX4" fmla="*/ 1713192 w 1791614"/>
              <a:gd name="connsiteY4" fmla="*/ 867714 h 1727452"/>
              <a:gd name="connsiteX5" fmla="*/ 898300 w 1791614"/>
              <a:gd name="connsiteY5" fmla="*/ 1682606 h 1727452"/>
              <a:gd name="connsiteX6" fmla="*/ 896035 w 1791614"/>
              <a:gd name="connsiteY6" fmla="*/ 1727452 h 1727452"/>
              <a:gd name="connsiteX7" fmla="*/ 893771 w 1791614"/>
              <a:gd name="connsiteY7" fmla="*/ 1682606 h 1727452"/>
              <a:gd name="connsiteX8" fmla="*/ 78878 w 1791614"/>
              <a:gd name="connsiteY8" fmla="*/ 867714 h 1727452"/>
              <a:gd name="connsiteX9" fmla="*/ 0 w 1791614"/>
              <a:gd name="connsiteY9" fmla="*/ 863731 h 1727452"/>
              <a:gd name="connsiteX10" fmla="*/ 78877 w 1791614"/>
              <a:gd name="connsiteY10" fmla="*/ 859748 h 1727452"/>
              <a:gd name="connsiteX11" fmla="*/ 893770 w 1791614"/>
              <a:gd name="connsiteY11" fmla="*/ 44855 h 172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1614" h="1727452">
                <a:moveTo>
                  <a:pt x="896035" y="0"/>
                </a:moveTo>
                <a:lnTo>
                  <a:pt x="898300" y="44854"/>
                </a:lnTo>
                <a:cubicBezTo>
                  <a:pt x="942130" y="476442"/>
                  <a:pt x="1286579" y="819159"/>
                  <a:pt x="1718952" y="860313"/>
                </a:cubicBezTo>
                <a:lnTo>
                  <a:pt x="1791614" y="863754"/>
                </a:lnTo>
                <a:lnTo>
                  <a:pt x="1713192" y="867714"/>
                </a:lnTo>
                <a:cubicBezTo>
                  <a:pt x="1283523" y="911349"/>
                  <a:pt x="941935" y="1252937"/>
                  <a:pt x="898300" y="1682606"/>
                </a:cubicBezTo>
                <a:lnTo>
                  <a:pt x="896035" y="1727452"/>
                </a:lnTo>
                <a:lnTo>
                  <a:pt x="893771" y="1682606"/>
                </a:lnTo>
                <a:cubicBezTo>
                  <a:pt x="850135" y="1252937"/>
                  <a:pt x="508548" y="911349"/>
                  <a:pt x="78878" y="867714"/>
                </a:cubicBezTo>
                <a:lnTo>
                  <a:pt x="0" y="863731"/>
                </a:lnTo>
                <a:lnTo>
                  <a:pt x="78877" y="859748"/>
                </a:lnTo>
                <a:cubicBezTo>
                  <a:pt x="508547" y="816112"/>
                  <a:pt x="850134" y="474525"/>
                  <a:pt x="893770" y="44855"/>
                </a:cubicBezTo>
                <a:close/>
              </a:path>
            </a:pathLst>
          </a:custGeom>
          <a:solidFill>
            <a:srgbClr val="9ED3D7"/>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0" name="Freeform: Shape 129">
            <a:extLst>
              <a:ext uri="{FF2B5EF4-FFF2-40B4-BE49-F238E27FC236}">
                <a16:creationId xmlns:a16="http://schemas.microsoft.com/office/drawing/2014/main" id="{D93BE9C3-8C83-4CF2-BA08-A357276D2475}"/>
              </a:ext>
            </a:extLst>
          </p:cNvPr>
          <p:cNvSpPr/>
          <p:nvPr/>
        </p:nvSpPr>
        <p:spPr>
          <a:xfrm>
            <a:off x="8006925" y="2168659"/>
            <a:ext cx="1810277" cy="1817940"/>
          </a:xfrm>
          <a:custGeom>
            <a:avLst/>
            <a:gdLst>
              <a:gd name="connsiteX0" fmla="*/ 1810277 w 1810277"/>
              <a:gd name="connsiteY0" fmla="*/ 1020532 h 1817940"/>
              <a:gd name="connsiteX1" fmla="*/ 1809247 w 1810277"/>
              <a:gd name="connsiteY1" fmla="*/ 1027281 h 1817940"/>
              <a:gd name="connsiteX2" fmla="*/ 1742927 w 1810277"/>
              <a:gd name="connsiteY2" fmla="*/ 1023933 h 1817940"/>
              <a:gd name="connsiteX3" fmla="*/ 817305 w 1810277"/>
              <a:gd name="connsiteY3" fmla="*/ 147242 h 1817940"/>
              <a:gd name="connsiteX4" fmla="*/ 820224 w 1810277"/>
              <a:gd name="connsiteY4" fmla="*/ 205056 h 1817940"/>
              <a:gd name="connsiteX5" fmla="*/ 1640877 w 1810277"/>
              <a:gd name="connsiteY5" fmla="*/ 1020515 h 1817940"/>
              <a:gd name="connsiteX6" fmla="*/ 1713539 w 1810277"/>
              <a:gd name="connsiteY6" fmla="*/ 1023956 h 1817940"/>
              <a:gd name="connsiteX7" fmla="*/ 1635117 w 1810277"/>
              <a:gd name="connsiteY7" fmla="*/ 1027916 h 1817940"/>
              <a:gd name="connsiteX8" fmla="*/ 834059 w 1810277"/>
              <a:gd name="connsiteY8" fmla="*/ 1752161 h 1817940"/>
              <a:gd name="connsiteX9" fmla="*/ 824020 w 1810277"/>
              <a:gd name="connsiteY9" fmla="*/ 1817940 h 1817940"/>
              <a:gd name="connsiteX10" fmla="*/ 817261 w 1810277"/>
              <a:gd name="connsiteY10" fmla="*/ 1817620 h 1817940"/>
              <a:gd name="connsiteX11" fmla="*/ 810347 w 1810277"/>
              <a:gd name="connsiteY11" fmla="*/ 1816341 h 1817940"/>
              <a:gd name="connsiteX12" fmla="*/ 800552 w 1810277"/>
              <a:gd name="connsiteY12" fmla="*/ 1752161 h 1817940"/>
              <a:gd name="connsiteX13" fmla="*/ 90141 w 1810277"/>
              <a:gd name="connsiteY13" fmla="*/ 1041750 h 1817940"/>
              <a:gd name="connsiteX14" fmla="*/ 1602 w 1810277"/>
              <a:gd name="connsiteY14" fmla="*/ 1028237 h 1817940"/>
              <a:gd name="connsiteX15" fmla="*/ 0 w 1810277"/>
              <a:gd name="connsiteY15" fmla="*/ 1019872 h 1817940"/>
              <a:gd name="connsiteX16" fmla="*/ 90140 w 1810277"/>
              <a:gd name="connsiteY16" fmla="*/ 1006115 h 1817940"/>
              <a:gd name="connsiteX17" fmla="*/ 814386 w 1810277"/>
              <a:gd name="connsiteY17" fmla="*/ 205057 h 1817940"/>
              <a:gd name="connsiteX18" fmla="*/ 823028 w 1810277"/>
              <a:gd name="connsiteY18" fmla="*/ 0 h 1817940"/>
              <a:gd name="connsiteX19" fmla="*/ 820224 w 1810277"/>
              <a:gd name="connsiteY19" fmla="*/ 18369 h 1817940"/>
              <a:gd name="connsiteX20" fmla="*/ 817305 w 1810277"/>
              <a:gd name="connsiteY20" fmla="*/ 76174 h 1817940"/>
              <a:gd name="connsiteX21" fmla="*/ 814387 w 1810277"/>
              <a:gd name="connsiteY21" fmla="*/ 18369 h 1817940"/>
              <a:gd name="connsiteX22" fmla="*/ 811670 w 1810277"/>
              <a:gd name="connsiteY22" fmla="*/ 573 h 181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10277" h="1817940">
                <a:moveTo>
                  <a:pt x="1810277" y="1020532"/>
                </a:moveTo>
                <a:lnTo>
                  <a:pt x="1809247" y="1027281"/>
                </a:lnTo>
                <a:lnTo>
                  <a:pt x="1742927" y="1023933"/>
                </a:lnTo>
                <a:close/>
                <a:moveTo>
                  <a:pt x="817305" y="147242"/>
                </a:moveTo>
                <a:lnTo>
                  <a:pt x="820224" y="205056"/>
                </a:lnTo>
                <a:cubicBezTo>
                  <a:pt x="864055" y="636644"/>
                  <a:pt x="1208504" y="979361"/>
                  <a:pt x="1640877" y="1020515"/>
                </a:cubicBezTo>
                <a:lnTo>
                  <a:pt x="1713539" y="1023956"/>
                </a:lnTo>
                <a:lnTo>
                  <a:pt x="1635117" y="1027916"/>
                </a:lnTo>
                <a:cubicBezTo>
                  <a:pt x="1236138" y="1068434"/>
                  <a:pt x="913108" y="1365861"/>
                  <a:pt x="834059" y="1752161"/>
                </a:cubicBezTo>
                <a:lnTo>
                  <a:pt x="824020" y="1817940"/>
                </a:lnTo>
                <a:lnTo>
                  <a:pt x="817261" y="1817620"/>
                </a:lnTo>
                <a:lnTo>
                  <a:pt x="810347" y="1816341"/>
                </a:lnTo>
                <a:lnTo>
                  <a:pt x="800552" y="1752161"/>
                </a:lnTo>
                <a:cubicBezTo>
                  <a:pt x="727584" y="1395576"/>
                  <a:pt x="446726" y="1114718"/>
                  <a:pt x="90141" y="1041750"/>
                </a:cubicBezTo>
                <a:lnTo>
                  <a:pt x="1602" y="1028237"/>
                </a:lnTo>
                <a:lnTo>
                  <a:pt x="0" y="1019872"/>
                </a:lnTo>
                <a:lnTo>
                  <a:pt x="90140" y="1006115"/>
                </a:lnTo>
                <a:cubicBezTo>
                  <a:pt x="476440" y="927067"/>
                  <a:pt x="773867" y="604036"/>
                  <a:pt x="814386" y="205057"/>
                </a:cubicBezTo>
                <a:close/>
                <a:moveTo>
                  <a:pt x="823028" y="0"/>
                </a:moveTo>
                <a:lnTo>
                  <a:pt x="820224" y="18369"/>
                </a:lnTo>
                <a:lnTo>
                  <a:pt x="817305" y="76174"/>
                </a:lnTo>
                <a:lnTo>
                  <a:pt x="814387" y="18369"/>
                </a:lnTo>
                <a:lnTo>
                  <a:pt x="811670" y="573"/>
                </a:lnTo>
                <a:close/>
              </a:path>
            </a:pathLst>
          </a:custGeom>
          <a:solidFill>
            <a:srgbClr val="EF95A0"/>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5" name="Rectangle: Rounded Corners 124">
            <a:extLst>
              <a:ext uri="{FF2B5EF4-FFF2-40B4-BE49-F238E27FC236}">
                <a16:creationId xmlns:a16="http://schemas.microsoft.com/office/drawing/2014/main" id="{C13103D0-4F5C-4D71-B107-05A337B91B28}"/>
              </a:ext>
            </a:extLst>
          </p:cNvPr>
          <p:cNvSpPr/>
          <p:nvPr/>
        </p:nvSpPr>
        <p:spPr>
          <a:xfrm>
            <a:off x="5187293" y="3196759"/>
            <a:ext cx="1816106" cy="1816104"/>
          </a:xfrm>
          <a:prstGeom prst="roundRect">
            <a:avLst>
              <a:gd name="adj" fmla="val 5000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reeform: Shape 123">
            <a:extLst>
              <a:ext uri="{FF2B5EF4-FFF2-40B4-BE49-F238E27FC236}">
                <a16:creationId xmlns:a16="http://schemas.microsoft.com/office/drawing/2014/main" id="{1921C3CD-37A1-446D-913D-4E14126FA627}"/>
              </a:ext>
            </a:extLst>
          </p:cNvPr>
          <p:cNvSpPr/>
          <p:nvPr/>
        </p:nvSpPr>
        <p:spPr>
          <a:xfrm>
            <a:off x="6150524" y="2379577"/>
            <a:ext cx="1817477" cy="1626019"/>
          </a:xfrm>
          <a:custGeom>
            <a:avLst/>
            <a:gdLst>
              <a:gd name="connsiteX0" fmla="*/ 1817271 w 1817477"/>
              <a:gd name="connsiteY0" fmla="*/ 810982 h 1626019"/>
              <a:gd name="connsiteX1" fmla="*/ 1817477 w 1817477"/>
              <a:gd name="connsiteY1" fmla="*/ 815058 h 1626019"/>
              <a:gd name="connsiteX2" fmla="*/ 1777017 w 1817477"/>
              <a:gd name="connsiteY2" fmla="*/ 813015 h 1626019"/>
              <a:gd name="connsiteX3" fmla="*/ 855437 w 1817477"/>
              <a:gd name="connsiteY3" fmla="*/ 0 h 1626019"/>
              <a:gd name="connsiteX4" fmla="*/ 884427 w 1817477"/>
              <a:gd name="connsiteY4" fmla="*/ 151402 h 1626019"/>
              <a:gd name="connsiteX5" fmla="*/ 1674967 w 1817477"/>
              <a:gd name="connsiteY5" fmla="*/ 809597 h 1626019"/>
              <a:gd name="connsiteX6" fmla="*/ 1747629 w 1817477"/>
              <a:gd name="connsiteY6" fmla="*/ 813038 h 1626019"/>
              <a:gd name="connsiteX7" fmla="*/ 1669207 w 1817477"/>
              <a:gd name="connsiteY7" fmla="*/ 816998 h 1626019"/>
              <a:gd name="connsiteX8" fmla="*/ 884235 w 1817477"/>
              <a:gd name="connsiteY8" fmla="*/ 1475303 h 1626019"/>
              <a:gd name="connsiteX9" fmla="*/ 855437 w 1817477"/>
              <a:gd name="connsiteY9" fmla="*/ 1626019 h 1626019"/>
              <a:gd name="connsiteX10" fmla="*/ 842498 w 1817477"/>
              <a:gd name="connsiteY10" fmla="*/ 1541243 h 1626019"/>
              <a:gd name="connsiteX11" fmla="*/ 41440 w 1817477"/>
              <a:gd name="connsiteY11" fmla="*/ 816998 h 1626019"/>
              <a:gd name="connsiteX12" fmla="*/ 0 w 1817477"/>
              <a:gd name="connsiteY12" fmla="*/ 814905 h 1626019"/>
              <a:gd name="connsiteX13" fmla="*/ 191 w 1817477"/>
              <a:gd name="connsiteY13" fmla="*/ 811115 h 1626019"/>
              <a:gd name="connsiteX14" fmla="*/ 41439 w 1817477"/>
              <a:gd name="connsiteY14" fmla="*/ 809032 h 1626019"/>
              <a:gd name="connsiteX15" fmla="*/ 842497 w 1817477"/>
              <a:gd name="connsiteY15" fmla="*/ 84786 h 162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17477" h="1626019">
                <a:moveTo>
                  <a:pt x="1817271" y="810982"/>
                </a:moveTo>
                <a:lnTo>
                  <a:pt x="1817477" y="815058"/>
                </a:lnTo>
                <a:lnTo>
                  <a:pt x="1777017" y="813015"/>
                </a:lnTo>
                <a:close/>
                <a:moveTo>
                  <a:pt x="855437" y="0"/>
                </a:moveTo>
                <a:lnTo>
                  <a:pt x="884427" y="151402"/>
                </a:lnTo>
                <a:cubicBezTo>
                  <a:pt x="985631" y="506693"/>
                  <a:pt x="1296640" y="773588"/>
                  <a:pt x="1674967" y="809597"/>
                </a:cubicBezTo>
                <a:lnTo>
                  <a:pt x="1747629" y="813038"/>
                </a:lnTo>
                <a:lnTo>
                  <a:pt x="1669207" y="816998"/>
                </a:lnTo>
                <a:cubicBezTo>
                  <a:pt x="1293246" y="855179"/>
                  <a:pt x="984723" y="1121479"/>
                  <a:pt x="884235" y="1475303"/>
                </a:cubicBezTo>
                <a:lnTo>
                  <a:pt x="855437" y="1626019"/>
                </a:lnTo>
                <a:lnTo>
                  <a:pt x="842498" y="1541243"/>
                </a:lnTo>
                <a:cubicBezTo>
                  <a:pt x="763450" y="1154943"/>
                  <a:pt x="440419" y="857516"/>
                  <a:pt x="41440" y="816998"/>
                </a:cubicBezTo>
                <a:lnTo>
                  <a:pt x="0" y="814905"/>
                </a:lnTo>
                <a:lnTo>
                  <a:pt x="191" y="811115"/>
                </a:lnTo>
                <a:lnTo>
                  <a:pt x="41439" y="809032"/>
                </a:lnTo>
                <a:cubicBezTo>
                  <a:pt x="440418" y="768513"/>
                  <a:pt x="763449" y="471087"/>
                  <a:pt x="842497" y="84786"/>
                </a:cubicBezTo>
                <a:close/>
              </a:path>
            </a:pathLst>
          </a:custGeom>
          <a:solidFill>
            <a:srgbClr val="72BFC5"/>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1" name="Rectangle: Rounded Corners 130">
            <a:extLst>
              <a:ext uri="{FF2B5EF4-FFF2-40B4-BE49-F238E27FC236}">
                <a16:creationId xmlns:a16="http://schemas.microsoft.com/office/drawing/2014/main" id="{76314FAB-D840-476D-8F7C-DEF9C9E3BDCC}"/>
              </a:ext>
            </a:extLst>
          </p:cNvPr>
          <p:cNvSpPr/>
          <p:nvPr/>
        </p:nvSpPr>
        <p:spPr>
          <a:xfrm>
            <a:off x="7000125" y="1367422"/>
            <a:ext cx="1825899" cy="1825899"/>
          </a:xfrm>
          <a:prstGeom prst="roundRect">
            <a:avLst>
              <a:gd name="adj" fmla="val 5000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Rounded Corners 103">
            <a:extLst>
              <a:ext uri="{FF2B5EF4-FFF2-40B4-BE49-F238E27FC236}">
                <a16:creationId xmlns:a16="http://schemas.microsoft.com/office/drawing/2014/main" id="{EEF40714-79DD-4648-A05C-C880C6C4C152}"/>
              </a:ext>
            </a:extLst>
          </p:cNvPr>
          <p:cNvSpPr/>
          <p:nvPr/>
        </p:nvSpPr>
        <p:spPr>
          <a:xfrm>
            <a:off x="3364668" y="1367422"/>
            <a:ext cx="1825899" cy="1825899"/>
          </a:xfrm>
          <a:prstGeom prst="roundRect">
            <a:avLst>
              <a:gd name="adj" fmla="val 5000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Rounded Corners 98">
            <a:extLst>
              <a:ext uri="{FF2B5EF4-FFF2-40B4-BE49-F238E27FC236}">
                <a16:creationId xmlns:a16="http://schemas.microsoft.com/office/drawing/2014/main" id="{DBB7CDDB-C0AA-4EE8-82BE-FE9355A039E6}"/>
              </a:ext>
            </a:extLst>
          </p:cNvPr>
          <p:cNvSpPr/>
          <p:nvPr/>
        </p:nvSpPr>
        <p:spPr>
          <a:xfrm>
            <a:off x="1543666" y="3191861"/>
            <a:ext cx="1825899" cy="1825899"/>
          </a:xfrm>
          <a:prstGeom prst="roundRect">
            <a:avLst>
              <a:gd name="adj" fmla="val 5000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575CD53-6108-481A-A31F-305A2B59F755}"/>
              </a:ext>
            </a:extLst>
          </p:cNvPr>
          <p:cNvSpPr txBox="1"/>
          <p:nvPr/>
        </p:nvSpPr>
        <p:spPr>
          <a:xfrm>
            <a:off x="690563" y="314325"/>
            <a:ext cx="10808351" cy="553998"/>
          </a:xfrm>
          <a:prstGeom prst="rect">
            <a:avLst/>
          </a:prstGeom>
          <a:noFill/>
        </p:spPr>
        <p:txBody>
          <a:bodyPr wrap="square" lIns="0" tIns="0" rIns="0" bIns="0" rtlCol="0" anchor="t">
            <a:spAutoFit/>
          </a:bodyPr>
          <a:lstStyle/>
          <a:p>
            <a:r>
              <a:rPr lang="en-US" sz="3600" dirty="0">
                <a:latin typeface="+mj-lt"/>
              </a:rPr>
              <a:t>SDG GOALS</a:t>
            </a:r>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2</a:t>
            </a:fld>
            <a:endParaRPr lang="en-US"/>
          </a:p>
        </p:txBody>
      </p:sp>
      <p:sp>
        <p:nvSpPr>
          <p:cNvPr id="89" name="TextBox 88">
            <a:extLst>
              <a:ext uri="{FF2B5EF4-FFF2-40B4-BE49-F238E27FC236}">
                <a16:creationId xmlns:a16="http://schemas.microsoft.com/office/drawing/2014/main" id="{BFC654B8-714C-4749-896F-E800EB636866}"/>
              </a:ext>
            </a:extLst>
          </p:cNvPr>
          <p:cNvSpPr txBox="1"/>
          <p:nvPr/>
        </p:nvSpPr>
        <p:spPr>
          <a:xfrm>
            <a:off x="1143000" y="5411413"/>
            <a:ext cx="9906000" cy="738664"/>
          </a:xfrm>
          <a:prstGeom prst="rect">
            <a:avLst/>
          </a:prstGeom>
          <a:noFill/>
        </p:spPr>
        <p:txBody>
          <a:bodyPr wrap="square" lIns="0" tIns="0" rIns="0" bIns="0" rtlCol="0">
            <a:spAutoFit/>
          </a:bodyPr>
          <a:lstStyle/>
          <a:p>
            <a:pPr algn="ctr"/>
            <a:r>
              <a:rPr lang="en-US" sz="1600" b="1" dirty="0"/>
              <a:t>24Slides</a:t>
            </a:r>
            <a:r>
              <a:rPr lang="en-US" sz="1600" dirty="0"/>
              <a:t> contributes to the UN 2030 agenda by supporting the Sustainable Development Goals (SDGs). Our strategy focuses on being socially responsible in the markets in which we (primarily) operate. We have five primary areas of action that support selected SDGs.</a:t>
            </a:r>
          </a:p>
        </p:txBody>
      </p:sp>
      <p:sp>
        <p:nvSpPr>
          <p:cNvPr id="295" name="Rectangle: Rounded Corners 294">
            <a:extLst>
              <a:ext uri="{FF2B5EF4-FFF2-40B4-BE49-F238E27FC236}">
                <a16:creationId xmlns:a16="http://schemas.microsoft.com/office/drawing/2014/main" id="{30DF9338-FF32-484F-BA0D-A37E3AB9745D}"/>
              </a:ext>
            </a:extLst>
          </p:cNvPr>
          <p:cNvSpPr/>
          <p:nvPr/>
        </p:nvSpPr>
        <p:spPr>
          <a:xfrm>
            <a:off x="1946694" y="1770450"/>
            <a:ext cx="1019843" cy="101984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Rectangle: Rounded Corners 295">
            <a:extLst>
              <a:ext uri="{FF2B5EF4-FFF2-40B4-BE49-F238E27FC236}">
                <a16:creationId xmlns:a16="http://schemas.microsoft.com/office/drawing/2014/main" id="{3265DCDC-F49F-41D1-A568-96DE653F877B}"/>
              </a:ext>
            </a:extLst>
          </p:cNvPr>
          <p:cNvSpPr/>
          <p:nvPr/>
        </p:nvSpPr>
        <p:spPr>
          <a:xfrm>
            <a:off x="3767695" y="3594889"/>
            <a:ext cx="1019843" cy="101984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Rectangle: Rounded Corners 296">
            <a:extLst>
              <a:ext uri="{FF2B5EF4-FFF2-40B4-BE49-F238E27FC236}">
                <a16:creationId xmlns:a16="http://schemas.microsoft.com/office/drawing/2014/main" id="{7B884F2D-6286-4C82-936F-DBFAAE353A2A}"/>
              </a:ext>
            </a:extLst>
          </p:cNvPr>
          <p:cNvSpPr/>
          <p:nvPr/>
        </p:nvSpPr>
        <p:spPr>
          <a:xfrm>
            <a:off x="5588698" y="1770450"/>
            <a:ext cx="1019843" cy="101984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Rectangle: Rounded Corners 298">
            <a:extLst>
              <a:ext uri="{FF2B5EF4-FFF2-40B4-BE49-F238E27FC236}">
                <a16:creationId xmlns:a16="http://schemas.microsoft.com/office/drawing/2014/main" id="{2D265309-6485-441F-A521-CD37742FB3ED}"/>
              </a:ext>
            </a:extLst>
          </p:cNvPr>
          <p:cNvSpPr/>
          <p:nvPr/>
        </p:nvSpPr>
        <p:spPr>
          <a:xfrm>
            <a:off x="7403153" y="3594889"/>
            <a:ext cx="1019843" cy="101984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TextBox 89">
            <a:extLst>
              <a:ext uri="{FF2B5EF4-FFF2-40B4-BE49-F238E27FC236}">
                <a16:creationId xmlns:a16="http://schemas.microsoft.com/office/drawing/2014/main" id="{1DC38031-C222-4565-AD96-F73F66F814E8}"/>
              </a:ext>
            </a:extLst>
          </p:cNvPr>
          <p:cNvSpPr txBox="1"/>
          <p:nvPr/>
        </p:nvSpPr>
        <p:spPr>
          <a:xfrm>
            <a:off x="1658343" y="3850908"/>
            <a:ext cx="1596545" cy="507804"/>
          </a:xfrm>
          <a:prstGeom prst="rect">
            <a:avLst/>
          </a:prstGeom>
          <a:noFill/>
        </p:spPr>
        <p:txBody>
          <a:bodyPr wrap="square" lIns="0" tIns="0" rIns="0" bIns="0" rtlCol="0" anchor="t">
            <a:spAutoFit/>
          </a:bodyPr>
          <a:lstStyle/>
          <a:p>
            <a:pPr algn="ctr"/>
            <a:r>
              <a:rPr lang="en-US" sz="1600" b="1" dirty="0"/>
              <a:t>SDG 1</a:t>
            </a:r>
          </a:p>
          <a:p>
            <a:pPr algn="ctr"/>
            <a:r>
              <a:rPr lang="en-US" sz="1600" b="1" dirty="0"/>
              <a:t>No Poverty</a:t>
            </a:r>
          </a:p>
        </p:txBody>
      </p:sp>
      <p:sp>
        <p:nvSpPr>
          <p:cNvPr id="91" name="TextBox 90">
            <a:extLst>
              <a:ext uri="{FF2B5EF4-FFF2-40B4-BE49-F238E27FC236}">
                <a16:creationId xmlns:a16="http://schemas.microsoft.com/office/drawing/2014/main" id="{84BF9BC9-0E4E-442A-9A7E-7BE9F969B416}"/>
              </a:ext>
            </a:extLst>
          </p:cNvPr>
          <p:cNvSpPr txBox="1"/>
          <p:nvPr/>
        </p:nvSpPr>
        <p:spPr>
          <a:xfrm>
            <a:off x="5300347" y="3850908"/>
            <a:ext cx="1596545" cy="507804"/>
          </a:xfrm>
          <a:prstGeom prst="rect">
            <a:avLst/>
          </a:prstGeom>
          <a:noFill/>
        </p:spPr>
        <p:txBody>
          <a:bodyPr wrap="square" lIns="0" tIns="0" rIns="0" bIns="0" rtlCol="0" anchor="t">
            <a:spAutoFit/>
          </a:bodyPr>
          <a:lstStyle/>
          <a:p>
            <a:pPr algn="ctr"/>
            <a:r>
              <a:rPr lang="en-US" sz="1600" b="1" dirty="0"/>
              <a:t>SDG 4</a:t>
            </a:r>
          </a:p>
          <a:p>
            <a:pPr algn="ctr"/>
            <a:r>
              <a:rPr lang="en-US" sz="1600" b="1" dirty="0"/>
              <a:t>Quality Education</a:t>
            </a:r>
          </a:p>
        </p:txBody>
      </p:sp>
      <p:sp>
        <p:nvSpPr>
          <p:cNvPr id="93" name="TextBox 92">
            <a:extLst>
              <a:ext uri="{FF2B5EF4-FFF2-40B4-BE49-F238E27FC236}">
                <a16:creationId xmlns:a16="http://schemas.microsoft.com/office/drawing/2014/main" id="{607FBA46-02CA-46F3-899D-E75AF1865C42}"/>
              </a:ext>
            </a:extLst>
          </p:cNvPr>
          <p:cNvSpPr txBox="1"/>
          <p:nvPr/>
        </p:nvSpPr>
        <p:spPr>
          <a:xfrm>
            <a:off x="3458263" y="1899520"/>
            <a:ext cx="1596545" cy="761703"/>
          </a:xfrm>
          <a:prstGeom prst="rect">
            <a:avLst/>
          </a:prstGeom>
          <a:noFill/>
        </p:spPr>
        <p:txBody>
          <a:bodyPr wrap="square" lIns="0" tIns="0" rIns="0" bIns="0" rtlCol="0" anchor="t">
            <a:spAutoFit/>
          </a:bodyPr>
          <a:lstStyle/>
          <a:p>
            <a:pPr algn="ctr"/>
            <a:r>
              <a:rPr lang="en-US" sz="1600" b="1" dirty="0"/>
              <a:t>SDG 3</a:t>
            </a:r>
          </a:p>
          <a:p>
            <a:pPr algn="ctr"/>
            <a:r>
              <a:rPr lang="en-US" sz="1600" b="1" dirty="0"/>
              <a:t>Good Health and Wellbeing</a:t>
            </a:r>
          </a:p>
        </p:txBody>
      </p:sp>
      <p:sp>
        <p:nvSpPr>
          <p:cNvPr id="94" name="TextBox 93">
            <a:extLst>
              <a:ext uri="{FF2B5EF4-FFF2-40B4-BE49-F238E27FC236}">
                <a16:creationId xmlns:a16="http://schemas.microsoft.com/office/drawing/2014/main" id="{DCFC243E-485F-402C-839E-D0D2FE11612C}"/>
              </a:ext>
            </a:extLst>
          </p:cNvPr>
          <p:cNvSpPr txBox="1"/>
          <p:nvPr/>
        </p:nvSpPr>
        <p:spPr>
          <a:xfrm>
            <a:off x="7114802" y="2026469"/>
            <a:ext cx="1596545" cy="507804"/>
          </a:xfrm>
          <a:prstGeom prst="rect">
            <a:avLst/>
          </a:prstGeom>
          <a:noFill/>
        </p:spPr>
        <p:txBody>
          <a:bodyPr wrap="square" lIns="0" tIns="0" rIns="0" bIns="0" rtlCol="0" anchor="t">
            <a:spAutoFit/>
          </a:bodyPr>
          <a:lstStyle/>
          <a:p>
            <a:pPr algn="ctr"/>
            <a:r>
              <a:rPr lang="en-US" sz="1600" b="1" dirty="0"/>
              <a:t>SDG 5</a:t>
            </a:r>
          </a:p>
          <a:p>
            <a:pPr algn="ctr"/>
            <a:r>
              <a:rPr lang="en-US" sz="1600" b="1" dirty="0"/>
              <a:t>Gender Equality</a:t>
            </a:r>
          </a:p>
        </p:txBody>
      </p:sp>
      <p:grpSp>
        <p:nvGrpSpPr>
          <p:cNvPr id="67" name="Group 66">
            <a:extLst>
              <a:ext uri="{FF2B5EF4-FFF2-40B4-BE49-F238E27FC236}">
                <a16:creationId xmlns:a16="http://schemas.microsoft.com/office/drawing/2014/main" id="{C4636503-B770-45EE-9EFD-FA4D58C7F513}"/>
              </a:ext>
            </a:extLst>
          </p:cNvPr>
          <p:cNvGrpSpPr/>
          <p:nvPr/>
        </p:nvGrpSpPr>
        <p:grpSpPr>
          <a:xfrm>
            <a:off x="2233878" y="2057634"/>
            <a:ext cx="445474" cy="445474"/>
            <a:chOff x="3397251" y="1066800"/>
            <a:chExt cx="360363" cy="360363"/>
          </a:xfrm>
          <a:solidFill>
            <a:srgbClr val="BBE0E3"/>
          </a:solidFill>
        </p:grpSpPr>
        <p:sp>
          <p:nvSpPr>
            <p:cNvPr id="68" name="Freeform 282">
              <a:extLst>
                <a:ext uri="{FF2B5EF4-FFF2-40B4-BE49-F238E27FC236}">
                  <a16:creationId xmlns:a16="http://schemas.microsoft.com/office/drawing/2014/main" id="{774EE158-E0B9-443A-9300-06D24A9AF4BA}"/>
                </a:ext>
              </a:extLst>
            </p:cNvPr>
            <p:cNvSpPr>
              <a:spLocks/>
            </p:cNvSpPr>
            <p:nvPr/>
          </p:nvSpPr>
          <p:spPr bwMode="auto">
            <a:xfrm>
              <a:off x="3397251" y="1187450"/>
              <a:ext cx="360363" cy="239713"/>
            </a:xfrm>
            <a:custGeom>
              <a:avLst/>
              <a:gdLst>
                <a:gd name="T0" fmla="*/ 94 w 96"/>
                <a:gd name="T1" fmla="*/ 40 h 64"/>
                <a:gd name="T2" fmla="*/ 28 w 96"/>
                <a:gd name="T3" fmla="*/ 40 h 64"/>
                <a:gd name="T4" fmla="*/ 28 w 96"/>
                <a:gd name="T5" fmla="*/ 26 h 64"/>
                <a:gd name="T6" fmla="*/ 40 w 96"/>
                <a:gd name="T7" fmla="*/ 2 h 64"/>
                <a:gd name="T8" fmla="*/ 38 w 96"/>
                <a:gd name="T9" fmla="*/ 0 h 64"/>
                <a:gd name="T10" fmla="*/ 2 w 96"/>
                <a:gd name="T11" fmla="*/ 0 h 64"/>
                <a:gd name="T12" fmla="*/ 0 w 96"/>
                <a:gd name="T13" fmla="*/ 2 h 64"/>
                <a:gd name="T14" fmla="*/ 12 w 96"/>
                <a:gd name="T15" fmla="*/ 26 h 64"/>
                <a:gd name="T16" fmla="*/ 12 w 96"/>
                <a:gd name="T17" fmla="*/ 40 h 64"/>
                <a:gd name="T18" fmla="*/ 2 w 96"/>
                <a:gd name="T19" fmla="*/ 40 h 64"/>
                <a:gd name="T20" fmla="*/ 0 w 96"/>
                <a:gd name="T21" fmla="*/ 42 h 64"/>
                <a:gd name="T22" fmla="*/ 2 w 96"/>
                <a:gd name="T23" fmla="*/ 44 h 64"/>
                <a:gd name="T24" fmla="*/ 42 w 96"/>
                <a:gd name="T25" fmla="*/ 44 h 64"/>
                <a:gd name="T26" fmla="*/ 28 w 96"/>
                <a:gd name="T27" fmla="*/ 61 h 64"/>
                <a:gd name="T28" fmla="*/ 28 w 96"/>
                <a:gd name="T29" fmla="*/ 63 h 64"/>
                <a:gd name="T30" fmla="*/ 30 w 96"/>
                <a:gd name="T31" fmla="*/ 64 h 64"/>
                <a:gd name="T32" fmla="*/ 62 w 96"/>
                <a:gd name="T33" fmla="*/ 64 h 64"/>
                <a:gd name="T34" fmla="*/ 64 w 96"/>
                <a:gd name="T35" fmla="*/ 63 h 64"/>
                <a:gd name="T36" fmla="*/ 64 w 96"/>
                <a:gd name="T37" fmla="*/ 61 h 64"/>
                <a:gd name="T38" fmla="*/ 50 w 96"/>
                <a:gd name="T39" fmla="*/ 44 h 64"/>
                <a:gd name="T40" fmla="*/ 94 w 96"/>
                <a:gd name="T41" fmla="*/ 44 h 64"/>
                <a:gd name="T42" fmla="*/ 96 w 96"/>
                <a:gd name="T43" fmla="*/ 42 h 64"/>
                <a:gd name="T44" fmla="*/ 94 w 96"/>
                <a:gd name="T45"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64">
                  <a:moveTo>
                    <a:pt x="94" y="40"/>
                  </a:moveTo>
                  <a:cubicBezTo>
                    <a:pt x="28" y="40"/>
                    <a:pt x="28" y="40"/>
                    <a:pt x="28" y="40"/>
                  </a:cubicBezTo>
                  <a:cubicBezTo>
                    <a:pt x="28" y="26"/>
                    <a:pt x="28" y="26"/>
                    <a:pt x="28" y="26"/>
                  </a:cubicBezTo>
                  <a:cubicBezTo>
                    <a:pt x="36" y="22"/>
                    <a:pt x="40" y="11"/>
                    <a:pt x="40" y="2"/>
                  </a:cubicBezTo>
                  <a:cubicBezTo>
                    <a:pt x="40" y="1"/>
                    <a:pt x="39" y="0"/>
                    <a:pt x="38" y="0"/>
                  </a:cubicBezTo>
                  <a:cubicBezTo>
                    <a:pt x="2" y="0"/>
                    <a:pt x="2" y="0"/>
                    <a:pt x="2" y="0"/>
                  </a:cubicBezTo>
                  <a:cubicBezTo>
                    <a:pt x="1" y="0"/>
                    <a:pt x="0" y="1"/>
                    <a:pt x="0" y="2"/>
                  </a:cubicBezTo>
                  <a:cubicBezTo>
                    <a:pt x="0" y="11"/>
                    <a:pt x="4" y="22"/>
                    <a:pt x="12" y="26"/>
                  </a:cubicBezTo>
                  <a:cubicBezTo>
                    <a:pt x="12" y="40"/>
                    <a:pt x="12" y="40"/>
                    <a:pt x="12" y="40"/>
                  </a:cubicBezTo>
                  <a:cubicBezTo>
                    <a:pt x="2" y="40"/>
                    <a:pt x="2" y="40"/>
                    <a:pt x="2" y="40"/>
                  </a:cubicBezTo>
                  <a:cubicBezTo>
                    <a:pt x="1" y="40"/>
                    <a:pt x="0" y="41"/>
                    <a:pt x="0" y="42"/>
                  </a:cubicBezTo>
                  <a:cubicBezTo>
                    <a:pt x="0" y="43"/>
                    <a:pt x="1" y="44"/>
                    <a:pt x="2" y="44"/>
                  </a:cubicBezTo>
                  <a:cubicBezTo>
                    <a:pt x="42" y="44"/>
                    <a:pt x="42" y="44"/>
                    <a:pt x="42" y="44"/>
                  </a:cubicBezTo>
                  <a:cubicBezTo>
                    <a:pt x="28" y="61"/>
                    <a:pt x="28" y="61"/>
                    <a:pt x="28" y="61"/>
                  </a:cubicBezTo>
                  <a:cubicBezTo>
                    <a:pt x="28" y="61"/>
                    <a:pt x="28" y="62"/>
                    <a:pt x="28" y="63"/>
                  </a:cubicBezTo>
                  <a:cubicBezTo>
                    <a:pt x="29" y="64"/>
                    <a:pt x="29" y="64"/>
                    <a:pt x="30" y="64"/>
                  </a:cubicBezTo>
                  <a:cubicBezTo>
                    <a:pt x="62" y="64"/>
                    <a:pt x="62" y="64"/>
                    <a:pt x="62" y="64"/>
                  </a:cubicBezTo>
                  <a:cubicBezTo>
                    <a:pt x="63" y="64"/>
                    <a:pt x="63" y="64"/>
                    <a:pt x="64" y="63"/>
                  </a:cubicBezTo>
                  <a:cubicBezTo>
                    <a:pt x="64" y="62"/>
                    <a:pt x="64" y="61"/>
                    <a:pt x="64" y="61"/>
                  </a:cubicBezTo>
                  <a:cubicBezTo>
                    <a:pt x="50" y="44"/>
                    <a:pt x="50" y="44"/>
                    <a:pt x="50" y="44"/>
                  </a:cubicBezTo>
                  <a:cubicBezTo>
                    <a:pt x="94" y="44"/>
                    <a:pt x="94" y="44"/>
                    <a:pt x="94" y="44"/>
                  </a:cubicBezTo>
                  <a:cubicBezTo>
                    <a:pt x="95" y="44"/>
                    <a:pt x="96" y="43"/>
                    <a:pt x="96" y="42"/>
                  </a:cubicBezTo>
                  <a:cubicBezTo>
                    <a:pt x="96" y="41"/>
                    <a:pt x="95" y="40"/>
                    <a:pt x="9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69" name="Freeform 283">
              <a:extLst>
                <a:ext uri="{FF2B5EF4-FFF2-40B4-BE49-F238E27FC236}">
                  <a16:creationId xmlns:a16="http://schemas.microsoft.com/office/drawing/2014/main" id="{3CC4A066-9881-47E0-A565-A7E23FAFAF98}"/>
                </a:ext>
              </a:extLst>
            </p:cNvPr>
            <p:cNvSpPr>
              <a:spLocks noEditPoints="1"/>
            </p:cNvSpPr>
            <p:nvPr/>
          </p:nvSpPr>
          <p:spPr bwMode="auto">
            <a:xfrm>
              <a:off x="3592513" y="1141413"/>
              <a:ext cx="165100" cy="166688"/>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24 h 44"/>
                <a:gd name="T12" fmla="*/ 15 w 44"/>
                <a:gd name="T13" fmla="*/ 17 h 44"/>
                <a:gd name="T14" fmla="*/ 20 w 44"/>
                <a:gd name="T15" fmla="*/ 11 h 44"/>
                <a:gd name="T16" fmla="*/ 20 w 44"/>
                <a:gd name="T17" fmla="*/ 10 h 44"/>
                <a:gd name="T18" fmla="*/ 22 w 44"/>
                <a:gd name="T19" fmla="*/ 8 h 44"/>
                <a:gd name="T20" fmla="*/ 24 w 44"/>
                <a:gd name="T21" fmla="*/ 10 h 44"/>
                <a:gd name="T22" fmla="*/ 24 w 44"/>
                <a:gd name="T23" fmla="*/ 11 h 44"/>
                <a:gd name="T24" fmla="*/ 29 w 44"/>
                <a:gd name="T25" fmla="*/ 17 h 44"/>
                <a:gd name="T26" fmla="*/ 27 w 44"/>
                <a:gd name="T27" fmla="*/ 19 h 44"/>
                <a:gd name="T28" fmla="*/ 25 w 44"/>
                <a:gd name="T29" fmla="*/ 17 h 44"/>
                <a:gd name="T30" fmla="*/ 22 w 44"/>
                <a:gd name="T31" fmla="*/ 15 h 44"/>
                <a:gd name="T32" fmla="*/ 19 w 44"/>
                <a:gd name="T33" fmla="*/ 17 h 44"/>
                <a:gd name="T34" fmla="*/ 22 w 44"/>
                <a:gd name="T35" fmla="*/ 20 h 44"/>
                <a:gd name="T36" fmla="*/ 29 w 44"/>
                <a:gd name="T37" fmla="*/ 27 h 44"/>
                <a:gd name="T38" fmla="*/ 24 w 44"/>
                <a:gd name="T39" fmla="*/ 33 h 44"/>
                <a:gd name="T40" fmla="*/ 24 w 44"/>
                <a:gd name="T41" fmla="*/ 34 h 44"/>
                <a:gd name="T42" fmla="*/ 22 w 44"/>
                <a:gd name="T43" fmla="*/ 36 h 44"/>
                <a:gd name="T44" fmla="*/ 20 w 44"/>
                <a:gd name="T45" fmla="*/ 34 h 44"/>
                <a:gd name="T46" fmla="*/ 20 w 44"/>
                <a:gd name="T47" fmla="*/ 33 h 44"/>
                <a:gd name="T48" fmla="*/ 15 w 44"/>
                <a:gd name="T49" fmla="*/ 27 h 44"/>
                <a:gd name="T50" fmla="*/ 17 w 44"/>
                <a:gd name="T51" fmla="*/ 25 h 44"/>
                <a:gd name="T52" fmla="*/ 19 w 44"/>
                <a:gd name="T53" fmla="*/ 27 h 44"/>
                <a:gd name="T54" fmla="*/ 22 w 44"/>
                <a:gd name="T55" fmla="*/ 29 h 44"/>
                <a:gd name="T56" fmla="*/ 25 w 44"/>
                <a:gd name="T57" fmla="*/ 27 h 44"/>
                <a:gd name="T58" fmla="*/ 22 w 44"/>
                <a:gd name="T59"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24"/>
                  </a:moveTo>
                  <a:cubicBezTo>
                    <a:pt x="18" y="24"/>
                    <a:pt x="15" y="21"/>
                    <a:pt x="15" y="17"/>
                  </a:cubicBezTo>
                  <a:cubicBezTo>
                    <a:pt x="15" y="14"/>
                    <a:pt x="17" y="12"/>
                    <a:pt x="20" y="11"/>
                  </a:cubicBezTo>
                  <a:cubicBezTo>
                    <a:pt x="20" y="10"/>
                    <a:pt x="20" y="10"/>
                    <a:pt x="20" y="10"/>
                  </a:cubicBezTo>
                  <a:cubicBezTo>
                    <a:pt x="20" y="9"/>
                    <a:pt x="21" y="8"/>
                    <a:pt x="22" y="8"/>
                  </a:cubicBezTo>
                  <a:cubicBezTo>
                    <a:pt x="23" y="8"/>
                    <a:pt x="24" y="9"/>
                    <a:pt x="24" y="10"/>
                  </a:cubicBezTo>
                  <a:cubicBezTo>
                    <a:pt x="24" y="11"/>
                    <a:pt x="24" y="11"/>
                    <a:pt x="24" y="11"/>
                  </a:cubicBezTo>
                  <a:cubicBezTo>
                    <a:pt x="27" y="12"/>
                    <a:pt x="29" y="14"/>
                    <a:pt x="29" y="17"/>
                  </a:cubicBezTo>
                  <a:cubicBezTo>
                    <a:pt x="29" y="18"/>
                    <a:pt x="28" y="19"/>
                    <a:pt x="27" y="19"/>
                  </a:cubicBezTo>
                  <a:cubicBezTo>
                    <a:pt x="26" y="19"/>
                    <a:pt x="25" y="18"/>
                    <a:pt x="25" y="17"/>
                  </a:cubicBezTo>
                  <a:cubicBezTo>
                    <a:pt x="25" y="16"/>
                    <a:pt x="23" y="15"/>
                    <a:pt x="22" y="15"/>
                  </a:cubicBezTo>
                  <a:cubicBezTo>
                    <a:pt x="21" y="15"/>
                    <a:pt x="19" y="16"/>
                    <a:pt x="19" y="17"/>
                  </a:cubicBezTo>
                  <a:cubicBezTo>
                    <a:pt x="19" y="19"/>
                    <a:pt x="21" y="20"/>
                    <a:pt x="22" y="20"/>
                  </a:cubicBezTo>
                  <a:cubicBezTo>
                    <a:pt x="26" y="20"/>
                    <a:pt x="29" y="23"/>
                    <a:pt x="29" y="27"/>
                  </a:cubicBezTo>
                  <a:cubicBezTo>
                    <a:pt x="29" y="30"/>
                    <a:pt x="27" y="32"/>
                    <a:pt x="24" y="33"/>
                  </a:cubicBezTo>
                  <a:cubicBezTo>
                    <a:pt x="24" y="34"/>
                    <a:pt x="24" y="34"/>
                    <a:pt x="24" y="34"/>
                  </a:cubicBezTo>
                  <a:cubicBezTo>
                    <a:pt x="24" y="35"/>
                    <a:pt x="23" y="36"/>
                    <a:pt x="22" y="36"/>
                  </a:cubicBezTo>
                  <a:cubicBezTo>
                    <a:pt x="21" y="36"/>
                    <a:pt x="20" y="35"/>
                    <a:pt x="20" y="34"/>
                  </a:cubicBezTo>
                  <a:cubicBezTo>
                    <a:pt x="20" y="33"/>
                    <a:pt x="20" y="33"/>
                    <a:pt x="20" y="33"/>
                  </a:cubicBezTo>
                  <a:cubicBezTo>
                    <a:pt x="17" y="32"/>
                    <a:pt x="15" y="30"/>
                    <a:pt x="15" y="27"/>
                  </a:cubicBezTo>
                  <a:cubicBezTo>
                    <a:pt x="15" y="26"/>
                    <a:pt x="16" y="25"/>
                    <a:pt x="17" y="25"/>
                  </a:cubicBezTo>
                  <a:cubicBezTo>
                    <a:pt x="18" y="25"/>
                    <a:pt x="19" y="26"/>
                    <a:pt x="19" y="27"/>
                  </a:cubicBezTo>
                  <a:cubicBezTo>
                    <a:pt x="19" y="28"/>
                    <a:pt x="21" y="29"/>
                    <a:pt x="22" y="29"/>
                  </a:cubicBezTo>
                  <a:cubicBezTo>
                    <a:pt x="23" y="29"/>
                    <a:pt x="25" y="28"/>
                    <a:pt x="25" y="27"/>
                  </a:cubicBezTo>
                  <a:cubicBezTo>
                    <a:pt x="25" y="25"/>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70" name="Oval 69">
              <a:extLst>
                <a:ext uri="{FF2B5EF4-FFF2-40B4-BE49-F238E27FC236}">
                  <a16:creationId xmlns:a16="http://schemas.microsoft.com/office/drawing/2014/main" id="{0F7121D1-2C81-4251-940D-87A6B51E61EF}"/>
                </a:ext>
              </a:extLst>
            </p:cNvPr>
            <p:cNvSpPr>
              <a:spLocks noChangeArrowheads="1"/>
            </p:cNvSpPr>
            <p:nvPr/>
          </p:nvSpPr>
          <p:spPr bwMode="auto">
            <a:xfrm>
              <a:off x="3419476" y="1066800"/>
              <a:ext cx="106363"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grpSp>
      <p:grpSp>
        <p:nvGrpSpPr>
          <p:cNvPr id="47" name="Group 46">
            <a:extLst>
              <a:ext uri="{FF2B5EF4-FFF2-40B4-BE49-F238E27FC236}">
                <a16:creationId xmlns:a16="http://schemas.microsoft.com/office/drawing/2014/main" id="{CD963909-5B04-4FDC-83E0-CCD85037C8D6}"/>
              </a:ext>
            </a:extLst>
          </p:cNvPr>
          <p:cNvGrpSpPr/>
          <p:nvPr/>
        </p:nvGrpSpPr>
        <p:grpSpPr>
          <a:xfrm>
            <a:off x="4036318" y="3882073"/>
            <a:ext cx="482597" cy="445474"/>
            <a:chOff x="3644426" y="3802793"/>
            <a:chExt cx="468000" cy="432000"/>
          </a:xfrm>
          <a:solidFill>
            <a:srgbClr val="9ED3D7"/>
          </a:solidFill>
        </p:grpSpPr>
        <p:sp>
          <p:nvSpPr>
            <p:cNvPr id="72" name="Freeform 26">
              <a:extLst>
                <a:ext uri="{FF2B5EF4-FFF2-40B4-BE49-F238E27FC236}">
                  <a16:creationId xmlns:a16="http://schemas.microsoft.com/office/drawing/2014/main" id="{DCF351FA-6C20-4267-9449-F8A0377183D2}"/>
                </a:ext>
              </a:extLst>
            </p:cNvPr>
            <p:cNvSpPr>
              <a:spLocks/>
            </p:cNvSpPr>
            <p:nvPr/>
          </p:nvSpPr>
          <p:spPr bwMode="auto">
            <a:xfrm>
              <a:off x="3716585" y="4060408"/>
              <a:ext cx="313374" cy="174385"/>
            </a:xfrm>
            <a:custGeom>
              <a:avLst/>
              <a:gdLst>
                <a:gd name="T0" fmla="*/ 48 w 64"/>
                <a:gd name="T1" fmla="*/ 14 h 37"/>
                <a:gd name="T2" fmla="*/ 43 w 64"/>
                <a:gd name="T3" fmla="*/ 17 h 37"/>
                <a:gd name="T4" fmla="*/ 37 w 64"/>
                <a:gd name="T5" fmla="*/ 13 h 37"/>
                <a:gd name="T6" fmla="*/ 33 w 64"/>
                <a:gd name="T7" fmla="*/ 0 h 37"/>
                <a:gd name="T8" fmla="*/ 30 w 64"/>
                <a:gd name="T9" fmla="*/ 6 h 37"/>
                <a:gd name="T10" fmla="*/ 25 w 64"/>
                <a:gd name="T11" fmla="*/ 9 h 37"/>
                <a:gd name="T12" fmla="*/ 20 w 64"/>
                <a:gd name="T13" fmla="*/ 6 h 37"/>
                <a:gd name="T14" fmla="*/ 17 w 64"/>
                <a:gd name="T15" fmla="*/ 1 h 37"/>
                <a:gd name="T16" fmla="*/ 16 w 64"/>
                <a:gd name="T17" fmla="*/ 3 h 37"/>
                <a:gd name="T18" fmla="*/ 11 w 64"/>
                <a:gd name="T19" fmla="*/ 5 h 37"/>
                <a:gd name="T20" fmla="*/ 0 w 64"/>
                <a:gd name="T21" fmla="*/ 5 h 37"/>
                <a:gd name="T22" fmla="*/ 32 w 64"/>
                <a:gd name="T23" fmla="*/ 36 h 37"/>
                <a:gd name="T24" fmla="*/ 33 w 64"/>
                <a:gd name="T25" fmla="*/ 37 h 37"/>
                <a:gd name="T26" fmla="*/ 34 w 64"/>
                <a:gd name="T27" fmla="*/ 36 h 37"/>
                <a:gd name="T28" fmla="*/ 64 w 64"/>
                <a:gd name="T29" fmla="*/ 5 h 37"/>
                <a:gd name="T30" fmla="*/ 53 w 64"/>
                <a:gd name="T31" fmla="*/ 5 h 37"/>
                <a:gd name="T32" fmla="*/ 48 w 64"/>
                <a:gd name="T33"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37">
                  <a:moveTo>
                    <a:pt x="48" y="14"/>
                  </a:moveTo>
                  <a:cubicBezTo>
                    <a:pt x="47" y="16"/>
                    <a:pt x="45" y="17"/>
                    <a:pt x="43" y="17"/>
                  </a:cubicBezTo>
                  <a:cubicBezTo>
                    <a:pt x="40" y="17"/>
                    <a:pt x="38" y="15"/>
                    <a:pt x="37" y="13"/>
                  </a:cubicBezTo>
                  <a:cubicBezTo>
                    <a:pt x="33" y="0"/>
                    <a:pt x="33" y="0"/>
                    <a:pt x="33" y="0"/>
                  </a:cubicBezTo>
                  <a:cubicBezTo>
                    <a:pt x="30" y="6"/>
                    <a:pt x="30" y="6"/>
                    <a:pt x="30" y="6"/>
                  </a:cubicBezTo>
                  <a:cubicBezTo>
                    <a:pt x="29" y="8"/>
                    <a:pt x="28" y="9"/>
                    <a:pt x="25" y="9"/>
                  </a:cubicBezTo>
                  <a:cubicBezTo>
                    <a:pt x="23" y="9"/>
                    <a:pt x="21" y="8"/>
                    <a:pt x="20" y="6"/>
                  </a:cubicBezTo>
                  <a:cubicBezTo>
                    <a:pt x="17" y="1"/>
                    <a:pt x="17" y="1"/>
                    <a:pt x="17" y="1"/>
                  </a:cubicBezTo>
                  <a:cubicBezTo>
                    <a:pt x="16" y="3"/>
                    <a:pt x="16" y="3"/>
                    <a:pt x="16" y="3"/>
                  </a:cubicBezTo>
                  <a:cubicBezTo>
                    <a:pt x="15" y="4"/>
                    <a:pt x="13" y="5"/>
                    <a:pt x="11" y="5"/>
                  </a:cubicBezTo>
                  <a:cubicBezTo>
                    <a:pt x="0" y="5"/>
                    <a:pt x="0" y="5"/>
                    <a:pt x="0" y="5"/>
                  </a:cubicBezTo>
                  <a:cubicBezTo>
                    <a:pt x="7" y="16"/>
                    <a:pt x="22" y="30"/>
                    <a:pt x="32" y="36"/>
                  </a:cubicBezTo>
                  <a:cubicBezTo>
                    <a:pt x="32" y="36"/>
                    <a:pt x="33" y="37"/>
                    <a:pt x="33" y="37"/>
                  </a:cubicBezTo>
                  <a:cubicBezTo>
                    <a:pt x="33" y="37"/>
                    <a:pt x="34" y="36"/>
                    <a:pt x="34" y="36"/>
                  </a:cubicBezTo>
                  <a:cubicBezTo>
                    <a:pt x="43" y="29"/>
                    <a:pt x="57" y="15"/>
                    <a:pt x="64" y="5"/>
                  </a:cubicBezTo>
                  <a:cubicBezTo>
                    <a:pt x="53" y="5"/>
                    <a:pt x="53" y="5"/>
                    <a:pt x="53" y="5"/>
                  </a:cubicBezTo>
                  <a:lnTo>
                    <a:pt x="4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73" name="Freeform 27">
              <a:extLst>
                <a:ext uri="{FF2B5EF4-FFF2-40B4-BE49-F238E27FC236}">
                  <a16:creationId xmlns:a16="http://schemas.microsoft.com/office/drawing/2014/main" id="{42433AB5-F3C3-4FFA-96D1-A6D62E3B6256}"/>
                </a:ext>
              </a:extLst>
            </p:cNvPr>
            <p:cNvSpPr>
              <a:spLocks/>
            </p:cNvSpPr>
            <p:nvPr/>
          </p:nvSpPr>
          <p:spPr bwMode="auto">
            <a:xfrm>
              <a:off x="3662982" y="3802793"/>
              <a:ext cx="428828" cy="233835"/>
            </a:xfrm>
            <a:custGeom>
              <a:avLst/>
              <a:gdLst>
                <a:gd name="T0" fmla="*/ 4 w 88"/>
                <a:gd name="T1" fmla="*/ 48 h 50"/>
                <a:gd name="T2" fmla="*/ 19 w 88"/>
                <a:gd name="T3" fmla="*/ 48 h 50"/>
                <a:gd name="T4" fmla="*/ 23 w 88"/>
                <a:gd name="T5" fmla="*/ 42 h 50"/>
                <a:gd name="T6" fmla="*/ 28 w 88"/>
                <a:gd name="T7" fmla="*/ 40 h 50"/>
                <a:gd name="T8" fmla="*/ 33 w 88"/>
                <a:gd name="T9" fmla="*/ 43 h 50"/>
                <a:gd name="T10" fmla="*/ 35 w 88"/>
                <a:gd name="T11" fmla="*/ 46 h 50"/>
                <a:gd name="T12" fmla="*/ 41 w 88"/>
                <a:gd name="T13" fmla="*/ 35 h 50"/>
                <a:gd name="T14" fmla="*/ 46 w 88"/>
                <a:gd name="T15" fmla="*/ 32 h 50"/>
                <a:gd name="T16" fmla="*/ 52 w 88"/>
                <a:gd name="T17" fmla="*/ 36 h 50"/>
                <a:gd name="T18" fmla="*/ 56 w 88"/>
                <a:gd name="T19" fmla="*/ 50 h 50"/>
                <a:gd name="T20" fmla="*/ 60 w 88"/>
                <a:gd name="T21" fmla="*/ 48 h 50"/>
                <a:gd name="T22" fmla="*/ 82 w 88"/>
                <a:gd name="T23" fmla="*/ 48 h 50"/>
                <a:gd name="T24" fmla="*/ 88 w 88"/>
                <a:gd name="T25" fmla="*/ 26 h 50"/>
                <a:gd name="T26" fmla="*/ 66 w 88"/>
                <a:gd name="T27" fmla="*/ 0 h 50"/>
                <a:gd name="T28" fmla="*/ 44 w 88"/>
                <a:gd name="T29" fmla="*/ 16 h 50"/>
                <a:gd name="T30" fmla="*/ 23 w 88"/>
                <a:gd name="T31" fmla="*/ 0 h 50"/>
                <a:gd name="T32" fmla="*/ 0 w 88"/>
                <a:gd name="T33" fmla="*/ 29 h 50"/>
                <a:gd name="T34" fmla="*/ 4 w 88"/>
                <a:gd name="T3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0">
                  <a:moveTo>
                    <a:pt x="4" y="48"/>
                  </a:moveTo>
                  <a:cubicBezTo>
                    <a:pt x="19" y="48"/>
                    <a:pt x="19" y="48"/>
                    <a:pt x="19" y="48"/>
                  </a:cubicBezTo>
                  <a:cubicBezTo>
                    <a:pt x="23" y="42"/>
                    <a:pt x="23" y="42"/>
                    <a:pt x="23" y="42"/>
                  </a:cubicBezTo>
                  <a:cubicBezTo>
                    <a:pt x="24" y="41"/>
                    <a:pt x="26" y="40"/>
                    <a:pt x="28" y="40"/>
                  </a:cubicBezTo>
                  <a:cubicBezTo>
                    <a:pt x="30" y="40"/>
                    <a:pt x="32" y="41"/>
                    <a:pt x="33" y="43"/>
                  </a:cubicBezTo>
                  <a:cubicBezTo>
                    <a:pt x="35" y="46"/>
                    <a:pt x="35" y="46"/>
                    <a:pt x="35" y="46"/>
                  </a:cubicBezTo>
                  <a:cubicBezTo>
                    <a:pt x="41" y="35"/>
                    <a:pt x="41" y="35"/>
                    <a:pt x="41" y="35"/>
                  </a:cubicBezTo>
                  <a:cubicBezTo>
                    <a:pt x="42" y="33"/>
                    <a:pt x="44" y="32"/>
                    <a:pt x="46" y="32"/>
                  </a:cubicBezTo>
                  <a:cubicBezTo>
                    <a:pt x="49" y="32"/>
                    <a:pt x="51" y="34"/>
                    <a:pt x="52" y="36"/>
                  </a:cubicBezTo>
                  <a:cubicBezTo>
                    <a:pt x="56" y="50"/>
                    <a:pt x="56" y="50"/>
                    <a:pt x="56" y="50"/>
                  </a:cubicBezTo>
                  <a:cubicBezTo>
                    <a:pt x="57" y="49"/>
                    <a:pt x="58" y="48"/>
                    <a:pt x="60" y="48"/>
                  </a:cubicBezTo>
                  <a:cubicBezTo>
                    <a:pt x="82" y="48"/>
                    <a:pt x="82" y="48"/>
                    <a:pt x="82" y="48"/>
                  </a:cubicBezTo>
                  <a:cubicBezTo>
                    <a:pt x="85" y="43"/>
                    <a:pt x="88" y="34"/>
                    <a:pt x="88" y="26"/>
                  </a:cubicBezTo>
                  <a:cubicBezTo>
                    <a:pt x="88" y="9"/>
                    <a:pt x="77" y="0"/>
                    <a:pt x="66" y="0"/>
                  </a:cubicBezTo>
                  <a:cubicBezTo>
                    <a:pt x="57" y="0"/>
                    <a:pt x="48" y="5"/>
                    <a:pt x="44" y="16"/>
                  </a:cubicBezTo>
                  <a:cubicBezTo>
                    <a:pt x="40" y="5"/>
                    <a:pt x="31" y="0"/>
                    <a:pt x="23" y="0"/>
                  </a:cubicBezTo>
                  <a:cubicBezTo>
                    <a:pt x="8" y="0"/>
                    <a:pt x="0" y="15"/>
                    <a:pt x="0" y="29"/>
                  </a:cubicBezTo>
                  <a:cubicBezTo>
                    <a:pt x="0" y="36"/>
                    <a:pt x="2" y="44"/>
                    <a:pt x="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74" name="Freeform 28">
              <a:extLst>
                <a:ext uri="{FF2B5EF4-FFF2-40B4-BE49-F238E27FC236}">
                  <a16:creationId xmlns:a16="http://schemas.microsoft.com/office/drawing/2014/main" id="{4EF9F06C-A513-434C-9E0F-F1AFD901431D}"/>
                </a:ext>
              </a:extLst>
            </p:cNvPr>
            <p:cNvSpPr>
              <a:spLocks/>
            </p:cNvSpPr>
            <p:nvPr/>
          </p:nvSpPr>
          <p:spPr bwMode="auto">
            <a:xfrm>
              <a:off x="3644426" y="3971234"/>
              <a:ext cx="468000" cy="150606"/>
            </a:xfrm>
            <a:custGeom>
              <a:avLst/>
              <a:gdLst>
                <a:gd name="T0" fmla="*/ 94 w 96"/>
                <a:gd name="T1" fmla="*/ 16 h 32"/>
                <a:gd name="T2" fmla="*/ 64 w 96"/>
                <a:gd name="T3" fmla="*/ 16 h 32"/>
                <a:gd name="T4" fmla="*/ 62 w 96"/>
                <a:gd name="T5" fmla="*/ 17 h 32"/>
                <a:gd name="T6" fmla="*/ 59 w 96"/>
                <a:gd name="T7" fmla="*/ 25 h 32"/>
                <a:gd name="T8" fmla="*/ 52 w 96"/>
                <a:gd name="T9" fmla="*/ 1 h 32"/>
                <a:gd name="T10" fmla="*/ 50 w 96"/>
                <a:gd name="T11" fmla="*/ 0 h 32"/>
                <a:gd name="T12" fmla="*/ 48 w 96"/>
                <a:gd name="T13" fmla="*/ 1 h 32"/>
                <a:gd name="T14" fmla="*/ 40 w 96"/>
                <a:gd name="T15" fmla="*/ 18 h 32"/>
                <a:gd name="T16" fmla="*/ 34 w 96"/>
                <a:gd name="T17" fmla="*/ 9 h 32"/>
                <a:gd name="T18" fmla="*/ 32 w 96"/>
                <a:gd name="T19" fmla="*/ 8 h 32"/>
                <a:gd name="T20" fmla="*/ 30 w 96"/>
                <a:gd name="T21" fmla="*/ 9 h 32"/>
                <a:gd name="T22" fmla="*/ 25 w 96"/>
                <a:gd name="T23" fmla="*/ 16 h 32"/>
                <a:gd name="T24" fmla="*/ 2 w 96"/>
                <a:gd name="T25" fmla="*/ 16 h 32"/>
                <a:gd name="T26" fmla="*/ 0 w 96"/>
                <a:gd name="T27" fmla="*/ 18 h 32"/>
                <a:gd name="T28" fmla="*/ 2 w 96"/>
                <a:gd name="T29" fmla="*/ 20 h 32"/>
                <a:gd name="T30" fmla="*/ 26 w 96"/>
                <a:gd name="T31" fmla="*/ 20 h 32"/>
                <a:gd name="T32" fmla="*/ 28 w 96"/>
                <a:gd name="T33" fmla="*/ 19 h 32"/>
                <a:gd name="T34" fmla="*/ 32 w 96"/>
                <a:gd name="T35" fmla="*/ 13 h 32"/>
                <a:gd name="T36" fmla="*/ 38 w 96"/>
                <a:gd name="T37" fmla="*/ 23 h 32"/>
                <a:gd name="T38" fmla="*/ 40 w 96"/>
                <a:gd name="T39" fmla="*/ 24 h 32"/>
                <a:gd name="T40" fmla="*/ 42 w 96"/>
                <a:gd name="T41" fmla="*/ 23 h 32"/>
                <a:gd name="T42" fmla="*/ 49 w 96"/>
                <a:gd name="T43" fmla="*/ 8 h 32"/>
                <a:gd name="T44" fmla="*/ 56 w 96"/>
                <a:gd name="T45" fmla="*/ 31 h 32"/>
                <a:gd name="T46" fmla="*/ 58 w 96"/>
                <a:gd name="T47" fmla="*/ 32 h 32"/>
                <a:gd name="T48" fmla="*/ 60 w 96"/>
                <a:gd name="T49" fmla="*/ 31 h 32"/>
                <a:gd name="T50" fmla="*/ 65 w 96"/>
                <a:gd name="T51" fmla="*/ 20 h 32"/>
                <a:gd name="T52" fmla="*/ 94 w 96"/>
                <a:gd name="T53" fmla="*/ 20 h 32"/>
                <a:gd name="T54" fmla="*/ 96 w 96"/>
                <a:gd name="T55" fmla="*/ 18 h 32"/>
                <a:gd name="T56" fmla="*/ 94 w 96"/>
                <a:gd name="T5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32">
                  <a:moveTo>
                    <a:pt x="94" y="16"/>
                  </a:moveTo>
                  <a:cubicBezTo>
                    <a:pt x="64" y="16"/>
                    <a:pt x="64" y="16"/>
                    <a:pt x="64" y="16"/>
                  </a:cubicBezTo>
                  <a:cubicBezTo>
                    <a:pt x="63" y="16"/>
                    <a:pt x="63" y="16"/>
                    <a:pt x="62" y="17"/>
                  </a:cubicBezTo>
                  <a:cubicBezTo>
                    <a:pt x="59" y="25"/>
                    <a:pt x="59" y="25"/>
                    <a:pt x="59" y="25"/>
                  </a:cubicBezTo>
                  <a:cubicBezTo>
                    <a:pt x="52" y="1"/>
                    <a:pt x="52" y="1"/>
                    <a:pt x="52" y="1"/>
                  </a:cubicBezTo>
                  <a:cubicBezTo>
                    <a:pt x="52" y="1"/>
                    <a:pt x="51" y="0"/>
                    <a:pt x="50" y="0"/>
                  </a:cubicBezTo>
                  <a:cubicBezTo>
                    <a:pt x="49" y="0"/>
                    <a:pt x="49" y="0"/>
                    <a:pt x="48" y="1"/>
                  </a:cubicBezTo>
                  <a:cubicBezTo>
                    <a:pt x="40" y="18"/>
                    <a:pt x="40" y="18"/>
                    <a:pt x="40" y="18"/>
                  </a:cubicBezTo>
                  <a:cubicBezTo>
                    <a:pt x="34" y="9"/>
                    <a:pt x="34" y="9"/>
                    <a:pt x="34" y="9"/>
                  </a:cubicBezTo>
                  <a:cubicBezTo>
                    <a:pt x="33" y="8"/>
                    <a:pt x="33" y="8"/>
                    <a:pt x="32" y="8"/>
                  </a:cubicBezTo>
                  <a:cubicBezTo>
                    <a:pt x="31" y="8"/>
                    <a:pt x="31" y="8"/>
                    <a:pt x="30" y="9"/>
                  </a:cubicBezTo>
                  <a:cubicBezTo>
                    <a:pt x="25" y="16"/>
                    <a:pt x="25" y="16"/>
                    <a:pt x="25" y="16"/>
                  </a:cubicBezTo>
                  <a:cubicBezTo>
                    <a:pt x="2" y="16"/>
                    <a:pt x="2" y="16"/>
                    <a:pt x="2" y="16"/>
                  </a:cubicBezTo>
                  <a:cubicBezTo>
                    <a:pt x="1" y="16"/>
                    <a:pt x="0" y="17"/>
                    <a:pt x="0" y="18"/>
                  </a:cubicBezTo>
                  <a:cubicBezTo>
                    <a:pt x="0" y="19"/>
                    <a:pt x="1" y="20"/>
                    <a:pt x="2" y="20"/>
                  </a:cubicBezTo>
                  <a:cubicBezTo>
                    <a:pt x="26" y="20"/>
                    <a:pt x="26" y="20"/>
                    <a:pt x="26" y="20"/>
                  </a:cubicBezTo>
                  <a:cubicBezTo>
                    <a:pt x="27" y="20"/>
                    <a:pt x="27" y="20"/>
                    <a:pt x="28" y="19"/>
                  </a:cubicBezTo>
                  <a:cubicBezTo>
                    <a:pt x="32" y="13"/>
                    <a:pt x="32" y="13"/>
                    <a:pt x="32" y="13"/>
                  </a:cubicBezTo>
                  <a:cubicBezTo>
                    <a:pt x="38" y="23"/>
                    <a:pt x="38" y="23"/>
                    <a:pt x="38" y="23"/>
                  </a:cubicBezTo>
                  <a:cubicBezTo>
                    <a:pt x="39" y="24"/>
                    <a:pt x="39" y="24"/>
                    <a:pt x="40" y="24"/>
                  </a:cubicBezTo>
                  <a:cubicBezTo>
                    <a:pt x="41" y="24"/>
                    <a:pt x="41" y="24"/>
                    <a:pt x="42" y="23"/>
                  </a:cubicBezTo>
                  <a:cubicBezTo>
                    <a:pt x="49" y="8"/>
                    <a:pt x="49" y="8"/>
                    <a:pt x="49" y="8"/>
                  </a:cubicBezTo>
                  <a:cubicBezTo>
                    <a:pt x="56" y="31"/>
                    <a:pt x="56" y="31"/>
                    <a:pt x="56" y="31"/>
                  </a:cubicBezTo>
                  <a:cubicBezTo>
                    <a:pt x="56" y="31"/>
                    <a:pt x="57" y="32"/>
                    <a:pt x="58" y="32"/>
                  </a:cubicBezTo>
                  <a:cubicBezTo>
                    <a:pt x="59" y="32"/>
                    <a:pt x="59" y="32"/>
                    <a:pt x="60" y="31"/>
                  </a:cubicBezTo>
                  <a:cubicBezTo>
                    <a:pt x="65" y="20"/>
                    <a:pt x="65" y="20"/>
                    <a:pt x="65" y="20"/>
                  </a:cubicBezTo>
                  <a:cubicBezTo>
                    <a:pt x="94" y="20"/>
                    <a:pt x="94" y="20"/>
                    <a:pt x="94" y="20"/>
                  </a:cubicBezTo>
                  <a:cubicBezTo>
                    <a:pt x="95" y="20"/>
                    <a:pt x="96" y="19"/>
                    <a:pt x="96" y="18"/>
                  </a:cubicBezTo>
                  <a:cubicBezTo>
                    <a:pt x="96" y="17"/>
                    <a:pt x="95" y="16"/>
                    <a:pt x="9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grpSp>
      <p:grpSp>
        <p:nvGrpSpPr>
          <p:cNvPr id="76" name="Group 75">
            <a:extLst>
              <a:ext uri="{FF2B5EF4-FFF2-40B4-BE49-F238E27FC236}">
                <a16:creationId xmlns:a16="http://schemas.microsoft.com/office/drawing/2014/main" id="{8A9BB369-0CB7-46C9-B73C-14C1AC0F2871}"/>
              </a:ext>
            </a:extLst>
          </p:cNvPr>
          <p:cNvGrpSpPr/>
          <p:nvPr/>
        </p:nvGrpSpPr>
        <p:grpSpPr>
          <a:xfrm>
            <a:off x="5857320" y="2057634"/>
            <a:ext cx="482597" cy="445474"/>
            <a:chOff x="4113213" y="1458913"/>
            <a:chExt cx="344488" cy="330200"/>
          </a:xfrm>
          <a:solidFill>
            <a:srgbClr val="72BFC5"/>
          </a:solidFill>
        </p:grpSpPr>
        <p:sp>
          <p:nvSpPr>
            <p:cNvPr id="77" name="Freeform 139">
              <a:extLst>
                <a:ext uri="{FF2B5EF4-FFF2-40B4-BE49-F238E27FC236}">
                  <a16:creationId xmlns:a16="http://schemas.microsoft.com/office/drawing/2014/main" id="{8A7A7CBF-D290-40EA-BC7B-CCB2D5020773}"/>
                </a:ext>
              </a:extLst>
            </p:cNvPr>
            <p:cNvSpPr>
              <a:spLocks/>
            </p:cNvSpPr>
            <p:nvPr/>
          </p:nvSpPr>
          <p:spPr bwMode="auto">
            <a:xfrm>
              <a:off x="4113213" y="1487488"/>
              <a:ext cx="344488" cy="301625"/>
            </a:xfrm>
            <a:custGeom>
              <a:avLst/>
              <a:gdLst>
                <a:gd name="T0" fmla="*/ 90 w 92"/>
                <a:gd name="T1" fmla="*/ 0 h 80"/>
                <a:gd name="T2" fmla="*/ 88 w 92"/>
                <a:gd name="T3" fmla="*/ 0 h 80"/>
                <a:gd name="T4" fmla="*/ 88 w 92"/>
                <a:gd name="T5" fmla="*/ 4 h 80"/>
                <a:gd name="T6" fmla="*/ 88 w 92"/>
                <a:gd name="T7" fmla="*/ 62 h 80"/>
                <a:gd name="T8" fmla="*/ 86 w 92"/>
                <a:gd name="T9" fmla="*/ 64 h 80"/>
                <a:gd name="T10" fmla="*/ 66 w 92"/>
                <a:gd name="T11" fmla="*/ 64 h 80"/>
                <a:gd name="T12" fmla="*/ 58 w 92"/>
                <a:gd name="T13" fmla="*/ 64 h 80"/>
                <a:gd name="T14" fmla="*/ 52 w 92"/>
                <a:gd name="T15" fmla="*/ 70 h 80"/>
                <a:gd name="T16" fmla="*/ 50 w 92"/>
                <a:gd name="T17" fmla="*/ 72 h 80"/>
                <a:gd name="T18" fmla="*/ 42 w 92"/>
                <a:gd name="T19" fmla="*/ 72 h 80"/>
                <a:gd name="T20" fmla="*/ 40 w 92"/>
                <a:gd name="T21" fmla="*/ 70 h 80"/>
                <a:gd name="T22" fmla="*/ 34 w 92"/>
                <a:gd name="T23" fmla="*/ 64 h 80"/>
                <a:gd name="T24" fmla="*/ 26 w 92"/>
                <a:gd name="T25" fmla="*/ 64 h 80"/>
                <a:gd name="T26" fmla="*/ 6 w 92"/>
                <a:gd name="T27" fmla="*/ 64 h 80"/>
                <a:gd name="T28" fmla="*/ 4 w 92"/>
                <a:gd name="T29" fmla="*/ 62 h 80"/>
                <a:gd name="T30" fmla="*/ 4 w 92"/>
                <a:gd name="T31" fmla="*/ 4 h 80"/>
                <a:gd name="T32" fmla="*/ 4 w 92"/>
                <a:gd name="T33" fmla="*/ 0 h 80"/>
                <a:gd name="T34" fmla="*/ 2 w 92"/>
                <a:gd name="T35" fmla="*/ 0 h 80"/>
                <a:gd name="T36" fmla="*/ 0 w 92"/>
                <a:gd name="T37" fmla="*/ 2 h 80"/>
                <a:gd name="T38" fmla="*/ 0 w 92"/>
                <a:gd name="T39" fmla="*/ 66 h 80"/>
                <a:gd name="T40" fmla="*/ 2 w 92"/>
                <a:gd name="T41" fmla="*/ 68 h 80"/>
                <a:gd name="T42" fmla="*/ 26 w 92"/>
                <a:gd name="T43" fmla="*/ 68 h 80"/>
                <a:gd name="T44" fmla="*/ 38 w 92"/>
                <a:gd name="T45" fmla="*/ 78 h 80"/>
                <a:gd name="T46" fmla="*/ 40 w 92"/>
                <a:gd name="T47" fmla="*/ 80 h 80"/>
                <a:gd name="T48" fmla="*/ 52 w 92"/>
                <a:gd name="T49" fmla="*/ 80 h 80"/>
                <a:gd name="T50" fmla="*/ 54 w 92"/>
                <a:gd name="T51" fmla="*/ 78 h 80"/>
                <a:gd name="T52" fmla="*/ 66 w 92"/>
                <a:gd name="T53" fmla="*/ 68 h 80"/>
                <a:gd name="T54" fmla="*/ 90 w 92"/>
                <a:gd name="T55" fmla="*/ 68 h 80"/>
                <a:gd name="T56" fmla="*/ 92 w 92"/>
                <a:gd name="T57" fmla="*/ 66 h 80"/>
                <a:gd name="T58" fmla="*/ 92 w 92"/>
                <a:gd name="T59" fmla="*/ 2 h 80"/>
                <a:gd name="T60" fmla="*/ 90 w 92"/>
                <a:gd name="T6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80">
                  <a:moveTo>
                    <a:pt x="90" y="0"/>
                  </a:moveTo>
                  <a:cubicBezTo>
                    <a:pt x="88" y="0"/>
                    <a:pt x="88" y="0"/>
                    <a:pt x="88" y="0"/>
                  </a:cubicBezTo>
                  <a:cubicBezTo>
                    <a:pt x="88" y="4"/>
                    <a:pt x="88" y="4"/>
                    <a:pt x="88" y="4"/>
                  </a:cubicBezTo>
                  <a:cubicBezTo>
                    <a:pt x="88" y="62"/>
                    <a:pt x="88" y="62"/>
                    <a:pt x="88" y="62"/>
                  </a:cubicBezTo>
                  <a:cubicBezTo>
                    <a:pt x="88" y="63"/>
                    <a:pt x="87" y="64"/>
                    <a:pt x="86" y="64"/>
                  </a:cubicBezTo>
                  <a:cubicBezTo>
                    <a:pt x="66" y="64"/>
                    <a:pt x="66" y="64"/>
                    <a:pt x="66" y="64"/>
                  </a:cubicBezTo>
                  <a:cubicBezTo>
                    <a:pt x="58" y="64"/>
                    <a:pt x="58" y="64"/>
                    <a:pt x="58" y="64"/>
                  </a:cubicBezTo>
                  <a:cubicBezTo>
                    <a:pt x="53" y="64"/>
                    <a:pt x="52" y="65"/>
                    <a:pt x="52" y="70"/>
                  </a:cubicBezTo>
                  <a:cubicBezTo>
                    <a:pt x="52" y="71"/>
                    <a:pt x="51" y="72"/>
                    <a:pt x="50" y="72"/>
                  </a:cubicBezTo>
                  <a:cubicBezTo>
                    <a:pt x="42" y="72"/>
                    <a:pt x="42" y="72"/>
                    <a:pt x="42" y="72"/>
                  </a:cubicBezTo>
                  <a:cubicBezTo>
                    <a:pt x="41" y="72"/>
                    <a:pt x="40" y="71"/>
                    <a:pt x="40" y="70"/>
                  </a:cubicBezTo>
                  <a:cubicBezTo>
                    <a:pt x="40" y="65"/>
                    <a:pt x="39" y="64"/>
                    <a:pt x="34" y="64"/>
                  </a:cubicBezTo>
                  <a:cubicBezTo>
                    <a:pt x="26" y="64"/>
                    <a:pt x="26" y="64"/>
                    <a:pt x="26" y="64"/>
                  </a:cubicBezTo>
                  <a:cubicBezTo>
                    <a:pt x="6" y="64"/>
                    <a:pt x="6" y="64"/>
                    <a:pt x="6" y="64"/>
                  </a:cubicBezTo>
                  <a:cubicBezTo>
                    <a:pt x="5" y="64"/>
                    <a:pt x="4" y="63"/>
                    <a:pt x="4" y="62"/>
                  </a:cubicBezTo>
                  <a:cubicBezTo>
                    <a:pt x="4" y="4"/>
                    <a:pt x="4" y="4"/>
                    <a:pt x="4" y="4"/>
                  </a:cubicBezTo>
                  <a:cubicBezTo>
                    <a:pt x="4" y="0"/>
                    <a:pt x="4" y="0"/>
                    <a:pt x="4" y="0"/>
                  </a:cubicBezTo>
                  <a:cubicBezTo>
                    <a:pt x="2" y="0"/>
                    <a:pt x="2" y="0"/>
                    <a:pt x="2" y="0"/>
                  </a:cubicBezTo>
                  <a:cubicBezTo>
                    <a:pt x="1" y="0"/>
                    <a:pt x="0" y="1"/>
                    <a:pt x="0" y="2"/>
                  </a:cubicBezTo>
                  <a:cubicBezTo>
                    <a:pt x="0" y="66"/>
                    <a:pt x="0" y="66"/>
                    <a:pt x="0" y="66"/>
                  </a:cubicBezTo>
                  <a:cubicBezTo>
                    <a:pt x="0" y="67"/>
                    <a:pt x="1" y="68"/>
                    <a:pt x="2" y="68"/>
                  </a:cubicBezTo>
                  <a:cubicBezTo>
                    <a:pt x="26" y="68"/>
                    <a:pt x="26" y="68"/>
                    <a:pt x="26" y="68"/>
                  </a:cubicBezTo>
                  <a:cubicBezTo>
                    <a:pt x="30" y="68"/>
                    <a:pt x="38" y="69"/>
                    <a:pt x="38" y="78"/>
                  </a:cubicBezTo>
                  <a:cubicBezTo>
                    <a:pt x="38" y="79"/>
                    <a:pt x="39" y="80"/>
                    <a:pt x="40" y="80"/>
                  </a:cubicBezTo>
                  <a:cubicBezTo>
                    <a:pt x="52" y="80"/>
                    <a:pt x="52" y="80"/>
                    <a:pt x="52" y="80"/>
                  </a:cubicBezTo>
                  <a:cubicBezTo>
                    <a:pt x="53" y="80"/>
                    <a:pt x="54" y="79"/>
                    <a:pt x="54" y="78"/>
                  </a:cubicBezTo>
                  <a:cubicBezTo>
                    <a:pt x="54" y="69"/>
                    <a:pt x="62" y="68"/>
                    <a:pt x="66" y="68"/>
                  </a:cubicBezTo>
                  <a:cubicBezTo>
                    <a:pt x="90" y="68"/>
                    <a:pt x="90" y="68"/>
                    <a:pt x="90" y="68"/>
                  </a:cubicBezTo>
                  <a:cubicBezTo>
                    <a:pt x="91" y="68"/>
                    <a:pt x="92" y="67"/>
                    <a:pt x="92" y="66"/>
                  </a:cubicBezTo>
                  <a:cubicBezTo>
                    <a:pt x="92" y="2"/>
                    <a:pt x="92" y="2"/>
                    <a:pt x="92" y="2"/>
                  </a:cubicBezTo>
                  <a:cubicBezTo>
                    <a:pt x="92" y="1"/>
                    <a:pt x="91" y="0"/>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78" name="Freeform 140">
              <a:extLst>
                <a:ext uri="{FF2B5EF4-FFF2-40B4-BE49-F238E27FC236}">
                  <a16:creationId xmlns:a16="http://schemas.microsoft.com/office/drawing/2014/main" id="{873FABD1-6EA0-488A-942D-1DE3C6C40E5A}"/>
                </a:ext>
              </a:extLst>
            </p:cNvPr>
            <p:cNvSpPr>
              <a:spLocks/>
            </p:cNvSpPr>
            <p:nvPr/>
          </p:nvSpPr>
          <p:spPr bwMode="auto">
            <a:xfrm>
              <a:off x="4292600" y="1458913"/>
              <a:ext cx="134938" cy="285750"/>
            </a:xfrm>
            <a:custGeom>
              <a:avLst/>
              <a:gdLst>
                <a:gd name="T0" fmla="*/ 10 w 36"/>
                <a:gd name="T1" fmla="*/ 68 h 76"/>
                <a:gd name="T2" fmla="*/ 34 w 36"/>
                <a:gd name="T3" fmla="*/ 68 h 76"/>
                <a:gd name="T4" fmla="*/ 36 w 36"/>
                <a:gd name="T5" fmla="*/ 68 h 76"/>
                <a:gd name="T6" fmla="*/ 36 w 36"/>
                <a:gd name="T7" fmla="*/ 66 h 76"/>
                <a:gd name="T8" fmla="*/ 36 w 36"/>
                <a:gd name="T9" fmla="*/ 2 h 76"/>
                <a:gd name="T10" fmla="*/ 34 w 36"/>
                <a:gd name="T11" fmla="*/ 0 h 76"/>
                <a:gd name="T12" fmla="*/ 10 w 36"/>
                <a:gd name="T13" fmla="*/ 0 h 76"/>
                <a:gd name="T14" fmla="*/ 0 w 36"/>
                <a:gd name="T15" fmla="*/ 3 h 76"/>
                <a:gd name="T16" fmla="*/ 0 w 36"/>
                <a:gd name="T17" fmla="*/ 76 h 76"/>
                <a:gd name="T18" fmla="*/ 0 w 36"/>
                <a:gd name="T19" fmla="*/ 76 h 76"/>
                <a:gd name="T20" fmla="*/ 10 w 36"/>
                <a:gd name="T21"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6">
                  <a:moveTo>
                    <a:pt x="10" y="68"/>
                  </a:moveTo>
                  <a:cubicBezTo>
                    <a:pt x="34" y="68"/>
                    <a:pt x="34" y="68"/>
                    <a:pt x="34" y="68"/>
                  </a:cubicBezTo>
                  <a:cubicBezTo>
                    <a:pt x="36" y="68"/>
                    <a:pt x="36" y="68"/>
                    <a:pt x="36" y="68"/>
                  </a:cubicBezTo>
                  <a:cubicBezTo>
                    <a:pt x="36" y="66"/>
                    <a:pt x="36" y="66"/>
                    <a:pt x="36" y="66"/>
                  </a:cubicBezTo>
                  <a:cubicBezTo>
                    <a:pt x="36" y="2"/>
                    <a:pt x="36" y="2"/>
                    <a:pt x="36" y="2"/>
                  </a:cubicBezTo>
                  <a:cubicBezTo>
                    <a:pt x="36" y="1"/>
                    <a:pt x="35" y="0"/>
                    <a:pt x="34" y="0"/>
                  </a:cubicBezTo>
                  <a:cubicBezTo>
                    <a:pt x="10" y="0"/>
                    <a:pt x="10" y="0"/>
                    <a:pt x="10" y="0"/>
                  </a:cubicBezTo>
                  <a:cubicBezTo>
                    <a:pt x="6" y="0"/>
                    <a:pt x="3" y="1"/>
                    <a:pt x="0" y="3"/>
                  </a:cubicBezTo>
                  <a:cubicBezTo>
                    <a:pt x="0" y="76"/>
                    <a:pt x="0" y="76"/>
                    <a:pt x="0" y="76"/>
                  </a:cubicBezTo>
                  <a:cubicBezTo>
                    <a:pt x="0" y="76"/>
                    <a:pt x="0" y="76"/>
                    <a:pt x="0" y="76"/>
                  </a:cubicBezTo>
                  <a:cubicBezTo>
                    <a:pt x="1" y="71"/>
                    <a:pt x="4" y="68"/>
                    <a:pt x="10"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79" name="Freeform 141">
              <a:extLst>
                <a:ext uri="{FF2B5EF4-FFF2-40B4-BE49-F238E27FC236}">
                  <a16:creationId xmlns:a16="http://schemas.microsoft.com/office/drawing/2014/main" id="{D6B00F68-CFD4-4802-BB83-103B589CF0A0}"/>
                </a:ext>
              </a:extLst>
            </p:cNvPr>
            <p:cNvSpPr>
              <a:spLocks/>
            </p:cNvSpPr>
            <p:nvPr/>
          </p:nvSpPr>
          <p:spPr bwMode="auto">
            <a:xfrm>
              <a:off x="4143375" y="1458913"/>
              <a:ext cx="134938" cy="285750"/>
            </a:xfrm>
            <a:custGeom>
              <a:avLst/>
              <a:gdLst>
                <a:gd name="T0" fmla="*/ 26 w 36"/>
                <a:gd name="T1" fmla="*/ 68 h 76"/>
                <a:gd name="T2" fmla="*/ 36 w 36"/>
                <a:gd name="T3" fmla="*/ 76 h 76"/>
                <a:gd name="T4" fmla="*/ 36 w 36"/>
                <a:gd name="T5" fmla="*/ 76 h 76"/>
                <a:gd name="T6" fmla="*/ 36 w 36"/>
                <a:gd name="T7" fmla="*/ 3 h 76"/>
                <a:gd name="T8" fmla="*/ 26 w 36"/>
                <a:gd name="T9" fmla="*/ 0 h 76"/>
                <a:gd name="T10" fmla="*/ 2 w 36"/>
                <a:gd name="T11" fmla="*/ 0 h 76"/>
                <a:gd name="T12" fmla="*/ 0 w 36"/>
                <a:gd name="T13" fmla="*/ 2 h 76"/>
                <a:gd name="T14" fmla="*/ 0 w 36"/>
                <a:gd name="T15" fmla="*/ 66 h 76"/>
                <a:gd name="T16" fmla="*/ 0 w 36"/>
                <a:gd name="T17" fmla="*/ 68 h 76"/>
                <a:gd name="T18" fmla="*/ 2 w 36"/>
                <a:gd name="T19" fmla="*/ 68 h 76"/>
                <a:gd name="T20" fmla="*/ 26 w 36"/>
                <a:gd name="T21"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6">
                  <a:moveTo>
                    <a:pt x="26" y="68"/>
                  </a:moveTo>
                  <a:cubicBezTo>
                    <a:pt x="32" y="68"/>
                    <a:pt x="35" y="71"/>
                    <a:pt x="36" y="76"/>
                  </a:cubicBezTo>
                  <a:cubicBezTo>
                    <a:pt x="36" y="76"/>
                    <a:pt x="36" y="76"/>
                    <a:pt x="36" y="76"/>
                  </a:cubicBezTo>
                  <a:cubicBezTo>
                    <a:pt x="36" y="3"/>
                    <a:pt x="36" y="3"/>
                    <a:pt x="36" y="3"/>
                  </a:cubicBezTo>
                  <a:cubicBezTo>
                    <a:pt x="33" y="1"/>
                    <a:pt x="30" y="0"/>
                    <a:pt x="26" y="0"/>
                  </a:cubicBezTo>
                  <a:cubicBezTo>
                    <a:pt x="2" y="0"/>
                    <a:pt x="2" y="0"/>
                    <a:pt x="2" y="0"/>
                  </a:cubicBezTo>
                  <a:cubicBezTo>
                    <a:pt x="1" y="0"/>
                    <a:pt x="0" y="1"/>
                    <a:pt x="0" y="2"/>
                  </a:cubicBezTo>
                  <a:cubicBezTo>
                    <a:pt x="0" y="66"/>
                    <a:pt x="0" y="66"/>
                    <a:pt x="0" y="66"/>
                  </a:cubicBezTo>
                  <a:cubicBezTo>
                    <a:pt x="0" y="68"/>
                    <a:pt x="0" y="68"/>
                    <a:pt x="0" y="68"/>
                  </a:cubicBezTo>
                  <a:cubicBezTo>
                    <a:pt x="2" y="68"/>
                    <a:pt x="2" y="68"/>
                    <a:pt x="2" y="68"/>
                  </a:cubicBezTo>
                  <a:lnTo>
                    <a:pt x="26"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grpSp>
      <p:grpSp>
        <p:nvGrpSpPr>
          <p:cNvPr id="80" name="Group 79">
            <a:extLst>
              <a:ext uri="{FF2B5EF4-FFF2-40B4-BE49-F238E27FC236}">
                <a16:creationId xmlns:a16="http://schemas.microsoft.com/office/drawing/2014/main" id="{FE047764-6C12-4223-BB1F-6A38ADB0F4A1}"/>
              </a:ext>
            </a:extLst>
          </p:cNvPr>
          <p:cNvGrpSpPr/>
          <p:nvPr/>
        </p:nvGrpSpPr>
        <p:grpSpPr>
          <a:xfrm>
            <a:off x="7690337" y="3863511"/>
            <a:ext cx="445474" cy="482597"/>
            <a:chOff x="4848225" y="3609976"/>
            <a:chExt cx="338138" cy="360362"/>
          </a:xfrm>
          <a:solidFill>
            <a:srgbClr val="EF95A0"/>
          </a:solidFill>
        </p:grpSpPr>
        <p:sp>
          <p:nvSpPr>
            <p:cNvPr id="81" name="Freeform 19">
              <a:extLst>
                <a:ext uri="{FF2B5EF4-FFF2-40B4-BE49-F238E27FC236}">
                  <a16:creationId xmlns:a16="http://schemas.microsoft.com/office/drawing/2014/main" id="{EDA5DE18-CD56-4BE1-9FB5-151EC89CFA11}"/>
                </a:ext>
              </a:extLst>
            </p:cNvPr>
            <p:cNvSpPr>
              <a:spLocks/>
            </p:cNvSpPr>
            <p:nvPr/>
          </p:nvSpPr>
          <p:spPr bwMode="auto">
            <a:xfrm>
              <a:off x="4848225" y="3700463"/>
              <a:ext cx="196850" cy="269875"/>
            </a:xfrm>
            <a:custGeom>
              <a:avLst/>
              <a:gdLst>
                <a:gd name="T0" fmla="*/ 42 w 52"/>
                <a:gd name="T1" fmla="*/ 9 h 72"/>
                <a:gd name="T2" fmla="*/ 41 w 52"/>
                <a:gd name="T3" fmla="*/ 14 h 72"/>
                <a:gd name="T4" fmla="*/ 44 w 52"/>
                <a:gd name="T5" fmla="*/ 24 h 72"/>
                <a:gd name="T6" fmla="*/ 26 w 52"/>
                <a:gd name="T7" fmla="*/ 42 h 72"/>
                <a:gd name="T8" fmla="*/ 8 w 52"/>
                <a:gd name="T9" fmla="*/ 24 h 72"/>
                <a:gd name="T10" fmla="*/ 18 w 52"/>
                <a:gd name="T11" fmla="*/ 8 h 72"/>
                <a:gd name="T12" fmla="*/ 20 w 52"/>
                <a:gd name="T13" fmla="*/ 3 h 72"/>
                <a:gd name="T14" fmla="*/ 14 w 52"/>
                <a:gd name="T15" fmla="*/ 1 h 72"/>
                <a:gd name="T16" fmla="*/ 0 w 52"/>
                <a:gd name="T17" fmla="*/ 24 h 72"/>
                <a:gd name="T18" fmla="*/ 20 w 52"/>
                <a:gd name="T19" fmla="*/ 49 h 72"/>
                <a:gd name="T20" fmla="*/ 20 w 52"/>
                <a:gd name="T21" fmla="*/ 56 h 72"/>
                <a:gd name="T22" fmla="*/ 16 w 52"/>
                <a:gd name="T23" fmla="*/ 56 h 72"/>
                <a:gd name="T24" fmla="*/ 12 w 52"/>
                <a:gd name="T25" fmla="*/ 60 h 72"/>
                <a:gd name="T26" fmla="*/ 16 w 52"/>
                <a:gd name="T27" fmla="*/ 64 h 72"/>
                <a:gd name="T28" fmla="*/ 20 w 52"/>
                <a:gd name="T29" fmla="*/ 64 h 72"/>
                <a:gd name="T30" fmla="*/ 20 w 52"/>
                <a:gd name="T31" fmla="*/ 68 h 72"/>
                <a:gd name="T32" fmla="*/ 24 w 52"/>
                <a:gd name="T33" fmla="*/ 72 h 72"/>
                <a:gd name="T34" fmla="*/ 28 w 52"/>
                <a:gd name="T35" fmla="*/ 68 h 72"/>
                <a:gd name="T36" fmla="*/ 28 w 52"/>
                <a:gd name="T37" fmla="*/ 64 h 72"/>
                <a:gd name="T38" fmla="*/ 32 w 52"/>
                <a:gd name="T39" fmla="*/ 64 h 72"/>
                <a:gd name="T40" fmla="*/ 36 w 52"/>
                <a:gd name="T41" fmla="*/ 60 h 72"/>
                <a:gd name="T42" fmla="*/ 32 w 52"/>
                <a:gd name="T43" fmla="*/ 56 h 72"/>
                <a:gd name="T44" fmla="*/ 28 w 52"/>
                <a:gd name="T45" fmla="*/ 56 h 72"/>
                <a:gd name="T46" fmla="*/ 28 w 52"/>
                <a:gd name="T47" fmla="*/ 50 h 72"/>
                <a:gd name="T48" fmla="*/ 52 w 52"/>
                <a:gd name="T49" fmla="*/ 24 h 72"/>
                <a:gd name="T50" fmla="*/ 48 w 52"/>
                <a:gd name="T51" fmla="*/ 10 h 72"/>
                <a:gd name="T52" fmla="*/ 42 w 52"/>
                <a:gd name="T53" fmla="*/ 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72">
                  <a:moveTo>
                    <a:pt x="42" y="9"/>
                  </a:moveTo>
                  <a:cubicBezTo>
                    <a:pt x="40" y="10"/>
                    <a:pt x="40" y="12"/>
                    <a:pt x="41" y="14"/>
                  </a:cubicBezTo>
                  <a:cubicBezTo>
                    <a:pt x="43" y="17"/>
                    <a:pt x="44" y="20"/>
                    <a:pt x="44" y="24"/>
                  </a:cubicBezTo>
                  <a:cubicBezTo>
                    <a:pt x="44" y="34"/>
                    <a:pt x="36" y="42"/>
                    <a:pt x="26" y="42"/>
                  </a:cubicBezTo>
                  <a:cubicBezTo>
                    <a:pt x="16" y="42"/>
                    <a:pt x="8" y="34"/>
                    <a:pt x="8" y="24"/>
                  </a:cubicBezTo>
                  <a:cubicBezTo>
                    <a:pt x="8" y="17"/>
                    <a:pt x="12" y="11"/>
                    <a:pt x="18" y="8"/>
                  </a:cubicBezTo>
                  <a:cubicBezTo>
                    <a:pt x="20" y="7"/>
                    <a:pt x="21" y="5"/>
                    <a:pt x="20" y="3"/>
                  </a:cubicBezTo>
                  <a:cubicBezTo>
                    <a:pt x="19" y="1"/>
                    <a:pt x="16" y="0"/>
                    <a:pt x="14" y="1"/>
                  </a:cubicBezTo>
                  <a:cubicBezTo>
                    <a:pt x="5" y="5"/>
                    <a:pt x="0" y="14"/>
                    <a:pt x="0" y="24"/>
                  </a:cubicBezTo>
                  <a:cubicBezTo>
                    <a:pt x="0" y="36"/>
                    <a:pt x="9" y="47"/>
                    <a:pt x="20" y="49"/>
                  </a:cubicBezTo>
                  <a:cubicBezTo>
                    <a:pt x="20" y="56"/>
                    <a:pt x="20" y="56"/>
                    <a:pt x="20" y="56"/>
                  </a:cubicBezTo>
                  <a:cubicBezTo>
                    <a:pt x="16" y="56"/>
                    <a:pt x="16" y="56"/>
                    <a:pt x="16" y="56"/>
                  </a:cubicBezTo>
                  <a:cubicBezTo>
                    <a:pt x="14" y="56"/>
                    <a:pt x="12" y="58"/>
                    <a:pt x="12" y="60"/>
                  </a:cubicBezTo>
                  <a:cubicBezTo>
                    <a:pt x="12" y="62"/>
                    <a:pt x="14" y="64"/>
                    <a:pt x="16" y="64"/>
                  </a:cubicBezTo>
                  <a:cubicBezTo>
                    <a:pt x="20" y="64"/>
                    <a:pt x="20" y="64"/>
                    <a:pt x="20" y="64"/>
                  </a:cubicBezTo>
                  <a:cubicBezTo>
                    <a:pt x="20" y="68"/>
                    <a:pt x="20" y="68"/>
                    <a:pt x="20" y="68"/>
                  </a:cubicBezTo>
                  <a:cubicBezTo>
                    <a:pt x="20" y="70"/>
                    <a:pt x="22" y="72"/>
                    <a:pt x="24" y="72"/>
                  </a:cubicBezTo>
                  <a:cubicBezTo>
                    <a:pt x="26" y="72"/>
                    <a:pt x="28" y="70"/>
                    <a:pt x="28" y="68"/>
                  </a:cubicBezTo>
                  <a:cubicBezTo>
                    <a:pt x="28" y="64"/>
                    <a:pt x="28" y="64"/>
                    <a:pt x="28" y="64"/>
                  </a:cubicBezTo>
                  <a:cubicBezTo>
                    <a:pt x="32" y="64"/>
                    <a:pt x="32" y="64"/>
                    <a:pt x="32" y="64"/>
                  </a:cubicBezTo>
                  <a:cubicBezTo>
                    <a:pt x="34" y="64"/>
                    <a:pt x="36" y="62"/>
                    <a:pt x="36" y="60"/>
                  </a:cubicBezTo>
                  <a:cubicBezTo>
                    <a:pt x="36" y="58"/>
                    <a:pt x="34" y="56"/>
                    <a:pt x="32" y="56"/>
                  </a:cubicBezTo>
                  <a:cubicBezTo>
                    <a:pt x="28" y="56"/>
                    <a:pt x="28" y="56"/>
                    <a:pt x="28" y="56"/>
                  </a:cubicBezTo>
                  <a:cubicBezTo>
                    <a:pt x="28" y="50"/>
                    <a:pt x="28" y="50"/>
                    <a:pt x="28" y="50"/>
                  </a:cubicBezTo>
                  <a:cubicBezTo>
                    <a:pt x="41" y="49"/>
                    <a:pt x="52" y="38"/>
                    <a:pt x="52" y="24"/>
                  </a:cubicBezTo>
                  <a:cubicBezTo>
                    <a:pt x="52" y="19"/>
                    <a:pt x="51" y="14"/>
                    <a:pt x="48" y="10"/>
                  </a:cubicBezTo>
                  <a:cubicBezTo>
                    <a:pt x="47" y="8"/>
                    <a:pt x="44" y="7"/>
                    <a:pt x="4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82" name="Freeform 20">
              <a:extLst>
                <a:ext uri="{FF2B5EF4-FFF2-40B4-BE49-F238E27FC236}">
                  <a16:creationId xmlns:a16="http://schemas.microsoft.com/office/drawing/2014/main" id="{6C4CA08A-9D6F-4FF9-AF51-FBD8BA6C107B}"/>
                </a:ext>
              </a:extLst>
            </p:cNvPr>
            <p:cNvSpPr>
              <a:spLocks/>
            </p:cNvSpPr>
            <p:nvPr/>
          </p:nvSpPr>
          <p:spPr bwMode="auto">
            <a:xfrm>
              <a:off x="4938713" y="3609976"/>
              <a:ext cx="247650" cy="244475"/>
            </a:xfrm>
            <a:custGeom>
              <a:avLst/>
              <a:gdLst>
                <a:gd name="T0" fmla="*/ 65 w 66"/>
                <a:gd name="T1" fmla="*/ 2 h 65"/>
                <a:gd name="T2" fmla="*/ 64 w 66"/>
                <a:gd name="T3" fmla="*/ 1 h 65"/>
                <a:gd name="T4" fmla="*/ 62 w 66"/>
                <a:gd name="T5" fmla="*/ 0 h 65"/>
                <a:gd name="T6" fmla="*/ 48 w 66"/>
                <a:gd name="T7" fmla="*/ 0 h 65"/>
                <a:gd name="T8" fmla="*/ 44 w 66"/>
                <a:gd name="T9" fmla="*/ 4 h 65"/>
                <a:gd name="T10" fmla="*/ 48 w 66"/>
                <a:gd name="T11" fmla="*/ 8 h 65"/>
                <a:gd name="T12" fmla="*/ 52 w 66"/>
                <a:gd name="T13" fmla="*/ 8 h 65"/>
                <a:gd name="T14" fmla="*/ 41 w 66"/>
                <a:gd name="T15" fmla="*/ 19 h 65"/>
                <a:gd name="T16" fmla="*/ 26 w 66"/>
                <a:gd name="T17" fmla="*/ 14 h 65"/>
                <a:gd name="T18" fmla="*/ 0 w 66"/>
                <a:gd name="T19" fmla="*/ 40 h 65"/>
                <a:gd name="T20" fmla="*/ 4 w 66"/>
                <a:gd name="T21" fmla="*/ 54 h 65"/>
                <a:gd name="T22" fmla="*/ 10 w 66"/>
                <a:gd name="T23" fmla="*/ 55 h 65"/>
                <a:gd name="T24" fmla="*/ 11 w 66"/>
                <a:gd name="T25" fmla="*/ 50 h 65"/>
                <a:gd name="T26" fmla="*/ 8 w 66"/>
                <a:gd name="T27" fmla="*/ 40 h 65"/>
                <a:gd name="T28" fmla="*/ 26 w 66"/>
                <a:gd name="T29" fmla="*/ 22 h 65"/>
                <a:gd name="T30" fmla="*/ 39 w 66"/>
                <a:gd name="T31" fmla="*/ 27 h 65"/>
                <a:gd name="T32" fmla="*/ 39 w 66"/>
                <a:gd name="T33" fmla="*/ 27 h 65"/>
                <a:gd name="T34" fmla="*/ 39 w 66"/>
                <a:gd name="T35" fmla="*/ 27 h 65"/>
                <a:gd name="T36" fmla="*/ 44 w 66"/>
                <a:gd name="T37" fmla="*/ 40 h 65"/>
                <a:gd name="T38" fmla="*/ 33 w 66"/>
                <a:gd name="T39" fmla="*/ 57 h 65"/>
                <a:gd name="T40" fmla="*/ 30 w 66"/>
                <a:gd name="T41" fmla="*/ 62 h 65"/>
                <a:gd name="T42" fmla="*/ 34 w 66"/>
                <a:gd name="T43" fmla="*/ 65 h 65"/>
                <a:gd name="T44" fmla="*/ 35 w 66"/>
                <a:gd name="T45" fmla="*/ 64 h 65"/>
                <a:gd name="T46" fmla="*/ 52 w 66"/>
                <a:gd name="T47" fmla="*/ 40 h 65"/>
                <a:gd name="T48" fmla="*/ 47 w 66"/>
                <a:gd name="T49" fmla="*/ 25 h 65"/>
                <a:gd name="T50" fmla="*/ 58 w 66"/>
                <a:gd name="T51" fmla="*/ 14 h 65"/>
                <a:gd name="T52" fmla="*/ 58 w 66"/>
                <a:gd name="T53" fmla="*/ 18 h 65"/>
                <a:gd name="T54" fmla="*/ 62 w 66"/>
                <a:gd name="T55" fmla="*/ 22 h 65"/>
                <a:gd name="T56" fmla="*/ 66 w 66"/>
                <a:gd name="T57" fmla="*/ 18 h 65"/>
                <a:gd name="T58" fmla="*/ 66 w 66"/>
                <a:gd name="T59" fmla="*/ 4 h 65"/>
                <a:gd name="T60" fmla="*/ 65 w 66"/>
                <a:gd name="T61"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65">
                  <a:moveTo>
                    <a:pt x="65" y="2"/>
                  </a:moveTo>
                  <a:cubicBezTo>
                    <a:pt x="65" y="1"/>
                    <a:pt x="65" y="1"/>
                    <a:pt x="64" y="1"/>
                  </a:cubicBezTo>
                  <a:cubicBezTo>
                    <a:pt x="64" y="0"/>
                    <a:pt x="63" y="0"/>
                    <a:pt x="62" y="0"/>
                  </a:cubicBezTo>
                  <a:cubicBezTo>
                    <a:pt x="48" y="0"/>
                    <a:pt x="48" y="0"/>
                    <a:pt x="48" y="0"/>
                  </a:cubicBezTo>
                  <a:cubicBezTo>
                    <a:pt x="46" y="0"/>
                    <a:pt x="44" y="2"/>
                    <a:pt x="44" y="4"/>
                  </a:cubicBezTo>
                  <a:cubicBezTo>
                    <a:pt x="44" y="6"/>
                    <a:pt x="46" y="8"/>
                    <a:pt x="48" y="8"/>
                  </a:cubicBezTo>
                  <a:cubicBezTo>
                    <a:pt x="52" y="8"/>
                    <a:pt x="52" y="8"/>
                    <a:pt x="52" y="8"/>
                  </a:cubicBezTo>
                  <a:cubicBezTo>
                    <a:pt x="41" y="19"/>
                    <a:pt x="41" y="19"/>
                    <a:pt x="41" y="19"/>
                  </a:cubicBezTo>
                  <a:cubicBezTo>
                    <a:pt x="37" y="16"/>
                    <a:pt x="32" y="14"/>
                    <a:pt x="26" y="14"/>
                  </a:cubicBezTo>
                  <a:cubicBezTo>
                    <a:pt x="12" y="14"/>
                    <a:pt x="0" y="26"/>
                    <a:pt x="0" y="40"/>
                  </a:cubicBezTo>
                  <a:cubicBezTo>
                    <a:pt x="0" y="45"/>
                    <a:pt x="1" y="50"/>
                    <a:pt x="4" y="54"/>
                  </a:cubicBezTo>
                  <a:cubicBezTo>
                    <a:pt x="5" y="56"/>
                    <a:pt x="8" y="57"/>
                    <a:pt x="10" y="55"/>
                  </a:cubicBezTo>
                  <a:cubicBezTo>
                    <a:pt x="12" y="54"/>
                    <a:pt x="12" y="52"/>
                    <a:pt x="11" y="50"/>
                  </a:cubicBezTo>
                  <a:cubicBezTo>
                    <a:pt x="9" y="47"/>
                    <a:pt x="8" y="44"/>
                    <a:pt x="8" y="40"/>
                  </a:cubicBezTo>
                  <a:cubicBezTo>
                    <a:pt x="8" y="30"/>
                    <a:pt x="16" y="22"/>
                    <a:pt x="26" y="22"/>
                  </a:cubicBezTo>
                  <a:cubicBezTo>
                    <a:pt x="31" y="22"/>
                    <a:pt x="35" y="24"/>
                    <a:pt x="39" y="27"/>
                  </a:cubicBezTo>
                  <a:cubicBezTo>
                    <a:pt x="39" y="27"/>
                    <a:pt x="39" y="27"/>
                    <a:pt x="39" y="27"/>
                  </a:cubicBezTo>
                  <a:cubicBezTo>
                    <a:pt x="39" y="27"/>
                    <a:pt x="39" y="27"/>
                    <a:pt x="39" y="27"/>
                  </a:cubicBezTo>
                  <a:cubicBezTo>
                    <a:pt x="42" y="31"/>
                    <a:pt x="44" y="35"/>
                    <a:pt x="44" y="40"/>
                  </a:cubicBezTo>
                  <a:cubicBezTo>
                    <a:pt x="44" y="47"/>
                    <a:pt x="40" y="54"/>
                    <a:pt x="33" y="57"/>
                  </a:cubicBezTo>
                  <a:cubicBezTo>
                    <a:pt x="30" y="58"/>
                    <a:pt x="29" y="60"/>
                    <a:pt x="30" y="62"/>
                  </a:cubicBezTo>
                  <a:cubicBezTo>
                    <a:pt x="31" y="64"/>
                    <a:pt x="32" y="65"/>
                    <a:pt x="34" y="65"/>
                  </a:cubicBezTo>
                  <a:cubicBezTo>
                    <a:pt x="34" y="65"/>
                    <a:pt x="35" y="64"/>
                    <a:pt x="35" y="64"/>
                  </a:cubicBezTo>
                  <a:cubicBezTo>
                    <a:pt x="46" y="60"/>
                    <a:pt x="52" y="51"/>
                    <a:pt x="52" y="40"/>
                  </a:cubicBezTo>
                  <a:cubicBezTo>
                    <a:pt x="52" y="34"/>
                    <a:pt x="50" y="29"/>
                    <a:pt x="47" y="25"/>
                  </a:cubicBezTo>
                  <a:cubicBezTo>
                    <a:pt x="58" y="14"/>
                    <a:pt x="58" y="14"/>
                    <a:pt x="58" y="14"/>
                  </a:cubicBezTo>
                  <a:cubicBezTo>
                    <a:pt x="58" y="18"/>
                    <a:pt x="58" y="18"/>
                    <a:pt x="58" y="18"/>
                  </a:cubicBezTo>
                  <a:cubicBezTo>
                    <a:pt x="58" y="20"/>
                    <a:pt x="60" y="22"/>
                    <a:pt x="62" y="22"/>
                  </a:cubicBezTo>
                  <a:cubicBezTo>
                    <a:pt x="64" y="22"/>
                    <a:pt x="66" y="20"/>
                    <a:pt x="66" y="18"/>
                  </a:cubicBezTo>
                  <a:cubicBezTo>
                    <a:pt x="66" y="4"/>
                    <a:pt x="66" y="4"/>
                    <a:pt x="66" y="4"/>
                  </a:cubicBezTo>
                  <a:cubicBezTo>
                    <a:pt x="66" y="3"/>
                    <a:pt x="66" y="2"/>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grpSp>
      <p:sp>
        <p:nvSpPr>
          <p:cNvPr id="133" name="Rectangle: Rounded Corners 132">
            <a:extLst>
              <a:ext uri="{FF2B5EF4-FFF2-40B4-BE49-F238E27FC236}">
                <a16:creationId xmlns:a16="http://schemas.microsoft.com/office/drawing/2014/main" id="{F4C70B14-4CFF-4944-8F13-5CE6278F64BB}"/>
              </a:ext>
            </a:extLst>
          </p:cNvPr>
          <p:cNvSpPr/>
          <p:nvPr/>
        </p:nvSpPr>
        <p:spPr>
          <a:xfrm>
            <a:off x="8822436" y="3191861"/>
            <a:ext cx="1825899" cy="1825899"/>
          </a:xfrm>
          <a:prstGeom prst="roundRect">
            <a:avLst>
              <a:gd name="adj" fmla="val 5000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7F21C72D-474C-4AB0-AFC5-BDCB7BC549A5}"/>
              </a:ext>
            </a:extLst>
          </p:cNvPr>
          <p:cNvSpPr txBox="1"/>
          <p:nvPr/>
        </p:nvSpPr>
        <p:spPr>
          <a:xfrm>
            <a:off x="8937113" y="3723959"/>
            <a:ext cx="1596545" cy="761703"/>
          </a:xfrm>
          <a:prstGeom prst="rect">
            <a:avLst/>
          </a:prstGeom>
          <a:noFill/>
        </p:spPr>
        <p:txBody>
          <a:bodyPr wrap="square" lIns="0" tIns="0" rIns="0" bIns="0" rtlCol="0" anchor="t">
            <a:spAutoFit/>
          </a:bodyPr>
          <a:lstStyle/>
          <a:p>
            <a:pPr algn="ctr"/>
            <a:r>
              <a:rPr lang="en-US" sz="1600" b="1" dirty="0"/>
              <a:t>SDG 8</a:t>
            </a:r>
          </a:p>
          <a:p>
            <a:pPr algn="ctr"/>
            <a:r>
              <a:rPr lang="en-US" sz="1600" b="1" dirty="0"/>
              <a:t>Decent Work and</a:t>
            </a:r>
          </a:p>
          <a:p>
            <a:pPr algn="ctr"/>
            <a:r>
              <a:rPr lang="en-US" sz="1600" b="1" dirty="0"/>
              <a:t>Economic Growth</a:t>
            </a:r>
          </a:p>
        </p:txBody>
      </p:sp>
      <p:sp>
        <p:nvSpPr>
          <p:cNvPr id="134" name="Rectangle: Rounded Corners 133">
            <a:extLst>
              <a:ext uri="{FF2B5EF4-FFF2-40B4-BE49-F238E27FC236}">
                <a16:creationId xmlns:a16="http://schemas.microsoft.com/office/drawing/2014/main" id="{3CE6EEA5-0D52-4CBB-9C90-EAE0E27ED2E3}"/>
              </a:ext>
            </a:extLst>
          </p:cNvPr>
          <p:cNvSpPr/>
          <p:nvPr/>
        </p:nvSpPr>
        <p:spPr>
          <a:xfrm>
            <a:off x="8822436" y="1367422"/>
            <a:ext cx="1825899" cy="1825899"/>
          </a:xfrm>
          <a:prstGeom prst="roundRect">
            <a:avLst>
              <a:gd name="adj" fmla="val 50000"/>
            </a:avLst>
          </a:prstGeom>
          <a:solidFill>
            <a:srgbClr val="E75F71"/>
          </a:solidFill>
          <a:ln w="25400">
            <a:solidFill>
              <a:srgbClr val="E75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Rectangle: Rounded Corners 297">
            <a:extLst>
              <a:ext uri="{FF2B5EF4-FFF2-40B4-BE49-F238E27FC236}">
                <a16:creationId xmlns:a16="http://schemas.microsoft.com/office/drawing/2014/main" id="{9F35B215-969A-4A22-9263-C43F6BF437E2}"/>
              </a:ext>
            </a:extLst>
          </p:cNvPr>
          <p:cNvSpPr/>
          <p:nvPr/>
        </p:nvSpPr>
        <p:spPr>
          <a:xfrm>
            <a:off x="9225464" y="1770450"/>
            <a:ext cx="1019843" cy="101984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4" name="Group 83">
            <a:extLst>
              <a:ext uri="{FF2B5EF4-FFF2-40B4-BE49-F238E27FC236}">
                <a16:creationId xmlns:a16="http://schemas.microsoft.com/office/drawing/2014/main" id="{AC47E020-59ED-471C-AD45-724C547C40CC}"/>
              </a:ext>
            </a:extLst>
          </p:cNvPr>
          <p:cNvGrpSpPr/>
          <p:nvPr/>
        </p:nvGrpSpPr>
        <p:grpSpPr>
          <a:xfrm>
            <a:off x="9512648" y="2057634"/>
            <a:ext cx="445474" cy="445474"/>
            <a:chOff x="7724776" y="1787525"/>
            <a:chExt cx="344488" cy="361951"/>
          </a:xfrm>
          <a:solidFill>
            <a:srgbClr val="E75F71"/>
          </a:solidFill>
        </p:grpSpPr>
        <p:sp>
          <p:nvSpPr>
            <p:cNvPr id="85" name="Rectangle 84">
              <a:extLst>
                <a:ext uri="{FF2B5EF4-FFF2-40B4-BE49-F238E27FC236}">
                  <a16:creationId xmlns:a16="http://schemas.microsoft.com/office/drawing/2014/main" id="{61FAA03C-E878-4C65-B843-3080B0345749}"/>
                </a:ext>
              </a:extLst>
            </p:cNvPr>
            <p:cNvSpPr>
              <a:spLocks noChangeArrowheads="1"/>
            </p:cNvSpPr>
            <p:nvPr/>
          </p:nvSpPr>
          <p:spPr bwMode="auto">
            <a:xfrm>
              <a:off x="7948613" y="2103438"/>
              <a:ext cx="6032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86" name="Freeform 140">
              <a:extLst>
                <a:ext uri="{FF2B5EF4-FFF2-40B4-BE49-F238E27FC236}">
                  <a16:creationId xmlns:a16="http://schemas.microsoft.com/office/drawing/2014/main" id="{32C3196B-BBC9-4625-980A-22A64F0EAF23}"/>
                </a:ext>
              </a:extLst>
            </p:cNvPr>
            <p:cNvSpPr>
              <a:spLocks/>
            </p:cNvSpPr>
            <p:nvPr/>
          </p:nvSpPr>
          <p:spPr bwMode="auto">
            <a:xfrm>
              <a:off x="7904163" y="2103438"/>
              <a:ext cx="30163" cy="46038"/>
            </a:xfrm>
            <a:custGeom>
              <a:avLst/>
              <a:gdLst>
                <a:gd name="T0" fmla="*/ 2 w 8"/>
                <a:gd name="T1" fmla="*/ 0 h 12"/>
                <a:gd name="T2" fmla="*/ 0 w 8"/>
                <a:gd name="T3" fmla="*/ 2 h 12"/>
                <a:gd name="T4" fmla="*/ 0 w 8"/>
                <a:gd name="T5" fmla="*/ 10 h 12"/>
                <a:gd name="T6" fmla="*/ 2 w 8"/>
                <a:gd name="T7" fmla="*/ 12 h 12"/>
                <a:gd name="T8" fmla="*/ 8 w 8"/>
                <a:gd name="T9" fmla="*/ 12 h 12"/>
                <a:gd name="T10" fmla="*/ 8 w 8"/>
                <a:gd name="T11" fmla="*/ 0 h 12"/>
                <a:gd name="T12" fmla="*/ 2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2" y="0"/>
                  </a:moveTo>
                  <a:cubicBezTo>
                    <a:pt x="1" y="0"/>
                    <a:pt x="0" y="1"/>
                    <a:pt x="0" y="2"/>
                  </a:cubicBezTo>
                  <a:cubicBezTo>
                    <a:pt x="0" y="10"/>
                    <a:pt x="0" y="10"/>
                    <a:pt x="0" y="10"/>
                  </a:cubicBezTo>
                  <a:cubicBezTo>
                    <a:pt x="0" y="11"/>
                    <a:pt x="1" y="12"/>
                    <a:pt x="2" y="12"/>
                  </a:cubicBezTo>
                  <a:cubicBezTo>
                    <a:pt x="8" y="12"/>
                    <a:pt x="8" y="12"/>
                    <a:pt x="8" y="12"/>
                  </a:cubicBezTo>
                  <a:cubicBezTo>
                    <a:pt x="8" y="0"/>
                    <a:pt x="8" y="0"/>
                    <a:pt x="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87" name="Freeform 141">
              <a:extLst>
                <a:ext uri="{FF2B5EF4-FFF2-40B4-BE49-F238E27FC236}">
                  <a16:creationId xmlns:a16="http://schemas.microsoft.com/office/drawing/2014/main" id="{58D3847A-F57B-4994-A16A-7706F2AF5400}"/>
                </a:ext>
              </a:extLst>
            </p:cNvPr>
            <p:cNvSpPr>
              <a:spLocks/>
            </p:cNvSpPr>
            <p:nvPr/>
          </p:nvSpPr>
          <p:spPr bwMode="auto">
            <a:xfrm>
              <a:off x="8024813" y="2103438"/>
              <a:ext cx="30163" cy="46038"/>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88" name="Rectangle 87">
              <a:extLst>
                <a:ext uri="{FF2B5EF4-FFF2-40B4-BE49-F238E27FC236}">
                  <a16:creationId xmlns:a16="http://schemas.microsoft.com/office/drawing/2014/main" id="{3E8BAB0F-F7C6-462F-B2EF-E8BC5884B86A}"/>
                </a:ext>
              </a:extLst>
            </p:cNvPr>
            <p:cNvSpPr>
              <a:spLocks noChangeArrowheads="1"/>
            </p:cNvSpPr>
            <p:nvPr/>
          </p:nvSpPr>
          <p:spPr bwMode="auto">
            <a:xfrm>
              <a:off x="7783513" y="2103438"/>
              <a:ext cx="6032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06" name="Freeform 143">
              <a:extLst>
                <a:ext uri="{FF2B5EF4-FFF2-40B4-BE49-F238E27FC236}">
                  <a16:creationId xmlns:a16="http://schemas.microsoft.com/office/drawing/2014/main" id="{D4A7E135-A3AE-4D74-B124-7E1EB2D50B5D}"/>
                </a:ext>
              </a:extLst>
            </p:cNvPr>
            <p:cNvSpPr>
              <a:spLocks/>
            </p:cNvSpPr>
            <p:nvPr/>
          </p:nvSpPr>
          <p:spPr bwMode="auto">
            <a:xfrm>
              <a:off x="7739063" y="2103438"/>
              <a:ext cx="30163" cy="46038"/>
            </a:xfrm>
            <a:custGeom>
              <a:avLst/>
              <a:gdLst>
                <a:gd name="T0" fmla="*/ 2 w 8"/>
                <a:gd name="T1" fmla="*/ 0 h 12"/>
                <a:gd name="T2" fmla="*/ 0 w 8"/>
                <a:gd name="T3" fmla="*/ 2 h 12"/>
                <a:gd name="T4" fmla="*/ 0 w 8"/>
                <a:gd name="T5" fmla="*/ 10 h 12"/>
                <a:gd name="T6" fmla="*/ 2 w 8"/>
                <a:gd name="T7" fmla="*/ 12 h 12"/>
                <a:gd name="T8" fmla="*/ 8 w 8"/>
                <a:gd name="T9" fmla="*/ 12 h 12"/>
                <a:gd name="T10" fmla="*/ 8 w 8"/>
                <a:gd name="T11" fmla="*/ 0 h 12"/>
                <a:gd name="T12" fmla="*/ 2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2" y="0"/>
                  </a:moveTo>
                  <a:cubicBezTo>
                    <a:pt x="1" y="0"/>
                    <a:pt x="0" y="1"/>
                    <a:pt x="0" y="2"/>
                  </a:cubicBezTo>
                  <a:cubicBezTo>
                    <a:pt x="0" y="10"/>
                    <a:pt x="0" y="10"/>
                    <a:pt x="0" y="10"/>
                  </a:cubicBezTo>
                  <a:cubicBezTo>
                    <a:pt x="0" y="11"/>
                    <a:pt x="1" y="12"/>
                    <a:pt x="2" y="12"/>
                  </a:cubicBezTo>
                  <a:cubicBezTo>
                    <a:pt x="8" y="12"/>
                    <a:pt x="8" y="12"/>
                    <a:pt x="8" y="12"/>
                  </a:cubicBezTo>
                  <a:cubicBezTo>
                    <a:pt x="8" y="0"/>
                    <a:pt x="8" y="0"/>
                    <a:pt x="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07" name="Freeform 144">
              <a:extLst>
                <a:ext uri="{FF2B5EF4-FFF2-40B4-BE49-F238E27FC236}">
                  <a16:creationId xmlns:a16="http://schemas.microsoft.com/office/drawing/2014/main" id="{F4BBD696-B106-45F5-AA81-785AD4F88775}"/>
                </a:ext>
              </a:extLst>
            </p:cNvPr>
            <p:cNvSpPr>
              <a:spLocks/>
            </p:cNvSpPr>
            <p:nvPr/>
          </p:nvSpPr>
          <p:spPr bwMode="auto">
            <a:xfrm>
              <a:off x="7859713" y="2103438"/>
              <a:ext cx="30163" cy="46038"/>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08" name="Rectangle 107">
              <a:extLst>
                <a:ext uri="{FF2B5EF4-FFF2-40B4-BE49-F238E27FC236}">
                  <a16:creationId xmlns:a16="http://schemas.microsoft.com/office/drawing/2014/main" id="{4197BA6F-7762-4AE3-B7E7-1E01E3DDCD8A}"/>
                </a:ext>
              </a:extLst>
            </p:cNvPr>
            <p:cNvSpPr>
              <a:spLocks noChangeArrowheads="1"/>
            </p:cNvSpPr>
            <p:nvPr/>
          </p:nvSpPr>
          <p:spPr bwMode="auto">
            <a:xfrm>
              <a:off x="7769226" y="2051050"/>
              <a:ext cx="6032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09" name="Freeform 146">
              <a:extLst>
                <a:ext uri="{FF2B5EF4-FFF2-40B4-BE49-F238E27FC236}">
                  <a16:creationId xmlns:a16="http://schemas.microsoft.com/office/drawing/2014/main" id="{D8E92720-BFD5-4C92-96BA-23AA5C958448}"/>
                </a:ext>
              </a:extLst>
            </p:cNvPr>
            <p:cNvSpPr>
              <a:spLocks/>
            </p:cNvSpPr>
            <p:nvPr/>
          </p:nvSpPr>
          <p:spPr bwMode="auto">
            <a:xfrm>
              <a:off x="7724776" y="2051050"/>
              <a:ext cx="28575" cy="46038"/>
            </a:xfrm>
            <a:custGeom>
              <a:avLst/>
              <a:gdLst>
                <a:gd name="T0" fmla="*/ 2 w 8"/>
                <a:gd name="T1" fmla="*/ 0 h 12"/>
                <a:gd name="T2" fmla="*/ 0 w 8"/>
                <a:gd name="T3" fmla="*/ 2 h 12"/>
                <a:gd name="T4" fmla="*/ 0 w 8"/>
                <a:gd name="T5" fmla="*/ 10 h 12"/>
                <a:gd name="T6" fmla="*/ 2 w 8"/>
                <a:gd name="T7" fmla="*/ 12 h 12"/>
                <a:gd name="T8" fmla="*/ 8 w 8"/>
                <a:gd name="T9" fmla="*/ 12 h 12"/>
                <a:gd name="T10" fmla="*/ 8 w 8"/>
                <a:gd name="T11" fmla="*/ 0 h 12"/>
                <a:gd name="T12" fmla="*/ 2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2" y="0"/>
                  </a:moveTo>
                  <a:cubicBezTo>
                    <a:pt x="1" y="0"/>
                    <a:pt x="0" y="1"/>
                    <a:pt x="0" y="2"/>
                  </a:cubicBezTo>
                  <a:cubicBezTo>
                    <a:pt x="0" y="10"/>
                    <a:pt x="0" y="10"/>
                    <a:pt x="0" y="10"/>
                  </a:cubicBezTo>
                  <a:cubicBezTo>
                    <a:pt x="0" y="11"/>
                    <a:pt x="1" y="12"/>
                    <a:pt x="2" y="12"/>
                  </a:cubicBezTo>
                  <a:cubicBezTo>
                    <a:pt x="8" y="12"/>
                    <a:pt x="8" y="12"/>
                    <a:pt x="8" y="12"/>
                  </a:cubicBezTo>
                  <a:cubicBezTo>
                    <a:pt x="8" y="0"/>
                    <a:pt x="8" y="0"/>
                    <a:pt x="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0" name="Freeform 147">
              <a:extLst>
                <a:ext uri="{FF2B5EF4-FFF2-40B4-BE49-F238E27FC236}">
                  <a16:creationId xmlns:a16="http://schemas.microsoft.com/office/drawing/2014/main" id="{3AA7CD54-3101-4426-98C1-A69AE009EADF}"/>
                </a:ext>
              </a:extLst>
            </p:cNvPr>
            <p:cNvSpPr>
              <a:spLocks/>
            </p:cNvSpPr>
            <p:nvPr/>
          </p:nvSpPr>
          <p:spPr bwMode="auto">
            <a:xfrm>
              <a:off x="7843838" y="2051050"/>
              <a:ext cx="30163" cy="46038"/>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1" name="Rectangle 110">
              <a:extLst>
                <a:ext uri="{FF2B5EF4-FFF2-40B4-BE49-F238E27FC236}">
                  <a16:creationId xmlns:a16="http://schemas.microsoft.com/office/drawing/2014/main" id="{62C2D34D-AB85-46F8-9DEF-F103E4337843}"/>
                </a:ext>
              </a:extLst>
            </p:cNvPr>
            <p:cNvSpPr>
              <a:spLocks noChangeArrowheads="1"/>
            </p:cNvSpPr>
            <p:nvPr/>
          </p:nvSpPr>
          <p:spPr bwMode="auto">
            <a:xfrm>
              <a:off x="7964488" y="2051050"/>
              <a:ext cx="6032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2" name="Freeform 149">
              <a:extLst>
                <a:ext uri="{FF2B5EF4-FFF2-40B4-BE49-F238E27FC236}">
                  <a16:creationId xmlns:a16="http://schemas.microsoft.com/office/drawing/2014/main" id="{13A797B9-CFD7-49BF-B95F-87879ADC4262}"/>
                </a:ext>
              </a:extLst>
            </p:cNvPr>
            <p:cNvSpPr>
              <a:spLocks/>
            </p:cNvSpPr>
            <p:nvPr/>
          </p:nvSpPr>
          <p:spPr bwMode="auto">
            <a:xfrm>
              <a:off x="7920038" y="2051050"/>
              <a:ext cx="28575" cy="46038"/>
            </a:xfrm>
            <a:custGeom>
              <a:avLst/>
              <a:gdLst>
                <a:gd name="T0" fmla="*/ 2 w 8"/>
                <a:gd name="T1" fmla="*/ 0 h 12"/>
                <a:gd name="T2" fmla="*/ 0 w 8"/>
                <a:gd name="T3" fmla="*/ 2 h 12"/>
                <a:gd name="T4" fmla="*/ 0 w 8"/>
                <a:gd name="T5" fmla="*/ 10 h 12"/>
                <a:gd name="T6" fmla="*/ 2 w 8"/>
                <a:gd name="T7" fmla="*/ 12 h 12"/>
                <a:gd name="T8" fmla="*/ 8 w 8"/>
                <a:gd name="T9" fmla="*/ 12 h 12"/>
                <a:gd name="T10" fmla="*/ 8 w 8"/>
                <a:gd name="T11" fmla="*/ 0 h 12"/>
                <a:gd name="T12" fmla="*/ 2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2" y="0"/>
                  </a:moveTo>
                  <a:cubicBezTo>
                    <a:pt x="1" y="0"/>
                    <a:pt x="0" y="1"/>
                    <a:pt x="0" y="2"/>
                  </a:cubicBezTo>
                  <a:cubicBezTo>
                    <a:pt x="0" y="10"/>
                    <a:pt x="0" y="10"/>
                    <a:pt x="0" y="10"/>
                  </a:cubicBezTo>
                  <a:cubicBezTo>
                    <a:pt x="0" y="11"/>
                    <a:pt x="1" y="12"/>
                    <a:pt x="2" y="12"/>
                  </a:cubicBezTo>
                  <a:cubicBezTo>
                    <a:pt x="8" y="12"/>
                    <a:pt x="8" y="12"/>
                    <a:pt x="8" y="12"/>
                  </a:cubicBezTo>
                  <a:cubicBezTo>
                    <a:pt x="8" y="0"/>
                    <a:pt x="8" y="0"/>
                    <a:pt x="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3" name="Freeform 150">
              <a:extLst>
                <a:ext uri="{FF2B5EF4-FFF2-40B4-BE49-F238E27FC236}">
                  <a16:creationId xmlns:a16="http://schemas.microsoft.com/office/drawing/2014/main" id="{7BA6A8AC-9A2B-43FC-B70F-4E68CA14B9D6}"/>
                </a:ext>
              </a:extLst>
            </p:cNvPr>
            <p:cNvSpPr>
              <a:spLocks/>
            </p:cNvSpPr>
            <p:nvPr/>
          </p:nvSpPr>
          <p:spPr bwMode="auto">
            <a:xfrm>
              <a:off x="8039101" y="2051050"/>
              <a:ext cx="30163" cy="46038"/>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4" name="Rectangle 113">
              <a:extLst>
                <a:ext uri="{FF2B5EF4-FFF2-40B4-BE49-F238E27FC236}">
                  <a16:creationId xmlns:a16="http://schemas.microsoft.com/office/drawing/2014/main" id="{7E4ACD4F-1796-495F-9C83-E3B698F276F5}"/>
                </a:ext>
              </a:extLst>
            </p:cNvPr>
            <p:cNvSpPr>
              <a:spLocks noChangeArrowheads="1"/>
            </p:cNvSpPr>
            <p:nvPr/>
          </p:nvSpPr>
          <p:spPr bwMode="auto">
            <a:xfrm>
              <a:off x="7948613" y="1998663"/>
              <a:ext cx="60325"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5" name="Freeform 152">
              <a:extLst>
                <a:ext uri="{FF2B5EF4-FFF2-40B4-BE49-F238E27FC236}">
                  <a16:creationId xmlns:a16="http://schemas.microsoft.com/office/drawing/2014/main" id="{602B9291-F809-40C0-8D6A-891F2E4EFAAE}"/>
                </a:ext>
              </a:extLst>
            </p:cNvPr>
            <p:cNvSpPr>
              <a:spLocks/>
            </p:cNvSpPr>
            <p:nvPr/>
          </p:nvSpPr>
          <p:spPr bwMode="auto">
            <a:xfrm>
              <a:off x="7904163" y="1998663"/>
              <a:ext cx="30163" cy="44450"/>
            </a:xfrm>
            <a:custGeom>
              <a:avLst/>
              <a:gdLst>
                <a:gd name="T0" fmla="*/ 2 w 8"/>
                <a:gd name="T1" fmla="*/ 0 h 12"/>
                <a:gd name="T2" fmla="*/ 0 w 8"/>
                <a:gd name="T3" fmla="*/ 2 h 12"/>
                <a:gd name="T4" fmla="*/ 0 w 8"/>
                <a:gd name="T5" fmla="*/ 10 h 12"/>
                <a:gd name="T6" fmla="*/ 2 w 8"/>
                <a:gd name="T7" fmla="*/ 12 h 12"/>
                <a:gd name="T8" fmla="*/ 8 w 8"/>
                <a:gd name="T9" fmla="*/ 12 h 12"/>
                <a:gd name="T10" fmla="*/ 8 w 8"/>
                <a:gd name="T11" fmla="*/ 0 h 12"/>
                <a:gd name="T12" fmla="*/ 2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2" y="0"/>
                  </a:moveTo>
                  <a:cubicBezTo>
                    <a:pt x="1" y="0"/>
                    <a:pt x="0" y="1"/>
                    <a:pt x="0" y="2"/>
                  </a:cubicBezTo>
                  <a:cubicBezTo>
                    <a:pt x="0" y="10"/>
                    <a:pt x="0" y="10"/>
                    <a:pt x="0" y="10"/>
                  </a:cubicBezTo>
                  <a:cubicBezTo>
                    <a:pt x="0" y="11"/>
                    <a:pt x="1" y="12"/>
                    <a:pt x="2" y="12"/>
                  </a:cubicBezTo>
                  <a:cubicBezTo>
                    <a:pt x="8" y="12"/>
                    <a:pt x="8" y="12"/>
                    <a:pt x="8" y="12"/>
                  </a:cubicBezTo>
                  <a:cubicBezTo>
                    <a:pt x="8" y="0"/>
                    <a:pt x="8" y="0"/>
                    <a:pt x="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6" name="Freeform 153">
              <a:extLst>
                <a:ext uri="{FF2B5EF4-FFF2-40B4-BE49-F238E27FC236}">
                  <a16:creationId xmlns:a16="http://schemas.microsoft.com/office/drawing/2014/main" id="{B2DD3980-676C-47DF-9002-8A8F8DEF0F03}"/>
                </a:ext>
              </a:extLst>
            </p:cNvPr>
            <p:cNvSpPr>
              <a:spLocks/>
            </p:cNvSpPr>
            <p:nvPr/>
          </p:nvSpPr>
          <p:spPr bwMode="auto">
            <a:xfrm>
              <a:off x="8024813" y="1998663"/>
              <a:ext cx="30163" cy="44450"/>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7" name="Rectangle 116">
              <a:extLst>
                <a:ext uri="{FF2B5EF4-FFF2-40B4-BE49-F238E27FC236}">
                  <a16:creationId xmlns:a16="http://schemas.microsoft.com/office/drawing/2014/main" id="{016C5A44-A708-4B1D-ACFF-20FD3D696456}"/>
                </a:ext>
              </a:extLst>
            </p:cNvPr>
            <p:cNvSpPr>
              <a:spLocks noChangeArrowheads="1"/>
            </p:cNvSpPr>
            <p:nvPr/>
          </p:nvSpPr>
          <p:spPr bwMode="auto">
            <a:xfrm>
              <a:off x="7964488" y="1946275"/>
              <a:ext cx="60325"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8" name="Freeform 155">
              <a:extLst>
                <a:ext uri="{FF2B5EF4-FFF2-40B4-BE49-F238E27FC236}">
                  <a16:creationId xmlns:a16="http://schemas.microsoft.com/office/drawing/2014/main" id="{85009E3A-B1C1-491C-9421-E7F26943A032}"/>
                </a:ext>
              </a:extLst>
            </p:cNvPr>
            <p:cNvSpPr>
              <a:spLocks/>
            </p:cNvSpPr>
            <p:nvPr/>
          </p:nvSpPr>
          <p:spPr bwMode="auto">
            <a:xfrm>
              <a:off x="7920038" y="1946275"/>
              <a:ext cx="28575" cy="44450"/>
            </a:xfrm>
            <a:custGeom>
              <a:avLst/>
              <a:gdLst>
                <a:gd name="T0" fmla="*/ 2 w 8"/>
                <a:gd name="T1" fmla="*/ 0 h 12"/>
                <a:gd name="T2" fmla="*/ 0 w 8"/>
                <a:gd name="T3" fmla="*/ 2 h 12"/>
                <a:gd name="T4" fmla="*/ 0 w 8"/>
                <a:gd name="T5" fmla="*/ 10 h 12"/>
                <a:gd name="T6" fmla="*/ 2 w 8"/>
                <a:gd name="T7" fmla="*/ 12 h 12"/>
                <a:gd name="T8" fmla="*/ 8 w 8"/>
                <a:gd name="T9" fmla="*/ 12 h 12"/>
                <a:gd name="T10" fmla="*/ 8 w 8"/>
                <a:gd name="T11" fmla="*/ 0 h 12"/>
                <a:gd name="T12" fmla="*/ 2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2" y="0"/>
                  </a:moveTo>
                  <a:cubicBezTo>
                    <a:pt x="1" y="0"/>
                    <a:pt x="0" y="1"/>
                    <a:pt x="0" y="2"/>
                  </a:cubicBezTo>
                  <a:cubicBezTo>
                    <a:pt x="0" y="10"/>
                    <a:pt x="0" y="10"/>
                    <a:pt x="0" y="10"/>
                  </a:cubicBezTo>
                  <a:cubicBezTo>
                    <a:pt x="0" y="11"/>
                    <a:pt x="1" y="12"/>
                    <a:pt x="2" y="12"/>
                  </a:cubicBezTo>
                  <a:cubicBezTo>
                    <a:pt x="8" y="12"/>
                    <a:pt x="8" y="12"/>
                    <a:pt x="8" y="12"/>
                  </a:cubicBezTo>
                  <a:cubicBezTo>
                    <a:pt x="8" y="0"/>
                    <a:pt x="8" y="0"/>
                    <a:pt x="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19" name="Freeform 156">
              <a:extLst>
                <a:ext uri="{FF2B5EF4-FFF2-40B4-BE49-F238E27FC236}">
                  <a16:creationId xmlns:a16="http://schemas.microsoft.com/office/drawing/2014/main" id="{35D2BB02-FB4B-47D9-BD5B-3AD526C0E42E}"/>
                </a:ext>
              </a:extLst>
            </p:cNvPr>
            <p:cNvSpPr>
              <a:spLocks/>
            </p:cNvSpPr>
            <p:nvPr/>
          </p:nvSpPr>
          <p:spPr bwMode="auto">
            <a:xfrm>
              <a:off x="8039101" y="1946275"/>
              <a:ext cx="30163" cy="44450"/>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20" name="Freeform 157">
              <a:extLst>
                <a:ext uri="{FF2B5EF4-FFF2-40B4-BE49-F238E27FC236}">
                  <a16:creationId xmlns:a16="http://schemas.microsoft.com/office/drawing/2014/main" id="{069F8671-A0F6-4CEB-9B5E-09409F46FE22}"/>
                </a:ext>
              </a:extLst>
            </p:cNvPr>
            <p:cNvSpPr>
              <a:spLocks/>
            </p:cNvSpPr>
            <p:nvPr/>
          </p:nvSpPr>
          <p:spPr bwMode="auto">
            <a:xfrm>
              <a:off x="7731126" y="1787525"/>
              <a:ext cx="338138" cy="211138"/>
            </a:xfrm>
            <a:custGeom>
              <a:avLst/>
              <a:gdLst>
                <a:gd name="T0" fmla="*/ 88 w 90"/>
                <a:gd name="T1" fmla="*/ 0 h 56"/>
                <a:gd name="T2" fmla="*/ 60 w 90"/>
                <a:gd name="T3" fmla="*/ 0 h 56"/>
                <a:gd name="T4" fmla="*/ 58 w 90"/>
                <a:gd name="T5" fmla="*/ 2 h 56"/>
                <a:gd name="T6" fmla="*/ 60 w 90"/>
                <a:gd name="T7" fmla="*/ 4 h 56"/>
                <a:gd name="T8" fmla="*/ 83 w 90"/>
                <a:gd name="T9" fmla="*/ 4 h 56"/>
                <a:gd name="T10" fmla="*/ 58 w 90"/>
                <a:gd name="T11" fmla="*/ 31 h 56"/>
                <a:gd name="T12" fmla="*/ 39 w 90"/>
                <a:gd name="T13" fmla="*/ 16 h 56"/>
                <a:gd name="T14" fmla="*/ 37 w 90"/>
                <a:gd name="T15" fmla="*/ 16 h 56"/>
                <a:gd name="T16" fmla="*/ 1 w 90"/>
                <a:gd name="T17" fmla="*/ 52 h 56"/>
                <a:gd name="T18" fmla="*/ 1 w 90"/>
                <a:gd name="T19" fmla="*/ 55 h 56"/>
                <a:gd name="T20" fmla="*/ 2 w 90"/>
                <a:gd name="T21" fmla="*/ 56 h 56"/>
                <a:gd name="T22" fmla="*/ 3 w 90"/>
                <a:gd name="T23" fmla="*/ 55 h 56"/>
                <a:gd name="T24" fmla="*/ 38 w 90"/>
                <a:gd name="T25" fmla="*/ 21 h 56"/>
                <a:gd name="T26" fmla="*/ 57 w 90"/>
                <a:gd name="T27" fmla="*/ 35 h 56"/>
                <a:gd name="T28" fmla="*/ 59 w 90"/>
                <a:gd name="T29" fmla="*/ 35 h 56"/>
                <a:gd name="T30" fmla="*/ 86 w 90"/>
                <a:gd name="T31" fmla="*/ 7 h 56"/>
                <a:gd name="T32" fmla="*/ 86 w 90"/>
                <a:gd name="T33" fmla="*/ 28 h 56"/>
                <a:gd name="T34" fmla="*/ 88 w 90"/>
                <a:gd name="T35" fmla="*/ 30 h 56"/>
                <a:gd name="T36" fmla="*/ 90 w 90"/>
                <a:gd name="T37" fmla="*/ 28 h 56"/>
                <a:gd name="T38" fmla="*/ 90 w 90"/>
                <a:gd name="T39" fmla="*/ 2 h 56"/>
                <a:gd name="T40" fmla="*/ 88 w 90"/>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56">
                  <a:moveTo>
                    <a:pt x="88" y="0"/>
                  </a:moveTo>
                  <a:cubicBezTo>
                    <a:pt x="60" y="0"/>
                    <a:pt x="60" y="0"/>
                    <a:pt x="60" y="0"/>
                  </a:cubicBezTo>
                  <a:cubicBezTo>
                    <a:pt x="59" y="0"/>
                    <a:pt x="58" y="1"/>
                    <a:pt x="58" y="2"/>
                  </a:cubicBezTo>
                  <a:cubicBezTo>
                    <a:pt x="58" y="3"/>
                    <a:pt x="59" y="4"/>
                    <a:pt x="60" y="4"/>
                  </a:cubicBezTo>
                  <a:cubicBezTo>
                    <a:pt x="83" y="4"/>
                    <a:pt x="83" y="4"/>
                    <a:pt x="83" y="4"/>
                  </a:cubicBezTo>
                  <a:cubicBezTo>
                    <a:pt x="58" y="31"/>
                    <a:pt x="58" y="31"/>
                    <a:pt x="58" y="31"/>
                  </a:cubicBezTo>
                  <a:cubicBezTo>
                    <a:pt x="39" y="16"/>
                    <a:pt x="39" y="16"/>
                    <a:pt x="39" y="16"/>
                  </a:cubicBezTo>
                  <a:cubicBezTo>
                    <a:pt x="38" y="16"/>
                    <a:pt x="37" y="16"/>
                    <a:pt x="37" y="16"/>
                  </a:cubicBezTo>
                  <a:cubicBezTo>
                    <a:pt x="1" y="52"/>
                    <a:pt x="1" y="52"/>
                    <a:pt x="1" y="52"/>
                  </a:cubicBezTo>
                  <a:cubicBezTo>
                    <a:pt x="0" y="53"/>
                    <a:pt x="0" y="55"/>
                    <a:pt x="1" y="55"/>
                  </a:cubicBezTo>
                  <a:cubicBezTo>
                    <a:pt x="1" y="56"/>
                    <a:pt x="1" y="56"/>
                    <a:pt x="2" y="56"/>
                  </a:cubicBezTo>
                  <a:cubicBezTo>
                    <a:pt x="3" y="56"/>
                    <a:pt x="3" y="56"/>
                    <a:pt x="3" y="55"/>
                  </a:cubicBezTo>
                  <a:cubicBezTo>
                    <a:pt x="38" y="21"/>
                    <a:pt x="38" y="21"/>
                    <a:pt x="38" y="21"/>
                  </a:cubicBezTo>
                  <a:cubicBezTo>
                    <a:pt x="57" y="35"/>
                    <a:pt x="57" y="35"/>
                    <a:pt x="57" y="35"/>
                  </a:cubicBezTo>
                  <a:cubicBezTo>
                    <a:pt x="58" y="36"/>
                    <a:pt x="59" y="36"/>
                    <a:pt x="59" y="35"/>
                  </a:cubicBezTo>
                  <a:cubicBezTo>
                    <a:pt x="86" y="7"/>
                    <a:pt x="86" y="7"/>
                    <a:pt x="86" y="7"/>
                  </a:cubicBezTo>
                  <a:cubicBezTo>
                    <a:pt x="86" y="28"/>
                    <a:pt x="86" y="28"/>
                    <a:pt x="86" y="28"/>
                  </a:cubicBezTo>
                  <a:cubicBezTo>
                    <a:pt x="86" y="29"/>
                    <a:pt x="87" y="30"/>
                    <a:pt x="88" y="30"/>
                  </a:cubicBezTo>
                  <a:cubicBezTo>
                    <a:pt x="89" y="30"/>
                    <a:pt x="90" y="29"/>
                    <a:pt x="90" y="28"/>
                  </a:cubicBezTo>
                  <a:cubicBezTo>
                    <a:pt x="90" y="2"/>
                    <a:pt x="90" y="2"/>
                    <a:pt x="90" y="2"/>
                  </a:cubicBezTo>
                  <a:cubicBezTo>
                    <a:pt x="90" y="1"/>
                    <a:pt x="89"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grpSp>
    </p:spTree>
    <p:extLst>
      <p:ext uri="{BB962C8B-B14F-4D97-AF65-F5344CB8AC3E}">
        <p14:creationId xmlns:p14="http://schemas.microsoft.com/office/powerpoint/2010/main" val="568579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rapezoid 104">
            <a:extLst>
              <a:ext uri="{FF2B5EF4-FFF2-40B4-BE49-F238E27FC236}">
                <a16:creationId xmlns:a16="http://schemas.microsoft.com/office/drawing/2014/main" id="{194C3FCB-DBD8-4DFF-BE52-69A3AB1D4D80}"/>
              </a:ext>
            </a:extLst>
          </p:cNvPr>
          <p:cNvSpPr/>
          <p:nvPr/>
        </p:nvSpPr>
        <p:spPr>
          <a:xfrm>
            <a:off x="741298" y="4384923"/>
            <a:ext cx="1559718" cy="259088"/>
          </a:xfrm>
          <a:prstGeom prst="trapezoid">
            <a:avLst>
              <a:gd name="adj" fmla="val 58087"/>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Trapezoid 103">
            <a:extLst>
              <a:ext uri="{FF2B5EF4-FFF2-40B4-BE49-F238E27FC236}">
                <a16:creationId xmlns:a16="http://schemas.microsoft.com/office/drawing/2014/main" id="{52F70E5C-0043-4087-9B38-89ACE8A3969A}"/>
              </a:ext>
            </a:extLst>
          </p:cNvPr>
          <p:cNvSpPr/>
          <p:nvPr/>
        </p:nvSpPr>
        <p:spPr>
          <a:xfrm>
            <a:off x="3826558" y="4384923"/>
            <a:ext cx="1559718" cy="259088"/>
          </a:xfrm>
          <a:prstGeom prst="trapezoid">
            <a:avLst>
              <a:gd name="adj" fmla="val 58087"/>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rapezoid 102">
            <a:extLst>
              <a:ext uri="{FF2B5EF4-FFF2-40B4-BE49-F238E27FC236}">
                <a16:creationId xmlns:a16="http://schemas.microsoft.com/office/drawing/2014/main" id="{F9EFE84E-0561-4E2A-B949-BA10E92007BD}"/>
              </a:ext>
            </a:extLst>
          </p:cNvPr>
          <p:cNvSpPr/>
          <p:nvPr/>
        </p:nvSpPr>
        <p:spPr>
          <a:xfrm>
            <a:off x="6911818" y="4384923"/>
            <a:ext cx="1559718" cy="259088"/>
          </a:xfrm>
          <a:prstGeom prst="trapezoid">
            <a:avLst>
              <a:gd name="adj" fmla="val 58087"/>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1B32D6C0-E769-4EFF-9FCF-19FCF5FA8F8C}"/>
              </a:ext>
            </a:extLst>
          </p:cNvPr>
          <p:cNvSpPr/>
          <p:nvPr/>
        </p:nvSpPr>
        <p:spPr>
          <a:xfrm>
            <a:off x="0" y="4630109"/>
            <a:ext cx="12192000" cy="769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Trapezoid 100">
            <a:extLst>
              <a:ext uri="{FF2B5EF4-FFF2-40B4-BE49-F238E27FC236}">
                <a16:creationId xmlns:a16="http://schemas.microsoft.com/office/drawing/2014/main" id="{4F6FCD7D-45E4-4988-B220-B4C81F2DBCB5}"/>
              </a:ext>
            </a:extLst>
          </p:cNvPr>
          <p:cNvSpPr/>
          <p:nvPr/>
        </p:nvSpPr>
        <p:spPr>
          <a:xfrm>
            <a:off x="9939197" y="1795376"/>
            <a:ext cx="1559718" cy="259088"/>
          </a:xfrm>
          <a:prstGeom prst="trapezoid">
            <a:avLst>
              <a:gd name="adj" fmla="val 58087"/>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Trapezoid 99">
            <a:extLst>
              <a:ext uri="{FF2B5EF4-FFF2-40B4-BE49-F238E27FC236}">
                <a16:creationId xmlns:a16="http://schemas.microsoft.com/office/drawing/2014/main" id="{5E6D21A1-D109-4E6E-B205-F14C3377D098}"/>
              </a:ext>
            </a:extLst>
          </p:cNvPr>
          <p:cNvSpPr/>
          <p:nvPr/>
        </p:nvSpPr>
        <p:spPr>
          <a:xfrm>
            <a:off x="6858770" y="1795376"/>
            <a:ext cx="1559718" cy="259088"/>
          </a:xfrm>
          <a:prstGeom prst="trapezoid">
            <a:avLst>
              <a:gd name="adj" fmla="val 58087"/>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Trapezoid 98">
            <a:extLst>
              <a:ext uri="{FF2B5EF4-FFF2-40B4-BE49-F238E27FC236}">
                <a16:creationId xmlns:a16="http://schemas.microsoft.com/office/drawing/2014/main" id="{3345889E-15A5-4EF8-8BEA-8813850D4809}"/>
              </a:ext>
            </a:extLst>
          </p:cNvPr>
          <p:cNvSpPr/>
          <p:nvPr/>
        </p:nvSpPr>
        <p:spPr>
          <a:xfrm>
            <a:off x="3773508" y="1795376"/>
            <a:ext cx="1559718" cy="259088"/>
          </a:xfrm>
          <a:prstGeom prst="trapezoid">
            <a:avLst>
              <a:gd name="adj" fmla="val 58087"/>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rapezoid 14">
            <a:extLst>
              <a:ext uri="{FF2B5EF4-FFF2-40B4-BE49-F238E27FC236}">
                <a16:creationId xmlns:a16="http://schemas.microsoft.com/office/drawing/2014/main" id="{DEAF4F81-67AF-4654-A3F3-D034A6C4FF1B}"/>
              </a:ext>
            </a:extLst>
          </p:cNvPr>
          <p:cNvSpPr/>
          <p:nvPr/>
        </p:nvSpPr>
        <p:spPr>
          <a:xfrm>
            <a:off x="690563" y="1795376"/>
            <a:ext cx="1559718" cy="259088"/>
          </a:xfrm>
          <a:prstGeom prst="trapezoid">
            <a:avLst>
              <a:gd name="adj" fmla="val 58087"/>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5BFBCE3-2E33-4C31-A983-059045B8E7FB}"/>
              </a:ext>
            </a:extLst>
          </p:cNvPr>
          <p:cNvSpPr/>
          <p:nvPr/>
        </p:nvSpPr>
        <p:spPr>
          <a:xfrm>
            <a:off x="0" y="2040564"/>
            <a:ext cx="12192000" cy="769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575CD53-6108-481A-A31F-305A2B59F755}"/>
              </a:ext>
            </a:extLst>
          </p:cNvPr>
          <p:cNvSpPr txBox="1"/>
          <p:nvPr/>
        </p:nvSpPr>
        <p:spPr>
          <a:xfrm>
            <a:off x="690563" y="314325"/>
            <a:ext cx="10808351" cy="553998"/>
          </a:xfrm>
          <a:prstGeom prst="rect">
            <a:avLst/>
          </a:prstGeom>
          <a:noFill/>
        </p:spPr>
        <p:txBody>
          <a:bodyPr wrap="square" lIns="0" tIns="0" rIns="0" bIns="0" rtlCol="0" anchor="t">
            <a:spAutoFit/>
          </a:bodyPr>
          <a:lstStyle/>
          <a:p>
            <a:r>
              <a:rPr lang="en-US" sz="3600" dirty="0">
                <a:latin typeface="+mj-lt"/>
              </a:rPr>
              <a:t>CSR STAKEHOLDERS</a:t>
            </a:r>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3</a:t>
            </a:fld>
            <a:endParaRPr lang="en-US"/>
          </a:p>
        </p:txBody>
      </p:sp>
      <p:sp>
        <p:nvSpPr>
          <p:cNvPr id="5" name="Rectangle: Top Corners Rounded 4">
            <a:extLst>
              <a:ext uri="{FF2B5EF4-FFF2-40B4-BE49-F238E27FC236}">
                <a16:creationId xmlns:a16="http://schemas.microsoft.com/office/drawing/2014/main" id="{AB36BEAF-C1FE-4A8A-8627-17EF7590883F}"/>
              </a:ext>
            </a:extLst>
          </p:cNvPr>
          <p:cNvSpPr/>
          <p:nvPr/>
        </p:nvSpPr>
        <p:spPr>
          <a:xfrm flipV="1">
            <a:off x="840515" y="1795378"/>
            <a:ext cx="1259815" cy="1259815"/>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Top Corners Rounded 39">
            <a:extLst>
              <a:ext uri="{FF2B5EF4-FFF2-40B4-BE49-F238E27FC236}">
                <a16:creationId xmlns:a16="http://schemas.microsoft.com/office/drawing/2014/main" id="{08FE77E5-5881-406D-80E1-186D5D077526}"/>
              </a:ext>
            </a:extLst>
          </p:cNvPr>
          <p:cNvSpPr/>
          <p:nvPr/>
        </p:nvSpPr>
        <p:spPr>
          <a:xfrm flipV="1">
            <a:off x="891248" y="4384923"/>
            <a:ext cx="1259815" cy="1259815"/>
          </a:xfrm>
          <a:prstGeom prst="round2SameRect">
            <a:avLst>
              <a:gd name="adj1" fmla="val 50000"/>
              <a:gd name="adj2"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Top Corners Rounded 41">
            <a:extLst>
              <a:ext uri="{FF2B5EF4-FFF2-40B4-BE49-F238E27FC236}">
                <a16:creationId xmlns:a16="http://schemas.microsoft.com/office/drawing/2014/main" id="{9D36FAA0-1191-4F6B-A17D-9F78FCA9B1E2}"/>
              </a:ext>
            </a:extLst>
          </p:cNvPr>
          <p:cNvSpPr/>
          <p:nvPr/>
        </p:nvSpPr>
        <p:spPr>
          <a:xfrm flipV="1">
            <a:off x="3923462" y="1795378"/>
            <a:ext cx="1259815" cy="1259815"/>
          </a:xfrm>
          <a:prstGeom prst="round2SameRect">
            <a:avLst>
              <a:gd name="adj1" fmla="val 50000"/>
              <a:gd name="adj2" fmla="val 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Top Corners Rounded 42">
            <a:extLst>
              <a:ext uri="{FF2B5EF4-FFF2-40B4-BE49-F238E27FC236}">
                <a16:creationId xmlns:a16="http://schemas.microsoft.com/office/drawing/2014/main" id="{CA50B4F7-75D1-4B3A-9E8D-AF7C907CE388}"/>
              </a:ext>
            </a:extLst>
          </p:cNvPr>
          <p:cNvSpPr/>
          <p:nvPr/>
        </p:nvSpPr>
        <p:spPr>
          <a:xfrm flipV="1">
            <a:off x="3976509" y="4384923"/>
            <a:ext cx="1259815" cy="1259815"/>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Top Corners Rounded 44">
            <a:extLst>
              <a:ext uri="{FF2B5EF4-FFF2-40B4-BE49-F238E27FC236}">
                <a16:creationId xmlns:a16="http://schemas.microsoft.com/office/drawing/2014/main" id="{2D5B7D62-DBF4-4B61-AE64-B4CB8BC9A2BF}"/>
              </a:ext>
            </a:extLst>
          </p:cNvPr>
          <p:cNvSpPr/>
          <p:nvPr/>
        </p:nvSpPr>
        <p:spPr>
          <a:xfrm flipV="1">
            <a:off x="7008723" y="1795378"/>
            <a:ext cx="1259815" cy="1259815"/>
          </a:xfrm>
          <a:prstGeom prst="round2SameRect">
            <a:avLst>
              <a:gd name="adj1" fmla="val 50000"/>
              <a:gd name="adj2"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Top Corners Rounded 45">
            <a:extLst>
              <a:ext uri="{FF2B5EF4-FFF2-40B4-BE49-F238E27FC236}">
                <a16:creationId xmlns:a16="http://schemas.microsoft.com/office/drawing/2014/main" id="{E607F9C6-D3E5-4CB1-8091-EF3383B02A48}"/>
              </a:ext>
            </a:extLst>
          </p:cNvPr>
          <p:cNvSpPr/>
          <p:nvPr/>
        </p:nvSpPr>
        <p:spPr>
          <a:xfrm flipV="1">
            <a:off x="7061771" y="4384923"/>
            <a:ext cx="1259815" cy="1259815"/>
          </a:xfrm>
          <a:prstGeom prst="round2SameRect">
            <a:avLst>
              <a:gd name="adj1" fmla="val 50000"/>
              <a:gd name="adj2" fmla="val 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Top Corners Rounded 46">
            <a:extLst>
              <a:ext uri="{FF2B5EF4-FFF2-40B4-BE49-F238E27FC236}">
                <a16:creationId xmlns:a16="http://schemas.microsoft.com/office/drawing/2014/main" id="{106A73EE-6617-4D4C-ABB0-CBBBF256D23C}"/>
              </a:ext>
            </a:extLst>
          </p:cNvPr>
          <p:cNvSpPr/>
          <p:nvPr/>
        </p:nvSpPr>
        <p:spPr>
          <a:xfrm flipV="1">
            <a:off x="10093985" y="1795378"/>
            <a:ext cx="1259815" cy="1259815"/>
          </a:xfrm>
          <a:prstGeom prst="round2SameRect">
            <a:avLst>
              <a:gd name="adj1" fmla="val 50000"/>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B23A169-E05C-4AF3-B18D-7FBBBFF8C2FB}"/>
              </a:ext>
            </a:extLst>
          </p:cNvPr>
          <p:cNvSpPr/>
          <p:nvPr/>
        </p:nvSpPr>
        <p:spPr>
          <a:xfrm>
            <a:off x="1011745" y="1968923"/>
            <a:ext cx="912723" cy="9127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550F481D-83C6-41E6-80DA-94434DFB02A9}"/>
              </a:ext>
            </a:extLst>
          </p:cNvPr>
          <p:cNvSpPr/>
          <p:nvPr/>
        </p:nvSpPr>
        <p:spPr>
          <a:xfrm>
            <a:off x="4097007" y="1968923"/>
            <a:ext cx="912723" cy="9127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036A50FF-BE0C-413C-9C28-25976BE45733}"/>
              </a:ext>
            </a:extLst>
          </p:cNvPr>
          <p:cNvSpPr/>
          <p:nvPr/>
        </p:nvSpPr>
        <p:spPr>
          <a:xfrm>
            <a:off x="7182268" y="1968923"/>
            <a:ext cx="912723" cy="9127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1F83940A-CF7C-4D51-9D40-4924FF27B0F6}"/>
              </a:ext>
            </a:extLst>
          </p:cNvPr>
          <p:cNvSpPr/>
          <p:nvPr/>
        </p:nvSpPr>
        <p:spPr>
          <a:xfrm>
            <a:off x="10267532" y="1968923"/>
            <a:ext cx="912723" cy="9127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CD86AA4F-6A4D-4E86-897B-6F5DAF24053D}"/>
              </a:ext>
            </a:extLst>
          </p:cNvPr>
          <p:cNvSpPr/>
          <p:nvPr/>
        </p:nvSpPr>
        <p:spPr>
          <a:xfrm>
            <a:off x="7235316" y="4558468"/>
            <a:ext cx="912723" cy="9127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192F95E6-07A2-4AA2-BE3E-D85EFDBDC2BF}"/>
              </a:ext>
            </a:extLst>
          </p:cNvPr>
          <p:cNvSpPr/>
          <p:nvPr/>
        </p:nvSpPr>
        <p:spPr>
          <a:xfrm>
            <a:off x="4150056" y="4558468"/>
            <a:ext cx="912723" cy="9127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AC5924B7-28DD-4AC0-9F69-F37B70550714}"/>
              </a:ext>
            </a:extLst>
          </p:cNvPr>
          <p:cNvSpPr/>
          <p:nvPr/>
        </p:nvSpPr>
        <p:spPr>
          <a:xfrm>
            <a:off x="1064793" y="4558468"/>
            <a:ext cx="912723" cy="9127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3FF36E1B-877B-4361-9616-30287361A951}"/>
              </a:ext>
            </a:extLst>
          </p:cNvPr>
          <p:cNvSpPr txBox="1"/>
          <p:nvPr/>
        </p:nvSpPr>
        <p:spPr>
          <a:xfrm>
            <a:off x="777543" y="3127232"/>
            <a:ext cx="1381125" cy="492443"/>
          </a:xfrm>
          <a:prstGeom prst="rect">
            <a:avLst/>
          </a:prstGeom>
          <a:noFill/>
        </p:spPr>
        <p:txBody>
          <a:bodyPr wrap="square" lIns="0" tIns="0" rIns="0" bIns="0" rtlCol="0" anchor="t">
            <a:spAutoFit/>
          </a:bodyPr>
          <a:lstStyle/>
          <a:p>
            <a:pPr algn="ctr"/>
            <a:r>
              <a:rPr lang="en-US" sz="1600" b="1" dirty="0"/>
              <a:t>LOCAL COMMUNITY</a:t>
            </a:r>
          </a:p>
        </p:txBody>
      </p:sp>
      <p:sp>
        <p:nvSpPr>
          <p:cNvPr id="55" name="TextBox 54">
            <a:extLst>
              <a:ext uri="{FF2B5EF4-FFF2-40B4-BE49-F238E27FC236}">
                <a16:creationId xmlns:a16="http://schemas.microsoft.com/office/drawing/2014/main" id="{00AF9157-36D3-43AE-9E8E-29A436C19D41}"/>
              </a:ext>
            </a:extLst>
          </p:cNvPr>
          <p:cNvSpPr txBox="1"/>
          <p:nvPr/>
        </p:nvSpPr>
        <p:spPr>
          <a:xfrm>
            <a:off x="3862805" y="3127232"/>
            <a:ext cx="1381125" cy="246221"/>
          </a:xfrm>
          <a:prstGeom prst="rect">
            <a:avLst/>
          </a:prstGeom>
          <a:noFill/>
        </p:spPr>
        <p:txBody>
          <a:bodyPr wrap="square" lIns="0" tIns="0" rIns="0" bIns="0" rtlCol="0" anchor="t">
            <a:spAutoFit/>
          </a:bodyPr>
          <a:lstStyle/>
          <a:p>
            <a:pPr algn="ctr"/>
            <a:r>
              <a:rPr lang="en-US" sz="1600" b="1" dirty="0"/>
              <a:t>GENERAL PUBLIC</a:t>
            </a:r>
          </a:p>
        </p:txBody>
      </p:sp>
      <p:sp>
        <p:nvSpPr>
          <p:cNvPr id="56" name="TextBox 55">
            <a:extLst>
              <a:ext uri="{FF2B5EF4-FFF2-40B4-BE49-F238E27FC236}">
                <a16:creationId xmlns:a16="http://schemas.microsoft.com/office/drawing/2014/main" id="{6CDDBCC7-19FE-4CF9-9990-E521DA6329DD}"/>
              </a:ext>
            </a:extLst>
          </p:cNvPr>
          <p:cNvSpPr txBox="1"/>
          <p:nvPr/>
        </p:nvSpPr>
        <p:spPr>
          <a:xfrm>
            <a:off x="6948067" y="3127232"/>
            <a:ext cx="1381125" cy="246221"/>
          </a:xfrm>
          <a:prstGeom prst="rect">
            <a:avLst/>
          </a:prstGeom>
          <a:noFill/>
        </p:spPr>
        <p:txBody>
          <a:bodyPr wrap="square" lIns="0" tIns="0" rIns="0" bIns="0" rtlCol="0" anchor="t">
            <a:spAutoFit/>
          </a:bodyPr>
          <a:lstStyle/>
          <a:p>
            <a:pPr algn="ctr"/>
            <a:r>
              <a:rPr lang="en-US" sz="1600" b="1" dirty="0"/>
              <a:t>EMPLOYEES</a:t>
            </a:r>
          </a:p>
        </p:txBody>
      </p:sp>
      <p:sp>
        <p:nvSpPr>
          <p:cNvPr id="57" name="TextBox 56">
            <a:extLst>
              <a:ext uri="{FF2B5EF4-FFF2-40B4-BE49-F238E27FC236}">
                <a16:creationId xmlns:a16="http://schemas.microsoft.com/office/drawing/2014/main" id="{46E8BD41-EF1C-4A08-A62A-F9157E349872}"/>
              </a:ext>
            </a:extLst>
          </p:cNvPr>
          <p:cNvSpPr txBox="1"/>
          <p:nvPr/>
        </p:nvSpPr>
        <p:spPr>
          <a:xfrm>
            <a:off x="10033329" y="3127232"/>
            <a:ext cx="1381125" cy="246221"/>
          </a:xfrm>
          <a:prstGeom prst="rect">
            <a:avLst/>
          </a:prstGeom>
          <a:noFill/>
        </p:spPr>
        <p:txBody>
          <a:bodyPr wrap="square" lIns="0" tIns="0" rIns="0" bIns="0" rtlCol="0" anchor="t">
            <a:spAutoFit/>
          </a:bodyPr>
          <a:lstStyle/>
          <a:p>
            <a:pPr algn="ctr"/>
            <a:r>
              <a:rPr lang="en-US" sz="1600" b="1" dirty="0"/>
              <a:t>GOVERNMENT</a:t>
            </a:r>
          </a:p>
        </p:txBody>
      </p:sp>
      <p:sp>
        <p:nvSpPr>
          <p:cNvPr id="58" name="TextBox 57">
            <a:extLst>
              <a:ext uri="{FF2B5EF4-FFF2-40B4-BE49-F238E27FC236}">
                <a16:creationId xmlns:a16="http://schemas.microsoft.com/office/drawing/2014/main" id="{35CBBE3F-16D9-4D58-A173-649CFF019926}"/>
              </a:ext>
            </a:extLst>
          </p:cNvPr>
          <p:cNvSpPr txBox="1"/>
          <p:nvPr/>
        </p:nvSpPr>
        <p:spPr>
          <a:xfrm>
            <a:off x="830591" y="5727382"/>
            <a:ext cx="1381125" cy="246221"/>
          </a:xfrm>
          <a:prstGeom prst="rect">
            <a:avLst/>
          </a:prstGeom>
          <a:noFill/>
        </p:spPr>
        <p:txBody>
          <a:bodyPr wrap="square" lIns="0" tIns="0" rIns="0" bIns="0" rtlCol="0" anchor="t">
            <a:spAutoFit/>
          </a:bodyPr>
          <a:lstStyle/>
          <a:p>
            <a:pPr algn="ctr"/>
            <a:r>
              <a:rPr lang="en-US" sz="1600" b="1" dirty="0"/>
              <a:t>ENVIRONMENT</a:t>
            </a:r>
          </a:p>
        </p:txBody>
      </p:sp>
      <p:sp>
        <p:nvSpPr>
          <p:cNvPr id="59" name="TextBox 58">
            <a:extLst>
              <a:ext uri="{FF2B5EF4-FFF2-40B4-BE49-F238E27FC236}">
                <a16:creationId xmlns:a16="http://schemas.microsoft.com/office/drawing/2014/main" id="{0836C02A-6908-4759-9F61-ABC1CC1AE578}"/>
              </a:ext>
            </a:extLst>
          </p:cNvPr>
          <p:cNvSpPr txBox="1"/>
          <p:nvPr/>
        </p:nvSpPr>
        <p:spPr>
          <a:xfrm>
            <a:off x="3915855" y="5727382"/>
            <a:ext cx="1381125" cy="492443"/>
          </a:xfrm>
          <a:prstGeom prst="rect">
            <a:avLst/>
          </a:prstGeom>
          <a:noFill/>
        </p:spPr>
        <p:txBody>
          <a:bodyPr wrap="square" lIns="0" tIns="0" rIns="0" bIns="0" rtlCol="0" anchor="t">
            <a:spAutoFit/>
          </a:bodyPr>
          <a:lstStyle/>
          <a:p>
            <a:pPr algn="ctr"/>
            <a:r>
              <a:rPr lang="en-US" sz="1600" b="1" dirty="0"/>
              <a:t>SHAREHOLDERS OR INVESTORS</a:t>
            </a:r>
          </a:p>
        </p:txBody>
      </p:sp>
      <p:sp>
        <p:nvSpPr>
          <p:cNvPr id="60" name="TextBox 59">
            <a:extLst>
              <a:ext uri="{FF2B5EF4-FFF2-40B4-BE49-F238E27FC236}">
                <a16:creationId xmlns:a16="http://schemas.microsoft.com/office/drawing/2014/main" id="{5D54C8A5-0968-4FC7-BEDF-6272C07FAA63}"/>
              </a:ext>
            </a:extLst>
          </p:cNvPr>
          <p:cNvSpPr txBox="1"/>
          <p:nvPr/>
        </p:nvSpPr>
        <p:spPr>
          <a:xfrm>
            <a:off x="7001119" y="5727382"/>
            <a:ext cx="1381125" cy="492443"/>
          </a:xfrm>
          <a:prstGeom prst="rect">
            <a:avLst/>
          </a:prstGeom>
          <a:noFill/>
        </p:spPr>
        <p:txBody>
          <a:bodyPr wrap="square" lIns="0" tIns="0" rIns="0" bIns="0" rtlCol="0" anchor="t">
            <a:spAutoFit/>
          </a:bodyPr>
          <a:lstStyle/>
          <a:p>
            <a:pPr algn="ctr"/>
            <a:r>
              <a:rPr lang="en-US" sz="1600" b="1" dirty="0"/>
              <a:t>CONSUMERS OR CUSTOMERS</a:t>
            </a:r>
          </a:p>
        </p:txBody>
      </p:sp>
      <p:grpSp>
        <p:nvGrpSpPr>
          <p:cNvPr id="62" name="Group 61">
            <a:extLst>
              <a:ext uri="{FF2B5EF4-FFF2-40B4-BE49-F238E27FC236}">
                <a16:creationId xmlns:a16="http://schemas.microsoft.com/office/drawing/2014/main" id="{C2742C55-6CC7-4571-B2C8-8D87D6FA1774}"/>
              </a:ext>
            </a:extLst>
          </p:cNvPr>
          <p:cNvGrpSpPr/>
          <p:nvPr/>
        </p:nvGrpSpPr>
        <p:grpSpPr>
          <a:xfrm>
            <a:off x="1278859" y="2236038"/>
            <a:ext cx="378492" cy="378494"/>
            <a:chOff x="11606213" y="5354638"/>
            <a:chExt cx="280987" cy="280988"/>
          </a:xfrm>
          <a:solidFill>
            <a:schemeClr val="accent1">
              <a:lumMod val="90000"/>
            </a:schemeClr>
          </a:solidFill>
        </p:grpSpPr>
        <p:sp>
          <p:nvSpPr>
            <p:cNvPr id="63" name="Freeform 3448">
              <a:extLst>
                <a:ext uri="{FF2B5EF4-FFF2-40B4-BE49-F238E27FC236}">
                  <a16:creationId xmlns:a16="http://schemas.microsoft.com/office/drawing/2014/main" id="{4AC59BFF-2EE0-4F3A-8808-EEFDBD50F26B}"/>
                </a:ext>
              </a:extLst>
            </p:cNvPr>
            <p:cNvSpPr>
              <a:spLocks/>
            </p:cNvSpPr>
            <p:nvPr/>
          </p:nvSpPr>
          <p:spPr bwMode="auto">
            <a:xfrm>
              <a:off x="11606213" y="5392738"/>
              <a:ext cx="128587" cy="90488"/>
            </a:xfrm>
            <a:custGeom>
              <a:avLst/>
              <a:gdLst>
                <a:gd name="T0" fmla="*/ 325 w 325"/>
                <a:gd name="T1" fmla="*/ 206 h 230"/>
                <a:gd name="T2" fmla="*/ 324 w 325"/>
                <a:gd name="T3" fmla="*/ 197 h 230"/>
                <a:gd name="T4" fmla="*/ 321 w 325"/>
                <a:gd name="T5" fmla="*/ 189 h 230"/>
                <a:gd name="T6" fmla="*/ 319 w 325"/>
                <a:gd name="T7" fmla="*/ 181 h 230"/>
                <a:gd name="T8" fmla="*/ 315 w 325"/>
                <a:gd name="T9" fmla="*/ 173 h 230"/>
                <a:gd name="T10" fmla="*/ 310 w 325"/>
                <a:gd name="T11" fmla="*/ 167 h 230"/>
                <a:gd name="T12" fmla="*/ 303 w 325"/>
                <a:gd name="T13" fmla="*/ 162 h 230"/>
                <a:gd name="T14" fmla="*/ 297 w 325"/>
                <a:gd name="T15" fmla="*/ 158 h 230"/>
                <a:gd name="T16" fmla="*/ 289 w 325"/>
                <a:gd name="T17" fmla="*/ 154 h 230"/>
                <a:gd name="T18" fmla="*/ 216 w 325"/>
                <a:gd name="T19" fmla="*/ 136 h 230"/>
                <a:gd name="T20" fmla="*/ 216 w 325"/>
                <a:gd name="T21" fmla="*/ 112 h 230"/>
                <a:gd name="T22" fmla="*/ 226 w 325"/>
                <a:gd name="T23" fmla="*/ 104 h 230"/>
                <a:gd name="T24" fmla="*/ 236 w 325"/>
                <a:gd name="T25" fmla="*/ 95 h 230"/>
                <a:gd name="T26" fmla="*/ 244 w 325"/>
                <a:gd name="T27" fmla="*/ 85 h 230"/>
                <a:gd name="T28" fmla="*/ 252 w 325"/>
                <a:gd name="T29" fmla="*/ 73 h 230"/>
                <a:gd name="T30" fmla="*/ 258 w 325"/>
                <a:gd name="T31" fmla="*/ 60 h 230"/>
                <a:gd name="T32" fmla="*/ 262 w 325"/>
                <a:gd name="T33" fmla="*/ 48 h 230"/>
                <a:gd name="T34" fmla="*/ 265 w 325"/>
                <a:gd name="T35" fmla="*/ 33 h 230"/>
                <a:gd name="T36" fmla="*/ 266 w 325"/>
                <a:gd name="T37" fmla="*/ 19 h 230"/>
                <a:gd name="T38" fmla="*/ 254 w 325"/>
                <a:gd name="T39" fmla="*/ 22 h 230"/>
                <a:gd name="T40" fmla="*/ 243 w 325"/>
                <a:gd name="T41" fmla="*/ 22 h 230"/>
                <a:gd name="T42" fmla="*/ 234 w 325"/>
                <a:gd name="T43" fmla="*/ 22 h 230"/>
                <a:gd name="T44" fmla="*/ 225 w 325"/>
                <a:gd name="T45" fmla="*/ 21 h 230"/>
                <a:gd name="T46" fmla="*/ 209 w 325"/>
                <a:gd name="T47" fmla="*/ 18 h 230"/>
                <a:gd name="T48" fmla="*/ 197 w 325"/>
                <a:gd name="T49" fmla="*/ 13 h 230"/>
                <a:gd name="T50" fmla="*/ 186 w 325"/>
                <a:gd name="T51" fmla="*/ 8 h 230"/>
                <a:gd name="T52" fmla="*/ 177 w 325"/>
                <a:gd name="T53" fmla="*/ 0 h 230"/>
                <a:gd name="T54" fmla="*/ 171 w 325"/>
                <a:gd name="T55" fmla="*/ 4 h 230"/>
                <a:gd name="T56" fmla="*/ 163 w 325"/>
                <a:gd name="T57" fmla="*/ 6 h 230"/>
                <a:gd name="T58" fmla="*/ 157 w 325"/>
                <a:gd name="T59" fmla="*/ 10 h 230"/>
                <a:gd name="T60" fmla="*/ 149 w 325"/>
                <a:gd name="T61" fmla="*/ 12 h 230"/>
                <a:gd name="T62" fmla="*/ 134 w 325"/>
                <a:gd name="T63" fmla="*/ 14 h 230"/>
                <a:gd name="T64" fmla="*/ 117 w 325"/>
                <a:gd name="T65" fmla="*/ 15 h 230"/>
                <a:gd name="T66" fmla="*/ 102 w 325"/>
                <a:gd name="T67" fmla="*/ 15 h 230"/>
                <a:gd name="T68" fmla="*/ 87 w 325"/>
                <a:gd name="T69" fmla="*/ 13 h 230"/>
                <a:gd name="T70" fmla="*/ 73 w 325"/>
                <a:gd name="T71" fmla="*/ 9 h 230"/>
                <a:gd name="T72" fmla="*/ 62 w 325"/>
                <a:gd name="T73" fmla="*/ 4 h 230"/>
                <a:gd name="T74" fmla="*/ 60 w 325"/>
                <a:gd name="T75" fmla="*/ 10 h 230"/>
                <a:gd name="T76" fmla="*/ 60 w 325"/>
                <a:gd name="T77" fmla="*/ 17 h 230"/>
                <a:gd name="T78" fmla="*/ 62 w 325"/>
                <a:gd name="T79" fmla="*/ 31 h 230"/>
                <a:gd name="T80" fmla="*/ 64 w 325"/>
                <a:gd name="T81" fmla="*/ 45 h 230"/>
                <a:gd name="T82" fmla="*/ 68 w 325"/>
                <a:gd name="T83" fmla="*/ 58 h 230"/>
                <a:gd name="T84" fmla="*/ 73 w 325"/>
                <a:gd name="T85" fmla="*/ 71 h 230"/>
                <a:gd name="T86" fmla="*/ 81 w 325"/>
                <a:gd name="T87" fmla="*/ 82 h 230"/>
                <a:gd name="T88" fmla="*/ 89 w 325"/>
                <a:gd name="T89" fmla="*/ 93 h 230"/>
                <a:gd name="T90" fmla="*/ 98 w 325"/>
                <a:gd name="T91" fmla="*/ 102 h 230"/>
                <a:gd name="T92" fmla="*/ 108 w 325"/>
                <a:gd name="T93" fmla="*/ 109 h 230"/>
                <a:gd name="T94" fmla="*/ 108 w 325"/>
                <a:gd name="T95" fmla="*/ 136 h 230"/>
                <a:gd name="T96" fmla="*/ 37 w 325"/>
                <a:gd name="T97" fmla="*/ 155 h 230"/>
                <a:gd name="T98" fmla="*/ 30 w 325"/>
                <a:gd name="T99" fmla="*/ 158 h 230"/>
                <a:gd name="T100" fmla="*/ 23 w 325"/>
                <a:gd name="T101" fmla="*/ 162 h 230"/>
                <a:gd name="T102" fmla="*/ 17 w 325"/>
                <a:gd name="T103" fmla="*/ 167 h 230"/>
                <a:gd name="T104" fmla="*/ 10 w 325"/>
                <a:gd name="T105" fmla="*/ 173 h 230"/>
                <a:gd name="T106" fmla="*/ 7 w 325"/>
                <a:gd name="T107" fmla="*/ 181 h 230"/>
                <a:gd name="T108" fmla="*/ 3 w 325"/>
                <a:gd name="T109" fmla="*/ 189 h 230"/>
                <a:gd name="T110" fmla="*/ 0 w 325"/>
                <a:gd name="T111" fmla="*/ 197 h 230"/>
                <a:gd name="T112" fmla="*/ 0 w 325"/>
                <a:gd name="T113" fmla="*/ 206 h 230"/>
                <a:gd name="T114" fmla="*/ 0 w 325"/>
                <a:gd name="T115" fmla="*/ 230 h 230"/>
                <a:gd name="T116" fmla="*/ 325 w 325"/>
                <a:gd name="T117" fmla="*/ 230 h 230"/>
                <a:gd name="T118" fmla="*/ 325 w 325"/>
                <a:gd name="T119" fmla="*/ 20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325" y="206"/>
                  </a:moveTo>
                  <a:lnTo>
                    <a:pt x="324" y="197"/>
                  </a:lnTo>
                  <a:lnTo>
                    <a:pt x="321" y="189"/>
                  </a:lnTo>
                  <a:lnTo>
                    <a:pt x="319" y="181"/>
                  </a:lnTo>
                  <a:lnTo>
                    <a:pt x="315" y="173"/>
                  </a:lnTo>
                  <a:lnTo>
                    <a:pt x="310" y="167"/>
                  </a:lnTo>
                  <a:lnTo>
                    <a:pt x="303" y="162"/>
                  </a:lnTo>
                  <a:lnTo>
                    <a:pt x="297" y="158"/>
                  </a:lnTo>
                  <a:lnTo>
                    <a:pt x="289" y="154"/>
                  </a:lnTo>
                  <a:lnTo>
                    <a:pt x="216" y="136"/>
                  </a:lnTo>
                  <a:lnTo>
                    <a:pt x="216" y="112"/>
                  </a:lnTo>
                  <a:lnTo>
                    <a:pt x="226" y="104"/>
                  </a:lnTo>
                  <a:lnTo>
                    <a:pt x="236" y="95"/>
                  </a:lnTo>
                  <a:lnTo>
                    <a:pt x="244" y="85"/>
                  </a:lnTo>
                  <a:lnTo>
                    <a:pt x="252" y="73"/>
                  </a:lnTo>
                  <a:lnTo>
                    <a:pt x="258" y="60"/>
                  </a:lnTo>
                  <a:lnTo>
                    <a:pt x="262" y="48"/>
                  </a:lnTo>
                  <a:lnTo>
                    <a:pt x="265" y="33"/>
                  </a:lnTo>
                  <a:lnTo>
                    <a:pt x="266" y="19"/>
                  </a:lnTo>
                  <a:lnTo>
                    <a:pt x="254" y="22"/>
                  </a:lnTo>
                  <a:lnTo>
                    <a:pt x="243" y="22"/>
                  </a:lnTo>
                  <a:lnTo>
                    <a:pt x="234" y="22"/>
                  </a:lnTo>
                  <a:lnTo>
                    <a:pt x="225" y="21"/>
                  </a:lnTo>
                  <a:lnTo>
                    <a:pt x="209" y="18"/>
                  </a:lnTo>
                  <a:lnTo>
                    <a:pt x="197" y="13"/>
                  </a:lnTo>
                  <a:lnTo>
                    <a:pt x="186" y="8"/>
                  </a:lnTo>
                  <a:lnTo>
                    <a:pt x="177" y="0"/>
                  </a:lnTo>
                  <a:lnTo>
                    <a:pt x="171" y="4"/>
                  </a:lnTo>
                  <a:lnTo>
                    <a:pt x="163" y="6"/>
                  </a:lnTo>
                  <a:lnTo>
                    <a:pt x="157" y="10"/>
                  </a:lnTo>
                  <a:lnTo>
                    <a:pt x="149" y="12"/>
                  </a:lnTo>
                  <a:lnTo>
                    <a:pt x="134" y="14"/>
                  </a:lnTo>
                  <a:lnTo>
                    <a:pt x="117" y="15"/>
                  </a:lnTo>
                  <a:lnTo>
                    <a:pt x="102" y="15"/>
                  </a:lnTo>
                  <a:lnTo>
                    <a:pt x="87" y="13"/>
                  </a:lnTo>
                  <a:lnTo>
                    <a:pt x="73" y="9"/>
                  </a:lnTo>
                  <a:lnTo>
                    <a:pt x="62" y="4"/>
                  </a:lnTo>
                  <a:lnTo>
                    <a:pt x="60" y="10"/>
                  </a:lnTo>
                  <a:lnTo>
                    <a:pt x="60" y="17"/>
                  </a:lnTo>
                  <a:lnTo>
                    <a:pt x="62" y="31"/>
                  </a:lnTo>
                  <a:lnTo>
                    <a:pt x="64" y="45"/>
                  </a:lnTo>
                  <a:lnTo>
                    <a:pt x="68" y="58"/>
                  </a:lnTo>
                  <a:lnTo>
                    <a:pt x="73" y="71"/>
                  </a:lnTo>
                  <a:lnTo>
                    <a:pt x="81" y="82"/>
                  </a:lnTo>
                  <a:lnTo>
                    <a:pt x="89" y="93"/>
                  </a:lnTo>
                  <a:lnTo>
                    <a:pt x="98" y="102"/>
                  </a:lnTo>
                  <a:lnTo>
                    <a:pt x="108" y="109"/>
                  </a:lnTo>
                  <a:lnTo>
                    <a:pt x="108" y="136"/>
                  </a:lnTo>
                  <a:lnTo>
                    <a:pt x="37" y="155"/>
                  </a:lnTo>
                  <a:lnTo>
                    <a:pt x="30" y="158"/>
                  </a:lnTo>
                  <a:lnTo>
                    <a:pt x="23" y="162"/>
                  </a:lnTo>
                  <a:lnTo>
                    <a:pt x="17" y="167"/>
                  </a:lnTo>
                  <a:lnTo>
                    <a:pt x="10" y="173"/>
                  </a:lnTo>
                  <a:lnTo>
                    <a:pt x="7" y="181"/>
                  </a:lnTo>
                  <a:lnTo>
                    <a:pt x="3" y="189"/>
                  </a:lnTo>
                  <a:lnTo>
                    <a:pt x="0" y="197"/>
                  </a:lnTo>
                  <a:lnTo>
                    <a:pt x="0" y="206"/>
                  </a:lnTo>
                  <a:lnTo>
                    <a:pt x="0" y="230"/>
                  </a:lnTo>
                  <a:lnTo>
                    <a:pt x="325" y="230"/>
                  </a:lnTo>
                  <a:lnTo>
                    <a:pt x="325"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3449">
              <a:extLst>
                <a:ext uri="{FF2B5EF4-FFF2-40B4-BE49-F238E27FC236}">
                  <a16:creationId xmlns:a16="http://schemas.microsoft.com/office/drawing/2014/main" id="{3EB4F45F-B1C1-410B-9E73-8B30D650FA59}"/>
                </a:ext>
              </a:extLst>
            </p:cNvPr>
            <p:cNvSpPr>
              <a:spLocks/>
            </p:cNvSpPr>
            <p:nvPr/>
          </p:nvSpPr>
          <p:spPr bwMode="auto">
            <a:xfrm>
              <a:off x="11631613" y="5354638"/>
              <a:ext cx="79375" cy="36513"/>
            </a:xfrm>
            <a:custGeom>
              <a:avLst/>
              <a:gdLst>
                <a:gd name="T0" fmla="*/ 104 w 199"/>
                <a:gd name="T1" fmla="*/ 69 h 92"/>
                <a:gd name="T2" fmla="*/ 109 w 199"/>
                <a:gd name="T3" fmla="*/ 67 h 92"/>
                <a:gd name="T4" fmla="*/ 114 w 199"/>
                <a:gd name="T5" fmla="*/ 66 h 92"/>
                <a:gd name="T6" fmla="*/ 116 w 199"/>
                <a:gd name="T7" fmla="*/ 67 h 92"/>
                <a:gd name="T8" fmla="*/ 119 w 199"/>
                <a:gd name="T9" fmla="*/ 68 h 92"/>
                <a:gd name="T10" fmla="*/ 122 w 199"/>
                <a:gd name="T11" fmla="*/ 69 h 92"/>
                <a:gd name="T12" fmla="*/ 123 w 199"/>
                <a:gd name="T13" fmla="*/ 72 h 92"/>
                <a:gd name="T14" fmla="*/ 125 w 199"/>
                <a:gd name="T15" fmla="*/ 76 h 92"/>
                <a:gd name="T16" fmla="*/ 129 w 199"/>
                <a:gd name="T17" fmla="*/ 78 h 92"/>
                <a:gd name="T18" fmla="*/ 133 w 199"/>
                <a:gd name="T19" fmla="*/ 82 h 92"/>
                <a:gd name="T20" fmla="*/ 137 w 199"/>
                <a:gd name="T21" fmla="*/ 85 h 92"/>
                <a:gd name="T22" fmla="*/ 149 w 199"/>
                <a:gd name="T23" fmla="*/ 89 h 92"/>
                <a:gd name="T24" fmla="*/ 161 w 199"/>
                <a:gd name="T25" fmla="*/ 92 h 92"/>
                <a:gd name="T26" fmla="*/ 173 w 199"/>
                <a:gd name="T27" fmla="*/ 92 h 92"/>
                <a:gd name="T28" fmla="*/ 183 w 199"/>
                <a:gd name="T29" fmla="*/ 92 h 92"/>
                <a:gd name="T30" fmla="*/ 192 w 199"/>
                <a:gd name="T31" fmla="*/ 91 h 92"/>
                <a:gd name="T32" fmla="*/ 199 w 199"/>
                <a:gd name="T33" fmla="*/ 90 h 92"/>
                <a:gd name="T34" fmla="*/ 196 w 199"/>
                <a:gd name="T35" fmla="*/ 80 h 92"/>
                <a:gd name="T36" fmla="*/ 194 w 199"/>
                <a:gd name="T37" fmla="*/ 71 h 92"/>
                <a:gd name="T38" fmla="*/ 190 w 199"/>
                <a:gd name="T39" fmla="*/ 63 h 92"/>
                <a:gd name="T40" fmla="*/ 186 w 199"/>
                <a:gd name="T41" fmla="*/ 54 h 92"/>
                <a:gd name="T42" fmla="*/ 181 w 199"/>
                <a:gd name="T43" fmla="*/ 46 h 92"/>
                <a:gd name="T44" fmla="*/ 176 w 199"/>
                <a:gd name="T45" fmla="*/ 39 h 92"/>
                <a:gd name="T46" fmla="*/ 169 w 199"/>
                <a:gd name="T47" fmla="*/ 32 h 92"/>
                <a:gd name="T48" fmla="*/ 163 w 199"/>
                <a:gd name="T49" fmla="*/ 26 h 92"/>
                <a:gd name="T50" fmla="*/ 156 w 199"/>
                <a:gd name="T51" fmla="*/ 21 h 92"/>
                <a:gd name="T52" fmla="*/ 149 w 199"/>
                <a:gd name="T53" fmla="*/ 15 h 92"/>
                <a:gd name="T54" fmla="*/ 141 w 199"/>
                <a:gd name="T55" fmla="*/ 10 h 92"/>
                <a:gd name="T56" fmla="*/ 133 w 199"/>
                <a:gd name="T57" fmla="*/ 6 h 92"/>
                <a:gd name="T58" fmla="*/ 124 w 199"/>
                <a:gd name="T59" fmla="*/ 4 h 92"/>
                <a:gd name="T60" fmla="*/ 115 w 199"/>
                <a:gd name="T61" fmla="*/ 1 h 92"/>
                <a:gd name="T62" fmla="*/ 106 w 199"/>
                <a:gd name="T63" fmla="*/ 0 h 92"/>
                <a:gd name="T64" fmla="*/ 97 w 199"/>
                <a:gd name="T65" fmla="*/ 0 h 92"/>
                <a:gd name="T66" fmla="*/ 89 w 199"/>
                <a:gd name="T67" fmla="*/ 0 h 92"/>
                <a:gd name="T68" fmla="*/ 81 w 199"/>
                <a:gd name="T69" fmla="*/ 1 h 92"/>
                <a:gd name="T70" fmla="*/ 73 w 199"/>
                <a:gd name="T71" fmla="*/ 4 h 92"/>
                <a:gd name="T72" fmla="*/ 65 w 199"/>
                <a:gd name="T73" fmla="*/ 5 h 92"/>
                <a:gd name="T74" fmla="*/ 57 w 199"/>
                <a:gd name="T75" fmla="*/ 9 h 92"/>
                <a:gd name="T76" fmla="*/ 51 w 199"/>
                <a:gd name="T77" fmla="*/ 13 h 92"/>
                <a:gd name="T78" fmla="*/ 43 w 199"/>
                <a:gd name="T79" fmla="*/ 17 h 92"/>
                <a:gd name="T80" fmla="*/ 37 w 199"/>
                <a:gd name="T81" fmla="*/ 22 h 92"/>
                <a:gd name="T82" fmla="*/ 25 w 199"/>
                <a:gd name="T83" fmla="*/ 32 h 92"/>
                <a:gd name="T84" fmla="*/ 15 w 199"/>
                <a:gd name="T85" fmla="*/ 45 h 92"/>
                <a:gd name="T86" fmla="*/ 6 w 199"/>
                <a:gd name="T87" fmla="*/ 60 h 92"/>
                <a:gd name="T88" fmla="*/ 0 w 199"/>
                <a:gd name="T89" fmla="*/ 76 h 92"/>
                <a:gd name="T90" fmla="*/ 1 w 199"/>
                <a:gd name="T91" fmla="*/ 75 h 92"/>
                <a:gd name="T92" fmla="*/ 10 w 199"/>
                <a:gd name="T93" fmla="*/ 80 h 92"/>
                <a:gd name="T94" fmla="*/ 21 w 199"/>
                <a:gd name="T95" fmla="*/ 84 h 92"/>
                <a:gd name="T96" fmla="*/ 36 w 199"/>
                <a:gd name="T97" fmla="*/ 86 h 92"/>
                <a:gd name="T98" fmla="*/ 50 w 199"/>
                <a:gd name="T99" fmla="*/ 87 h 92"/>
                <a:gd name="T100" fmla="*/ 65 w 199"/>
                <a:gd name="T101" fmla="*/ 86 h 92"/>
                <a:gd name="T102" fmla="*/ 79 w 199"/>
                <a:gd name="T103" fmla="*/ 84 h 92"/>
                <a:gd name="T104" fmla="*/ 87 w 199"/>
                <a:gd name="T105" fmla="*/ 81 h 92"/>
                <a:gd name="T106" fmla="*/ 93 w 199"/>
                <a:gd name="T107" fmla="*/ 77 h 92"/>
                <a:gd name="T108" fmla="*/ 98 w 199"/>
                <a:gd name="T109" fmla="*/ 75 h 92"/>
                <a:gd name="T110" fmla="*/ 104 w 199"/>
                <a:gd name="T111" fmla="*/ 6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9" h="92">
                  <a:moveTo>
                    <a:pt x="104" y="69"/>
                  </a:moveTo>
                  <a:lnTo>
                    <a:pt x="109" y="67"/>
                  </a:lnTo>
                  <a:lnTo>
                    <a:pt x="114" y="66"/>
                  </a:lnTo>
                  <a:lnTo>
                    <a:pt x="116" y="67"/>
                  </a:lnTo>
                  <a:lnTo>
                    <a:pt x="119" y="68"/>
                  </a:lnTo>
                  <a:lnTo>
                    <a:pt x="122" y="69"/>
                  </a:lnTo>
                  <a:lnTo>
                    <a:pt x="123" y="72"/>
                  </a:lnTo>
                  <a:lnTo>
                    <a:pt x="125" y="76"/>
                  </a:lnTo>
                  <a:lnTo>
                    <a:pt x="129" y="78"/>
                  </a:lnTo>
                  <a:lnTo>
                    <a:pt x="133" y="82"/>
                  </a:lnTo>
                  <a:lnTo>
                    <a:pt x="137" y="85"/>
                  </a:lnTo>
                  <a:lnTo>
                    <a:pt x="149" y="89"/>
                  </a:lnTo>
                  <a:lnTo>
                    <a:pt x="161" y="92"/>
                  </a:lnTo>
                  <a:lnTo>
                    <a:pt x="173" y="92"/>
                  </a:lnTo>
                  <a:lnTo>
                    <a:pt x="183" y="92"/>
                  </a:lnTo>
                  <a:lnTo>
                    <a:pt x="192" y="91"/>
                  </a:lnTo>
                  <a:lnTo>
                    <a:pt x="199" y="90"/>
                  </a:lnTo>
                  <a:lnTo>
                    <a:pt x="196" y="80"/>
                  </a:lnTo>
                  <a:lnTo>
                    <a:pt x="194" y="71"/>
                  </a:lnTo>
                  <a:lnTo>
                    <a:pt x="190" y="63"/>
                  </a:lnTo>
                  <a:lnTo>
                    <a:pt x="186" y="54"/>
                  </a:lnTo>
                  <a:lnTo>
                    <a:pt x="181" y="46"/>
                  </a:lnTo>
                  <a:lnTo>
                    <a:pt x="176" y="39"/>
                  </a:lnTo>
                  <a:lnTo>
                    <a:pt x="169" y="32"/>
                  </a:lnTo>
                  <a:lnTo>
                    <a:pt x="163" y="26"/>
                  </a:lnTo>
                  <a:lnTo>
                    <a:pt x="156" y="21"/>
                  </a:lnTo>
                  <a:lnTo>
                    <a:pt x="149" y="15"/>
                  </a:lnTo>
                  <a:lnTo>
                    <a:pt x="141" y="10"/>
                  </a:lnTo>
                  <a:lnTo>
                    <a:pt x="133" y="6"/>
                  </a:lnTo>
                  <a:lnTo>
                    <a:pt x="124" y="4"/>
                  </a:lnTo>
                  <a:lnTo>
                    <a:pt x="115" y="1"/>
                  </a:lnTo>
                  <a:lnTo>
                    <a:pt x="106" y="0"/>
                  </a:lnTo>
                  <a:lnTo>
                    <a:pt x="97" y="0"/>
                  </a:lnTo>
                  <a:lnTo>
                    <a:pt x="89" y="0"/>
                  </a:lnTo>
                  <a:lnTo>
                    <a:pt x="81" y="1"/>
                  </a:lnTo>
                  <a:lnTo>
                    <a:pt x="73" y="4"/>
                  </a:lnTo>
                  <a:lnTo>
                    <a:pt x="65" y="5"/>
                  </a:lnTo>
                  <a:lnTo>
                    <a:pt x="57" y="9"/>
                  </a:lnTo>
                  <a:lnTo>
                    <a:pt x="51" y="13"/>
                  </a:lnTo>
                  <a:lnTo>
                    <a:pt x="43" y="17"/>
                  </a:lnTo>
                  <a:lnTo>
                    <a:pt x="37" y="22"/>
                  </a:lnTo>
                  <a:lnTo>
                    <a:pt x="25" y="32"/>
                  </a:lnTo>
                  <a:lnTo>
                    <a:pt x="15" y="45"/>
                  </a:lnTo>
                  <a:lnTo>
                    <a:pt x="6" y="60"/>
                  </a:lnTo>
                  <a:lnTo>
                    <a:pt x="0" y="76"/>
                  </a:lnTo>
                  <a:lnTo>
                    <a:pt x="1" y="75"/>
                  </a:lnTo>
                  <a:lnTo>
                    <a:pt x="10" y="80"/>
                  </a:lnTo>
                  <a:lnTo>
                    <a:pt x="21" y="84"/>
                  </a:lnTo>
                  <a:lnTo>
                    <a:pt x="36" y="86"/>
                  </a:lnTo>
                  <a:lnTo>
                    <a:pt x="50" y="87"/>
                  </a:lnTo>
                  <a:lnTo>
                    <a:pt x="65" y="86"/>
                  </a:lnTo>
                  <a:lnTo>
                    <a:pt x="79" y="84"/>
                  </a:lnTo>
                  <a:lnTo>
                    <a:pt x="87" y="81"/>
                  </a:lnTo>
                  <a:lnTo>
                    <a:pt x="93" y="77"/>
                  </a:lnTo>
                  <a:lnTo>
                    <a:pt x="98" y="75"/>
                  </a:lnTo>
                  <a:lnTo>
                    <a:pt x="10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450">
              <a:extLst>
                <a:ext uri="{FF2B5EF4-FFF2-40B4-BE49-F238E27FC236}">
                  <a16:creationId xmlns:a16="http://schemas.microsoft.com/office/drawing/2014/main" id="{9C04983C-A526-4070-8F51-EDCA76C6B287}"/>
                </a:ext>
              </a:extLst>
            </p:cNvPr>
            <p:cNvSpPr>
              <a:spLocks/>
            </p:cNvSpPr>
            <p:nvPr/>
          </p:nvSpPr>
          <p:spPr bwMode="auto">
            <a:xfrm>
              <a:off x="11758613" y="5392738"/>
              <a:ext cx="128587" cy="90488"/>
            </a:xfrm>
            <a:custGeom>
              <a:avLst/>
              <a:gdLst>
                <a:gd name="T0" fmla="*/ 289 w 325"/>
                <a:gd name="T1" fmla="*/ 154 h 230"/>
                <a:gd name="T2" fmla="*/ 217 w 325"/>
                <a:gd name="T3" fmla="*/ 136 h 230"/>
                <a:gd name="T4" fmla="*/ 217 w 325"/>
                <a:gd name="T5" fmla="*/ 112 h 230"/>
                <a:gd name="T6" fmla="*/ 227 w 325"/>
                <a:gd name="T7" fmla="*/ 104 h 230"/>
                <a:gd name="T8" fmla="*/ 236 w 325"/>
                <a:gd name="T9" fmla="*/ 95 h 230"/>
                <a:gd name="T10" fmla="*/ 245 w 325"/>
                <a:gd name="T11" fmla="*/ 85 h 230"/>
                <a:gd name="T12" fmla="*/ 252 w 325"/>
                <a:gd name="T13" fmla="*/ 73 h 230"/>
                <a:gd name="T14" fmla="*/ 258 w 325"/>
                <a:gd name="T15" fmla="*/ 60 h 230"/>
                <a:gd name="T16" fmla="*/ 263 w 325"/>
                <a:gd name="T17" fmla="*/ 48 h 230"/>
                <a:gd name="T18" fmla="*/ 266 w 325"/>
                <a:gd name="T19" fmla="*/ 33 h 230"/>
                <a:gd name="T20" fmla="*/ 267 w 325"/>
                <a:gd name="T21" fmla="*/ 19 h 230"/>
                <a:gd name="T22" fmla="*/ 256 w 325"/>
                <a:gd name="T23" fmla="*/ 22 h 230"/>
                <a:gd name="T24" fmla="*/ 243 w 325"/>
                <a:gd name="T25" fmla="*/ 22 h 230"/>
                <a:gd name="T26" fmla="*/ 234 w 325"/>
                <a:gd name="T27" fmla="*/ 22 h 230"/>
                <a:gd name="T28" fmla="*/ 225 w 325"/>
                <a:gd name="T29" fmla="*/ 21 h 230"/>
                <a:gd name="T30" fmla="*/ 211 w 325"/>
                <a:gd name="T31" fmla="*/ 18 h 230"/>
                <a:gd name="T32" fmla="*/ 198 w 325"/>
                <a:gd name="T33" fmla="*/ 13 h 230"/>
                <a:gd name="T34" fmla="*/ 186 w 325"/>
                <a:gd name="T35" fmla="*/ 8 h 230"/>
                <a:gd name="T36" fmla="*/ 177 w 325"/>
                <a:gd name="T37" fmla="*/ 0 h 230"/>
                <a:gd name="T38" fmla="*/ 171 w 325"/>
                <a:gd name="T39" fmla="*/ 4 h 230"/>
                <a:gd name="T40" fmla="*/ 164 w 325"/>
                <a:gd name="T41" fmla="*/ 6 h 230"/>
                <a:gd name="T42" fmla="*/ 157 w 325"/>
                <a:gd name="T43" fmla="*/ 10 h 230"/>
                <a:gd name="T44" fmla="*/ 149 w 325"/>
                <a:gd name="T45" fmla="*/ 12 h 230"/>
                <a:gd name="T46" fmla="*/ 134 w 325"/>
                <a:gd name="T47" fmla="*/ 14 h 230"/>
                <a:gd name="T48" fmla="*/ 118 w 325"/>
                <a:gd name="T49" fmla="*/ 15 h 230"/>
                <a:gd name="T50" fmla="*/ 103 w 325"/>
                <a:gd name="T51" fmla="*/ 15 h 230"/>
                <a:gd name="T52" fmla="*/ 87 w 325"/>
                <a:gd name="T53" fmla="*/ 13 h 230"/>
                <a:gd name="T54" fmla="*/ 73 w 325"/>
                <a:gd name="T55" fmla="*/ 9 h 230"/>
                <a:gd name="T56" fmla="*/ 62 w 325"/>
                <a:gd name="T57" fmla="*/ 4 h 230"/>
                <a:gd name="T58" fmla="*/ 62 w 325"/>
                <a:gd name="T59" fmla="*/ 10 h 230"/>
                <a:gd name="T60" fmla="*/ 60 w 325"/>
                <a:gd name="T61" fmla="*/ 17 h 230"/>
                <a:gd name="T62" fmla="*/ 62 w 325"/>
                <a:gd name="T63" fmla="*/ 31 h 230"/>
                <a:gd name="T64" fmla="*/ 64 w 325"/>
                <a:gd name="T65" fmla="*/ 45 h 230"/>
                <a:gd name="T66" fmla="*/ 68 w 325"/>
                <a:gd name="T67" fmla="*/ 58 h 230"/>
                <a:gd name="T68" fmla="*/ 75 w 325"/>
                <a:gd name="T69" fmla="*/ 71 h 230"/>
                <a:gd name="T70" fmla="*/ 81 w 325"/>
                <a:gd name="T71" fmla="*/ 82 h 230"/>
                <a:gd name="T72" fmla="*/ 89 w 325"/>
                <a:gd name="T73" fmla="*/ 93 h 230"/>
                <a:gd name="T74" fmla="*/ 99 w 325"/>
                <a:gd name="T75" fmla="*/ 102 h 230"/>
                <a:gd name="T76" fmla="*/ 109 w 325"/>
                <a:gd name="T77" fmla="*/ 109 h 230"/>
                <a:gd name="T78" fmla="*/ 109 w 325"/>
                <a:gd name="T79" fmla="*/ 136 h 230"/>
                <a:gd name="T80" fmla="*/ 39 w 325"/>
                <a:gd name="T81" fmla="*/ 155 h 230"/>
                <a:gd name="T82" fmla="*/ 31 w 325"/>
                <a:gd name="T83" fmla="*/ 158 h 230"/>
                <a:gd name="T84" fmla="*/ 23 w 325"/>
                <a:gd name="T85" fmla="*/ 162 h 230"/>
                <a:gd name="T86" fmla="*/ 17 w 325"/>
                <a:gd name="T87" fmla="*/ 167 h 230"/>
                <a:gd name="T88" fmla="*/ 12 w 325"/>
                <a:gd name="T89" fmla="*/ 173 h 230"/>
                <a:gd name="T90" fmla="*/ 7 w 325"/>
                <a:gd name="T91" fmla="*/ 181 h 230"/>
                <a:gd name="T92" fmla="*/ 4 w 325"/>
                <a:gd name="T93" fmla="*/ 189 h 230"/>
                <a:gd name="T94" fmla="*/ 1 w 325"/>
                <a:gd name="T95" fmla="*/ 197 h 230"/>
                <a:gd name="T96" fmla="*/ 0 w 325"/>
                <a:gd name="T97" fmla="*/ 206 h 230"/>
                <a:gd name="T98" fmla="*/ 0 w 325"/>
                <a:gd name="T99" fmla="*/ 230 h 230"/>
                <a:gd name="T100" fmla="*/ 325 w 325"/>
                <a:gd name="T101" fmla="*/ 230 h 230"/>
                <a:gd name="T102" fmla="*/ 325 w 325"/>
                <a:gd name="T103" fmla="*/ 206 h 230"/>
                <a:gd name="T104" fmla="*/ 324 w 325"/>
                <a:gd name="T105" fmla="*/ 197 h 230"/>
                <a:gd name="T106" fmla="*/ 322 w 325"/>
                <a:gd name="T107" fmla="*/ 189 h 230"/>
                <a:gd name="T108" fmla="*/ 319 w 325"/>
                <a:gd name="T109" fmla="*/ 181 h 230"/>
                <a:gd name="T110" fmla="*/ 315 w 325"/>
                <a:gd name="T111" fmla="*/ 173 h 230"/>
                <a:gd name="T112" fmla="*/ 310 w 325"/>
                <a:gd name="T113" fmla="*/ 167 h 230"/>
                <a:gd name="T114" fmla="*/ 303 w 325"/>
                <a:gd name="T115" fmla="*/ 162 h 230"/>
                <a:gd name="T116" fmla="*/ 297 w 325"/>
                <a:gd name="T117" fmla="*/ 158 h 230"/>
                <a:gd name="T118" fmla="*/ 289 w 325"/>
                <a:gd name="T119" fmla="*/ 15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289" y="154"/>
                  </a:moveTo>
                  <a:lnTo>
                    <a:pt x="217" y="136"/>
                  </a:lnTo>
                  <a:lnTo>
                    <a:pt x="217" y="112"/>
                  </a:lnTo>
                  <a:lnTo>
                    <a:pt x="227" y="104"/>
                  </a:lnTo>
                  <a:lnTo>
                    <a:pt x="236" y="95"/>
                  </a:lnTo>
                  <a:lnTo>
                    <a:pt x="245" y="85"/>
                  </a:lnTo>
                  <a:lnTo>
                    <a:pt x="252" y="73"/>
                  </a:lnTo>
                  <a:lnTo>
                    <a:pt x="258" y="60"/>
                  </a:lnTo>
                  <a:lnTo>
                    <a:pt x="263" y="48"/>
                  </a:lnTo>
                  <a:lnTo>
                    <a:pt x="266" y="33"/>
                  </a:lnTo>
                  <a:lnTo>
                    <a:pt x="267" y="19"/>
                  </a:lnTo>
                  <a:lnTo>
                    <a:pt x="256" y="22"/>
                  </a:lnTo>
                  <a:lnTo>
                    <a:pt x="243" y="22"/>
                  </a:lnTo>
                  <a:lnTo>
                    <a:pt x="234" y="22"/>
                  </a:lnTo>
                  <a:lnTo>
                    <a:pt x="225" y="21"/>
                  </a:lnTo>
                  <a:lnTo>
                    <a:pt x="211" y="18"/>
                  </a:lnTo>
                  <a:lnTo>
                    <a:pt x="198" y="13"/>
                  </a:lnTo>
                  <a:lnTo>
                    <a:pt x="186" y="8"/>
                  </a:lnTo>
                  <a:lnTo>
                    <a:pt x="177" y="0"/>
                  </a:lnTo>
                  <a:lnTo>
                    <a:pt x="171" y="4"/>
                  </a:lnTo>
                  <a:lnTo>
                    <a:pt x="164" y="6"/>
                  </a:lnTo>
                  <a:lnTo>
                    <a:pt x="157" y="10"/>
                  </a:lnTo>
                  <a:lnTo>
                    <a:pt x="149" y="12"/>
                  </a:lnTo>
                  <a:lnTo>
                    <a:pt x="134" y="14"/>
                  </a:lnTo>
                  <a:lnTo>
                    <a:pt x="118" y="15"/>
                  </a:lnTo>
                  <a:lnTo>
                    <a:pt x="103" y="15"/>
                  </a:lnTo>
                  <a:lnTo>
                    <a:pt x="87" y="13"/>
                  </a:lnTo>
                  <a:lnTo>
                    <a:pt x="73" y="9"/>
                  </a:lnTo>
                  <a:lnTo>
                    <a:pt x="62" y="4"/>
                  </a:lnTo>
                  <a:lnTo>
                    <a:pt x="62" y="10"/>
                  </a:lnTo>
                  <a:lnTo>
                    <a:pt x="60" y="17"/>
                  </a:lnTo>
                  <a:lnTo>
                    <a:pt x="62" y="31"/>
                  </a:lnTo>
                  <a:lnTo>
                    <a:pt x="64" y="45"/>
                  </a:lnTo>
                  <a:lnTo>
                    <a:pt x="68" y="58"/>
                  </a:lnTo>
                  <a:lnTo>
                    <a:pt x="75" y="71"/>
                  </a:lnTo>
                  <a:lnTo>
                    <a:pt x="81" y="82"/>
                  </a:lnTo>
                  <a:lnTo>
                    <a:pt x="89" y="93"/>
                  </a:lnTo>
                  <a:lnTo>
                    <a:pt x="99" y="102"/>
                  </a:lnTo>
                  <a:lnTo>
                    <a:pt x="109" y="109"/>
                  </a:lnTo>
                  <a:lnTo>
                    <a:pt x="109" y="136"/>
                  </a:lnTo>
                  <a:lnTo>
                    <a:pt x="39" y="155"/>
                  </a:lnTo>
                  <a:lnTo>
                    <a:pt x="31" y="158"/>
                  </a:lnTo>
                  <a:lnTo>
                    <a:pt x="23" y="162"/>
                  </a:lnTo>
                  <a:lnTo>
                    <a:pt x="17" y="167"/>
                  </a:lnTo>
                  <a:lnTo>
                    <a:pt x="12" y="173"/>
                  </a:lnTo>
                  <a:lnTo>
                    <a:pt x="7" y="181"/>
                  </a:lnTo>
                  <a:lnTo>
                    <a:pt x="4" y="189"/>
                  </a:lnTo>
                  <a:lnTo>
                    <a:pt x="1" y="197"/>
                  </a:lnTo>
                  <a:lnTo>
                    <a:pt x="0" y="206"/>
                  </a:lnTo>
                  <a:lnTo>
                    <a:pt x="0" y="230"/>
                  </a:lnTo>
                  <a:lnTo>
                    <a:pt x="325" y="230"/>
                  </a:lnTo>
                  <a:lnTo>
                    <a:pt x="325" y="206"/>
                  </a:lnTo>
                  <a:lnTo>
                    <a:pt x="324" y="197"/>
                  </a:lnTo>
                  <a:lnTo>
                    <a:pt x="322" y="189"/>
                  </a:lnTo>
                  <a:lnTo>
                    <a:pt x="319" y="181"/>
                  </a:lnTo>
                  <a:lnTo>
                    <a:pt x="315" y="173"/>
                  </a:lnTo>
                  <a:lnTo>
                    <a:pt x="310" y="167"/>
                  </a:lnTo>
                  <a:lnTo>
                    <a:pt x="303" y="162"/>
                  </a:lnTo>
                  <a:lnTo>
                    <a:pt x="297" y="158"/>
                  </a:lnTo>
                  <a:lnTo>
                    <a:pt x="289"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451">
              <a:extLst>
                <a:ext uri="{FF2B5EF4-FFF2-40B4-BE49-F238E27FC236}">
                  <a16:creationId xmlns:a16="http://schemas.microsoft.com/office/drawing/2014/main" id="{C566BBBE-4056-47C1-A30C-F1744040F7BF}"/>
                </a:ext>
              </a:extLst>
            </p:cNvPr>
            <p:cNvSpPr>
              <a:spLocks/>
            </p:cNvSpPr>
            <p:nvPr/>
          </p:nvSpPr>
          <p:spPr bwMode="auto">
            <a:xfrm>
              <a:off x="11784013" y="5354638"/>
              <a:ext cx="79375" cy="36513"/>
            </a:xfrm>
            <a:custGeom>
              <a:avLst/>
              <a:gdLst>
                <a:gd name="T0" fmla="*/ 104 w 198"/>
                <a:gd name="T1" fmla="*/ 69 h 92"/>
                <a:gd name="T2" fmla="*/ 109 w 198"/>
                <a:gd name="T3" fmla="*/ 67 h 92"/>
                <a:gd name="T4" fmla="*/ 114 w 198"/>
                <a:gd name="T5" fmla="*/ 66 h 92"/>
                <a:gd name="T6" fmla="*/ 117 w 198"/>
                <a:gd name="T7" fmla="*/ 67 h 92"/>
                <a:gd name="T8" fmla="*/ 119 w 198"/>
                <a:gd name="T9" fmla="*/ 68 h 92"/>
                <a:gd name="T10" fmla="*/ 121 w 198"/>
                <a:gd name="T11" fmla="*/ 69 h 92"/>
                <a:gd name="T12" fmla="*/ 123 w 198"/>
                <a:gd name="T13" fmla="*/ 72 h 92"/>
                <a:gd name="T14" fmla="*/ 126 w 198"/>
                <a:gd name="T15" fmla="*/ 76 h 92"/>
                <a:gd name="T16" fmla="*/ 128 w 198"/>
                <a:gd name="T17" fmla="*/ 78 h 92"/>
                <a:gd name="T18" fmla="*/ 132 w 198"/>
                <a:gd name="T19" fmla="*/ 82 h 92"/>
                <a:gd name="T20" fmla="*/ 137 w 198"/>
                <a:gd name="T21" fmla="*/ 85 h 92"/>
                <a:gd name="T22" fmla="*/ 148 w 198"/>
                <a:gd name="T23" fmla="*/ 89 h 92"/>
                <a:gd name="T24" fmla="*/ 162 w 198"/>
                <a:gd name="T25" fmla="*/ 92 h 92"/>
                <a:gd name="T26" fmla="*/ 173 w 198"/>
                <a:gd name="T27" fmla="*/ 92 h 92"/>
                <a:gd name="T28" fmla="*/ 184 w 198"/>
                <a:gd name="T29" fmla="*/ 92 h 92"/>
                <a:gd name="T30" fmla="*/ 191 w 198"/>
                <a:gd name="T31" fmla="*/ 91 h 92"/>
                <a:gd name="T32" fmla="*/ 198 w 198"/>
                <a:gd name="T33" fmla="*/ 90 h 92"/>
                <a:gd name="T34" fmla="*/ 196 w 198"/>
                <a:gd name="T35" fmla="*/ 80 h 92"/>
                <a:gd name="T36" fmla="*/ 193 w 198"/>
                <a:gd name="T37" fmla="*/ 71 h 92"/>
                <a:gd name="T38" fmla="*/ 190 w 198"/>
                <a:gd name="T39" fmla="*/ 63 h 92"/>
                <a:gd name="T40" fmla="*/ 185 w 198"/>
                <a:gd name="T41" fmla="*/ 54 h 92"/>
                <a:gd name="T42" fmla="*/ 181 w 198"/>
                <a:gd name="T43" fmla="*/ 46 h 92"/>
                <a:gd name="T44" fmla="*/ 175 w 198"/>
                <a:gd name="T45" fmla="*/ 39 h 92"/>
                <a:gd name="T46" fmla="*/ 169 w 198"/>
                <a:gd name="T47" fmla="*/ 32 h 92"/>
                <a:gd name="T48" fmla="*/ 163 w 198"/>
                <a:gd name="T49" fmla="*/ 26 h 92"/>
                <a:gd name="T50" fmla="*/ 155 w 198"/>
                <a:gd name="T51" fmla="*/ 21 h 92"/>
                <a:gd name="T52" fmla="*/ 149 w 198"/>
                <a:gd name="T53" fmla="*/ 15 h 92"/>
                <a:gd name="T54" fmla="*/ 141 w 198"/>
                <a:gd name="T55" fmla="*/ 10 h 92"/>
                <a:gd name="T56" fmla="*/ 132 w 198"/>
                <a:gd name="T57" fmla="*/ 6 h 92"/>
                <a:gd name="T58" fmla="*/ 124 w 198"/>
                <a:gd name="T59" fmla="*/ 4 h 92"/>
                <a:gd name="T60" fmla="*/ 115 w 198"/>
                <a:gd name="T61" fmla="*/ 1 h 92"/>
                <a:gd name="T62" fmla="*/ 106 w 198"/>
                <a:gd name="T63" fmla="*/ 0 h 92"/>
                <a:gd name="T64" fmla="*/ 97 w 198"/>
                <a:gd name="T65" fmla="*/ 0 h 92"/>
                <a:gd name="T66" fmla="*/ 88 w 198"/>
                <a:gd name="T67" fmla="*/ 0 h 92"/>
                <a:gd name="T68" fmla="*/ 81 w 198"/>
                <a:gd name="T69" fmla="*/ 1 h 92"/>
                <a:gd name="T70" fmla="*/ 73 w 198"/>
                <a:gd name="T71" fmla="*/ 4 h 92"/>
                <a:gd name="T72" fmla="*/ 64 w 198"/>
                <a:gd name="T73" fmla="*/ 5 h 92"/>
                <a:gd name="T74" fmla="*/ 58 w 198"/>
                <a:gd name="T75" fmla="*/ 9 h 92"/>
                <a:gd name="T76" fmla="*/ 50 w 198"/>
                <a:gd name="T77" fmla="*/ 13 h 92"/>
                <a:gd name="T78" fmla="*/ 44 w 198"/>
                <a:gd name="T79" fmla="*/ 17 h 92"/>
                <a:gd name="T80" fmla="*/ 37 w 198"/>
                <a:gd name="T81" fmla="*/ 22 h 92"/>
                <a:gd name="T82" fmla="*/ 24 w 198"/>
                <a:gd name="T83" fmla="*/ 32 h 92"/>
                <a:gd name="T84" fmla="*/ 14 w 198"/>
                <a:gd name="T85" fmla="*/ 45 h 92"/>
                <a:gd name="T86" fmla="*/ 6 w 198"/>
                <a:gd name="T87" fmla="*/ 60 h 92"/>
                <a:gd name="T88" fmla="*/ 0 w 198"/>
                <a:gd name="T89" fmla="*/ 76 h 92"/>
                <a:gd name="T90" fmla="*/ 1 w 198"/>
                <a:gd name="T91" fmla="*/ 75 h 92"/>
                <a:gd name="T92" fmla="*/ 10 w 198"/>
                <a:gd name="T93" fmla="*/ 80 h 92"/>
                <a:gd name="T94" fmla="*/ 22 w 198"/>
                <a:gd name="T95" fmla="*/ 84 h 92"/>
                <a:gd name="T96" fmla="*/ 35 w 198"/>
                <a:gd name="T97" fmla="*/ 86 h 92"/>
                <a:gd name="T98" fmla="*/ 50 w 198"/>
                <a:gd name="T99" fmla="*/ 87 h 92"/>
                <a:gd name="T100" fmla="*/ 64 w 198"/>
                <a:gd name="T101" fmla="*/ 86 h 92"/>
                <a:gd name="T102" fmla="*/ 79 w 198"/>
                <a:gd name="T103" fmla="*/ 84 h 92"/>
                <a:gd name="T104" fmla="*/ 86 w 198"/>
                <a:gd name="T105" fmla="*/ 81 h 92"/>
                <a:gd name="T106" fmla="*/ 92 w 198"/>
                <a:gd name="T107" fmla="*/ 77 h 92"/>
                <a:gd name="T108" fmla="*/ 99 w 198"/>
                <a:gd name="T109" fmla="*/ 75 h 92"/>
                <a:gd name="T110" fmla="*/ 104 w 198"/>
                <a:gd name="T111" fmla="*/ 6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92">
                  <a:moveTo>
                    <a:pt x="104" y="69"/>
                  </a:moveTo>
                  <a:lnTo>
                    <a:pt x="109" y="67"/>
                  </a:lnTo>
                  <a:lnTo>
                    <a:pt x="114" y="66"/>
                  </a:lnTo>
                  <a:lnTo>
                    <a:pt x="117" y="67"/>
                  </a:lnTo>
                  <a:lnTo>
                    <a:pt x="119" y="68"/>
                  </a:lnTo>
                  <a:lnTo>
                    <a:pt x="121" y="69"/>
                  </a:lnTo>
                  <a:lnTo>
                    <a:pt x="123" y="72"/>
                  </a:lnTo>
                  <a:lnTo>
                    <a:pt x="126" y="76"/>
                  </a:lnTo>
                  <a:lnTo>
                    <a:pt x="128" y="78"/>
                  </a:lnTo>
                  <a:lnTo>
                    <a:pt x="132" y="82"/>
                  </a:lnTo>
                  <a:lnTo>
                    <a:pt x="137" y="85"/>
                  </a:lnTo>
                  <a:lnTo>
                    <a:pt x="148" y="89"/>
                  </a:lnTo>
                  <a:lnTo>
                    <a:pt x="162" y="92"/>
                  </a:lnTo>
                  <a:lnTo>
                    <a:pt x="173" y="92"/>
                  </a:lnTo>
                  <a:lnTo>
                    <a:pt x="184" y="92"/>
                  </a:lnTo>
                  <a:lnTo>
                    <a:pt x="191" y="91"/>
                  </a:lnTo>
                  <a:lnTo>
                    <a:pt x="198" y="90"/>
                  </a:lnTo>
                  <a:lnTo>
                    <a:pt x="196" y="80"/>
                  </a:lnTo>
                  <a:lnTo>
                    <a:pt x="193" y="71"/>
                  </a:lnTo>
                  <a:lnTo>
                    <a:pt x="190" y="63"/>
                  </a:lnTo>
                  <a:lnTo>
                    <a:pt x="185" y="54"/>
                  </a:lnTo>
                  <a:lnTo>
                    <a:pt x="181" y="46"/>
                  </a:lnTo>
                  <a:lnTo>
                    <a:pt x="175" y="39"/>
                  </a:lnTo>
                  <a:lnTo>
                    <a:pt x="169" y="32"/>
                  </a:lnTo>
                  <a:lnTo>
                    <a:pt x="163" y="26"/>
                  </a:lnTo>
                  <a:lnTo>
                    <a:pt x="155" y="21"/>
                  </a:lnTo>
                  <a:lnTo>
                    <a:pt x="149" y="15"/>
                  </a:lnTo>
                  <a:lnTo>
                    <a:pt x="141" y="10"/>
                  </a:lnTo>
                  <a:lnTo>
                    <a:pt x="132" y="6"/>
                  </a:lnTo>
                  <a:lnTo>
                    <a:pt x="124" y="4"/>
                  </a:lnTo>
                  <a:lnTo>
                    <a:pt x="115" y="1"/>
                  </a:lnTo>
                  <a:lnTo>
                    <a:pt x="106" y="0"/>
                  </a:lnTo>
                  <a:lnTo>
                    <a:pt x="97" y="0"/>
                  </a:lnTo>
                  <a:lnTo>
                    <a:pt x="88" y="0"/>
                  </a:lnTo>
                  <a:lnTo>
                    <a:pt x="81" y="1"/>
                  </a:lnTo>
                  <a:lnTo>
                    <a:pt x="73" y="4"/>
                  </a:lnTo>
                  <a:lnTo>
                    <a:pt x="64" y="5"/>
                  </a:lnTo>
                  <a:lnTo>
                    <a:pt x="58" y="9"/>
                  </a:lnTo>
                  <a:lnTo>
                    <a:pt x="50" y="13"/>
                  </a:lnTo>
                  <a:lnTo>
                    <a:pt x="44" y="17"/>
                  </a:lnTo>
                  <a:lnTo>
                    <a:pt x="37" y="22"/>
                  </a:lnTo>
                  <a:lnTo>
                    <a:pt x="24" y="32"/>
                  </a:lnTo>
                  <a:lnTo>
                    <a:pt x="14" y="45"/>
                  </a:lnTo>
                  <a:lnTo>
                    <a:pt x="6" y="60"/>
                  </a:lnTo>
                  <a:lnTo>
                    <a:pt x="0" y="76"/>
                  </a:lnTo>
                  <a:lnTo>
                    <a:pt x="1" y="75"/>
                  </a:lnTo>
                  <a:lnTo>
                    <a:pt x="10" y="80"/>
                  </a:lnTo>
                  <a:lnTo>
                    <a:pt x="22" y="84"/>
                  </a:lnTo>
                  <a:lnTo>
                    <a:pt x="35" y="86"/>
                  </a:lnTo>
                  <a:lnTo>
                    <a:pt x="50" y="87"/>
                  </a:lnTo>
                  <a:lnTo>
                    <a:pt x="64" y="86"/>
                  </a:lnTo>
                  <a:lnTo>
                    <a:pt x="79" y="84"/>
                  </a:lnTo>
                  <a:lnTo>
                    <a:pt x="86" y="81"/>
                  </a:lnTo>
                  <a:lnTo>
                    <a:pt x="92" y="77"/>
                  </a:lnTo>
                  <a:lnTo>
                    <a:pt x="99" y="75"/>
                  </a:lnTo>
                  <a:lnTo>
                    <a:pt x="10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452">
              <a:extLst>
                <a:ext uri="{FF2B5EF4-FFF2-40B4-BE49-F238E27FC236}">
                  <a16:creationId xmlns:a16="http://schemas.microsoft.com/office/drawing/2014/main" id="{7AB0BDF1-3BDE-4E4F-8BE0-9FAE12E1838B}"/>
                </a:ext>
              </a:extLst>
            </p:cNvPr>
            <p:cNvSpPr>
              <a:spLocks/>
            </p:cNvSpPr>
            <p:nvPr/>
          </p:nvSpPr>
          <p:spPr bwMode="auto">
            <a:xfrm>
              <a:off x="11703050" y="5507038"/>
              <a:ext cx="79375" cy="36513"/>
            </a:xfrm>
            <a:custGeom>
              <a:avLst/>
              <a:gdLst>
                <a:gd name="T0" fmla="*/ 0 w 197"/>
                <a:gd name="T1" fmla="*/ 75 h 93"/>
                <a:gd name="T2" fmla="*/ 0 w 197"/>
                <a:gd name="T3" fmla="*/ 74 h 93"/>
                <a:gd name="T4" fmla="*/ 9 w 197"/>
                <a:gd name="T5" fmla="*/ 79 h 93"/>
                <a:gd name="T6" fmla="*/ 22 w 197"/>
                <a:gd name="T7" fmla="*/ 82 h 93"/>
                <a:gd name="T8" fmla="*/ 34 w 197"/>
                <a:gd name="T9" fmla="*/ 85 h 93"/>
                <a:gd name="T10" fmla="*/ 50 w 197"/>
                <a:gd name="T11" fmla="*/ 86 h 93"/>
                <a:gd name="T12" fmla="*/ 64 w 197"/>
                <a:gd name="T13" fmla="*/ 86 h 93"/>
                <a:gd name="T14" fmla="*/ 79 w 197"/>
                <a:gd name="T15" fmla="*/ 82 h 93"/>
                <a:gd name="T16" fmla="*/ 86 w 197"/>
                <a:gd name="T17" fmla="*/ 80 h 93"/>
                <a:gd name="T18" fmla="*/ 92 w 197"/>
                <a:gd name="T19" fmla="*/ 77 h 93"/>
                <a:gd name="T20" fmla="*/ 99 w 197"/>
                <a:gd name="T21" fmla="*/ 74 h 93"/>
                <a:gd name="T22" fmla="*/ 104 w 197"/>
                <a:gd name="T23" fmla="*/ 68 h 93"/>
                <a:gd name="T24" fmla="*/ 108 w 197"/>
                <a:gd name="T25" fmla="*/ 66 h 93"/>
                <a:gd name="T26" fmla="*/ 114 w 197"/>
                <a:gd name="T27" fmla="*/ 66 h 93"/>
                <a:gd name="T28" fmla="*/ 117 w 197"/>
                <a:gd name="T29" fmla="*/ 66 h 93"/>
                <a:gd name="T30" fmla="*/ 119 w 197"/>
                <a:gd name="T31" fmla="*/ 67 h 93"/>
                <a:gd name="T32" fmla="*/ 120 w 197"/>
                <a:gd name="T33" fmla="*/ 70 h 93"/>
                <a:gd name="T34" fmla="*/ 123 w 197"/>
                <a:gd name="T35" fmla="*/ 72 h 93"/>
                <a:gd name="T36" fmla="*/ 124 w 197"/>
                <a:gd name="T37" fmla="*/ 75 h 93"/>
                <a:gd name="T38" fmla="*/ 128 w 197"/>
                <a:gd name="T39" fmla="*/ 79 h 93"/>
                <a:gd name="T40" fmla="*/ 132 w 197"/>
                <a:gd name="T41" fmla="*/ 81 h 93"/>
                <a:gd name="T42" fmla="*/ 137 w 197"/>
                <a:gd name="T43" fmla="*/ 84 h 93"/>
                <a:gd name="T44" fmla="*/ 147 w 197"/>
                <a:gd name="T45" fmla="*/ 89 h 93"/>
                <a:gd name="T46" fmla="*/ 161 w 197"/>
                <a:gd name="T47" fmla="*/ 91 h 93"/>
                <a:gd name="T48" fmla="*/ 173 w 197"/>
                <a:gd name="T49" fmla="*/ 93 h 93"/>
                <a:gd name="T50" fmla="*/ 183 w 197"/>
                <a:gd name="T51" fmla="*/ 93 h 93"/>
                <a:gd name="T52" fmla="*/ 191 w 197"/>
                <a:gd name="T53" fmla="*/ 91 h 93"/>
                <a:gd name="T54" fmla="*/ 197 w 197"/>
                <a:gd name="T55" fmla="*/ 89 h 93"/>
                <a:gd name="T56" fmla="*/ 196 w 197"/>
                <a:gd name="T57" fmla="*/ 80 h 93"/>
                <a:gd name="T58" fmla="*/ 192 w 197"/>
                <a:gd name="T59" fmla="*/ 71 h 93"/>
                <a:gd name="T60" fmla="*/ 190 w 197"/>
                <a:gd name="T61" fmla="*/ 62 h 93"/>
                <a:gd name="T62" fmla="*/ 185 w 197"/>
                <a:gd name="T63" fmla="*/ 54 h 93"/>
                <a:gd name="T64" fmla="*/ 181 w 197"/>
                <a:gd name="T65" fmla="*/ 45 h 93"/>
                <a:gd name="T66" fmla="*/ 174 w 197"/>
                <a:gd name="T67" fmla="*/ 39 h 93"/>
                <a:gd name="T68" fmla="*/ 169 w 197"/>
                <a:gd name="T69" fmla="*/ 31 h 93"/>
                <a:gd name="T70" fmla="*/ 163 w 197"/>
                <a:gd name="T71" fmla="*/ 26 h 93"/>
                <a:gd name="T72" fmla="*/ 155 w 197"/>
                <a:gd name="T73" fmla="*/ 20 h 93"/>
                <a:gd name="T74" fmla="*/ 149 w 197"/>
                <a:gd name="T75" fmla="*/ 14 h 93"/>
                <a:gd name="T76" fmla="*/ 141 w 197"/>
                <a:gd name="T77" fmla="*/ 11 h 93"/>
                <a:gd name="T78" fmla="*/ 132 w 197"/>
                <a:gd name="T79" fmla="*/ 7 h 93"/>
                <a:gd name="T80" fmla="*/ 124 w 197"/>
                <a:gd name="T81" fmla="*/ 4 h 93"/>
                <a:gd name="T82" fmla="*/ 115 w 197"/>
                <a:gd name="T83" fmla="*/ 2 h 93"/>
                <a:gd name="T84" fmla="*/ 106 w 197"/>
                <a:gd name="T85" fmla="*/ 0 h 93"/>
                <a:gd name="T86" fmla="*/ 97 w 197"/>
                <a:gd name="T87" fmla="*/ 0 h 93"/>
                <a:gd name="T88" fmla="*/ 88 w 197"/>
                <a:gd name="T89" fmla="*/ 0 h 93"/>
                <a:gd name="T90" fmla="*/ 81 w 197"/>
                <a:gd name="T91" fmla="*/ 2 h 93"/>
                <a:gd name="T92" fmla="*/ 72 w 197"/>
                <a:gd name="T93" fmla="*/ 3 h 93"/>
                <a:gd name="T94" fmla="*/ 64 w 197"/>
                <a:gd name="T95" fmla="*/ 5 h 93"/>
                <a:gd name="T96" fmla="*/ 57 w 197"/>
                <a:gd name="T97" fmla="*/ 8 h 93"/>
                <a:gd name="T98" fmla="*/ 50 w 197"/>
                <a:gd name="T99" fmla="*/ 12 h 93"/>
                <a:gd name="T100" fmla="*/ 43 w 197"/>
                <a:gd name="T101" fmla="*/ 16 h 93"/>
                <a:gd name="T102" fmla="*/ 36 w 197"/>
                <a:gd name="T103" fmla="*/ 21 h 93"/>
                <a:gd name="T104" fmla="*/ 24 w 197"/>
                <a:gd name="T105" fmla="*/ 32 h 93"/>
                <a:gd name="T106" fmla="*/ 14 w 197"/>
                <a:gd name="T107" fmla="*/ 45 h 93"/>
                <a:gd name="T108" fmla="*/ 6 w 197"/>
                <a:gd name="T109" fmla="*/ 59 h 93"/>
                <a:gd name="T110" fmla="*/ 0 w 197"/>
                <a:gd name="T111" fmla="*/ 7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93">
                  <a:moveTo>
                    <a:pt x="0" y="75"/>
                  </a:moveTo>
                  <a:lnTo>
                    <a:pt x="0" y="74"/>
                  </a:lnTo>
                  <a:lnTo>
                    <a:pt x="9" y="79"/>
                  </a:lnTo>
                  <a:lnTo>
                    <a:pt x="22" y="82"/>
                  </a:lnTo>
                  <a:lnTo>
                    <a:pt x="34" y="85"/>
                  </a:lnTo>
                  <a:lnTo>
                    <a:pt x="50" y="86"/>
                  </a:lnTo>
                  <a:lnTo>
                    <a:pt x="64" y="86"/>
                  </a:lnTo>
                  <a:lnTo>
                    <a:pt x="79" y="82"/>
                  </a:lnTo>
                  <a:lnTo>
                    <a:pt x="86" y="80"/>
                  </a:lnTo>
                  <a:lnTo>
                    <a:pt x="92" y="77"/>
                  </a:lnTo>
                  <a:lnTo>
                    <a:pt x="99" y="74"/>
                  </a:lnTo>
                  <a:lnTo>
                    <a:pt x="104" y="68"/>
                  </a:lnTo>
                  <a:lnTo>
                    <a:pt x="108" y="66"/>
                  </a:lnTo>
                  <a:lnTo>
                    <a:pt x="114" y="66"/>
                  </a:lnTo>
                  <a:lnTo>
                    <a:pt x="117" y="66"/>
                  </a:lnTo>
                  <a:lnTo>
                    <a:pt x="119" y="67"/>
                  </a:lnTo>
                  <a:lnTo>
                    <a:pt x="120" y="70"/>
                  </a:lnTo>
                  <a:lnTo>
                    <a:pt x="123" y="72"/>
                  </a:lnTo>
                  <a:lnTo>
                    <a:pt x="124" y="75"/>
                  </a:lnTo>
                  <a:lnTo>
                    <a:pt x="128" y="79"/>
                  </a:lnTo>
                  <a:lnTo>
                    <a:pt x="132" y="81"/>
                  </a:lnTo>
                  <a:lnTo>
                    <a:pt x="137" y="84"/>
                  </a:lnTo>
                  <a:lnTo>
                    <a:pt x="147" y="89"/>
                  </a:lnTo>
                  <a:lnTo>
                    <a:pt x="161" y="91"/>
                  </a:lnTo>
                  <a:lnTo>
                    <a:pt x="173" y="93"/>
                  </a:lnTo>
                  <a:lnTo>
                    <a:pt x="183" y="93"/>
                  </a:lnTo>
                  <a:lnTo>
                    <a:pt x="191" y="91"/>
                  </a:lnTo>
                  <a:lnTo>
                    <a:pt x="197" y="89"/>
                  </a:lnTo>
                  <a:lnTo>
                    <a:pt x="196" y="80"/>
                  </a:lnTo>
                  <a:lnTo>
                    <a:pt x="192" y="71"/>
                  </a:lnTo>
                  <a:lnTo>
                    <a:pt x="190" y="62"/>
                  </a:lnTo>
                  <a:lnTo>
                    <a:pt x="185" y="54"/>
                  </a:lnTo>
                  <a:lnTo>
                    <a:pt x="181" y="45"/>
                  </a:lnTo>
                  <a:lnTo>
                    <a:pt x="174" y="39"/>
                  </a:lnTo>
                  <a:lnTo>
                    <a:pt x="169" y="31"/>
                  </a:lnTo>
                  <a:lnTo>
                    <a:pt x="163" y="26"/>
                  </a:lnTo>
                  <a:lnTo>
                    <a:pt x="155" y="20"/>
                  </a:lnTo>
                  <a:lnTo>
                    <a:pt x="149" y="14"/>
                  </a:lnTo>
                  <a:lnTo>
                    <a:pt x="141" y="11"/>
                  </a:lnTo>
                  <a:lnTo>
                    <a:pt x="132" y="7"/>
                  </a:lnTo>
                  <a:lnTo>
                    <a:pt x="124" y="4"/>
                  </a:lnTo>
                  <a:lnTo>
                    <a:pt x="115" y="2"/>
                  </a:lnTo>
                  <a:lnTo>
                    <a:pt x="106" y="0"/>
                  </a:lnTo>
                  <a:lnTo>
                    <a:pt x="97" y="0"/>
                  </a:lnTo>
                  <a:lnTo>
                    <a:pt x="88" y="0"/>
                  </a:lnTo>
                  <a:lnTo>
                    <a:pt x="81" y="2"/>
                  </a:lnTo>
                  <a:lnTo>
                    <a:pt x="72" y="3"/>
                  </a:lnTo>
                  <a:lnTo>
                    <a:pt x="64" y="5"/>
                  </a:lnTo>
                  <a:lnTo>
                    <a:pt x="57" y="8"/>
                  </a:lnTo>
                  <a:lnTo>
                    <a:pt x="50" y="12"/>
                  </a:lnTo>
                  <a:lnTo>
                    <a:pt x="43" y="16"/>
                  </a:lnTo>
                  <a:lnTo>
                    <a:pt x="36" y="21"/>
                  </a:lnTo>
                  <a:lnTo>
                    <a:pt x="24" y="32"/>
                  </a:lnTo>
                  <a:lnTo>
                    <a:pt x="14" y="45"/>
                  </a:lnTo>
                  <a:lnTo>
                    <a:pt x="6" y="59"/>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453">
              <a:extLst>
                <a:ext uri="{FF2B5EF4-FFF2-40B4-BE49-F238E27FC236}">
                  <a16:creationId xmlns:a16="http://schemas.microsoft.com/office/drawing/2014/main" id="{9B35D360-F685-49DA-BDBB-E18E13CF45D8}"/>
                </a:ext>
              </a:extLst>
            </p:cNvPr>
            <p:cNvSpPr>
              <a:spLocks/>
            </p:cNvSpPr>
            <p:nvPr/>
          </p:nvSpPr>
          <p:spPr bwMode="auto">
            <a:xfrm>
              <a:off x="11677650" y="5545138"/>
              <a:ext cx="128587" cy="90488"/>
            </a:xfrm>
            <a:custGeom>
              <a:avLst/>
              <a:gdLst>
                <a:gd name="T0" fmla="*/ 289 w 325"/>
                <a:gd name="T1" fmla="*/ 155 h 230"/>
                <a:gd name="T2" fmla="*/ 217 w 325"/>
                <a:gd name="T3" fmla="*/ 136 h 230"/>
                <a:gd name="T4" fmla="*/ 217 w 325"/>
                <a:gd name="T5" fmla="*/ 112 h 230"/>
                <a:gd name="T6" fmla="*/ 227 w 325"/>
                <a:gd name="T7" fmla="*/ 104 h 230"/>
                <a:gd name="T8" fmla="*/ 236 w 325"/>
                <a:gd name="T9" fmla="*/ 95 h 230"/>
                <a:gd name="T10" fmla="*/ 245 w 325"/>
                <a:gd name="T11" fmla="*/ 85 h 230"/>
                <a:gd name="T12" fmla="*/ 252 w 325"/>
                <a:gd name="T13" fmla="*/ 73 h 230"/>
                <a:gd name="T14" fmla="*/ 258 w 325"/>
                <a:gd name="T15" fmla="*/ 62 h 230"/>
                <a:gd name="T16" fmla="*/ 262 w 325"/>
                <a:gd name="T17" fmla="*/ 48 h 230"/>
                <a:gd name="T18" fmla="*/ 266 w 325"/>
                <a:gd name="T19" fmla="*/ 35 h 230"/>
                <a:gd name="T20" fmla="*/ 267 w 325"/>
                <a:gd name="T21" fmla="*/ 21 h 230"/>
                <a:gd name="T22" fmla="*/ 255 w 325"/>
                <a:gd name="T23" fmla="*/ 22 h 230"/>
                <a:gd name="T24" fmla="*/ 243 w 325"/>
                <a:gd name="T25" fmla="*/ 23 h 230"/>
                <a:gd name="T26" fmla="*/ 234 w 325"/>
                <a:gd name="T27" fmla="*/ 22 h 230"/>
                <a:gd name="T28" fmla="*/ 225 w 325"/>
                <a:gd name="T29" fmla="*/ 22 h 230"/>
                <a:gd name="T30" fmla="*/ 211 w 325"/>
                <a:gd name="T31" fmla="*/ 18 h 230"/>
                <a:gd name="T32" fmla="*/ 198 w 325"/>
                <a:gd name="T33" fmla="*/ 14 h 230"/>
                <a:gd name="T34" fmla="*/ 186 w 325"/>
                <a:gd name="T35" fmla="*/ 8 h 230"/>
                <a:gd name="T36" fmla="*/ 177 w 325"/>
                <a:gd name="T37" fmla="*/ 0 h 230"/>
                <a:gd name="T38" fmla="*/ 171 w 325"/>
                <a:gd name="T39" fmla="*/ 4 h 230"/>
                <a:gd name="T40" fmla="*/ 164 w 325"/>
                <a:gd name="T41" fmla="*/ 8 h 230"/>
                <a:gd name="T42" fmla="*/ 157 w 325"/>
                <a:gd name="T43" fmla="*/ 10 h 230"/>
                <a:gd name="T44" fmla="*/ 149 w 325"/>
                <a:gd name="T45" fmla="*/ 13 h 230"/>
                <a:gd name="T46" fmla="*/ 133 w 325"/>
                <a:gd name="T47" fmla="*/ 15 h 230"/>
                <a:gd name="T48" fmla="*/ 118 w 325"/>
                <a:gd name="T49" fmla="*/ 17 h 230"/>
                <a:gd name="T50" fmla="*/ 103 w 325"/>
                <a:gd name="T51" fmla="*/ 15 h 230"/>
                <a:gd name="T52" fmla="*/ 87 w 325"/>
                <a:gd name="T53" fmla="*/ 13 h 230"/>
                <a:gd name="T54" fmla="*/ 73 w 325"/>
                <a:gd name="T55" fmla="*/ 9 h 230"/>
                <a:gd name="T56" fmla="*/ 62 w 325"/>
                <a:gd name="T57" fmla="*/ 4 h 230"/>
                <a:gd name="T58" fmla="*/ 62 w 325"/>
                <a:gd name="T59" fmla="*/ 10 h 230"/>
                <a:gd name="T60" fmla="*/ 60 w 325"/>
                <a:gd name="T61" fmla="*/ 17 h 230"/>
                <a:gd name="T62" fmla="*/ 62 w 325"/>
                <a:gd name="T63" fmla="*/ 31 h 230"/>
                <a:gd name="T64" fmla="*/ 64 w 325"/>
                <a:gd name="T65" fmla="*/ 45 h 230"/>
                <a:gd name="T66" fmla="*/ 68 w 325"/>
                <a:gd name="T67" fmla="*/ 58 h 230"/>
                <a:gd name="T68" fmla="*/ 74 w 325"/>
                <a:gd name="T69" fmla="*/ 71 h 230"/>
                <a:gd name="T70" fmla="*/ 81 w 325"/>
                <a:gd name="T71" fmla="*/ 82 h 230"/>
                <a:gd name="T72" fmla="*/ 89 w 325"/>
                <a:gd name="T73" fmla="*/ 93 h 230"/>
                <a:gd name="T74" fmla="*/ 97 w 325"/>
                <a:gd name="T75" fmla="*/ 103 h 230"/>
                <a:gd name="T76" fmla="*/ 108 w 325"/>
                <a:gd name="T77" fmla="*/ 111 h 230"/>
                <a:gd name="T78" fmla="*/ 108 w 325"/>
                <a:gd name="T79" fmla="*/ 136 h 230"/>
                <a:gd name="T80" fmla="*/ 38 w 325"/>
                <a:gd name="T81" fmla="*/ 155 h 230"/>
                <a:gd name="T82" fmla="*/ 31 w 325"/>
                <a:gd name="T83" fmla="*/ 158 h 230"/>
                <a:gd name="T84" fmla="*/ 23 w 325"/>
                <a:gd name="T85" fmla="*/ 163 h 230"/>
                <a:gd name="T86" fmla="*/ 17 w 325"/>
                <a:gd name="T87" fmla="*/ 168 h 230"/>
                <a:gd name="T88" fmla="*/ 11 w 325"/>
                <a:gd name="T89" fmla="*/ 175 h 230"/>
                <a:gd name="T90" fmla="*/ 6 w 325"/>
                <a:gd name="T91" fmla="*/ 181 h 230"/>
                <a:gd name="T92" fmla="*/ 4 w 325"/>
                <a:gd name="T93" fmla="*/ 189 h 230"/>
                <a:gd name="T94" fmla="*/ 1 w 325"/>
                <a:gd name="T95" fmla="*/ 198 h 230"/>
                <a:gd name="T96" fmla="*/ 0 w 325"/>
                <a:gd name="T97" fmla="*/ 206 h 230"/>
                <a:gd name="T98" fmla="*/ 0 w 325"/>
                <a:gd name="T99" fmla="*/ 230 h 230"/>
                <a:gd name="T100" fmla="*/ 325 w 325"/>
                <a:gd name="T101" fmla="*/ 230 h 230"/>
                <a:gd name="T102" fmla="*/ 325 w 325"/>
                <a:gd name="T103" fmla="*/ 206 h 230"/>
                <a:gd name="T104" fmla="*/ 324 w 325"/>
                <a:gd name="T105" fmla="*/ 198 h 230"/>
                <a:gd name="T106" fmla="*/ 322 w 325"/>
                <a:gd name="T107" fmla="*/ 189 h 230"/>
                <a:gd name="T108" fmla="*/ 318 w 325"/>
                <a:gd name="T109" fmla="*/ 181 h 230"/>
                <a:gd name="T110" fmla="*/ 315 w 325"/>
                <a:gd name="T111" fmla="*/ 175 h 230"/>
                <a:gd name="T112" fmla="*/ 309 w 325"/>
                <a:gd name="T113" fmla="*/ 168 h 230"/>
                <a:gd name="T114" fmla="*/ 303 w 325"/>
                <a:gd name="T115" fmla="*/ 162 h 230"/>
                <a:gd name="T116" fmla="*/ 297 w 325"/>
                <a:gd name="T117" fmla="*/ 158 h 230"/>
                <a:gd name="T118" fmla="*/ 289 w 325"/>
                <a:gd name="T119" fmla="*/ 15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289" y="155"/>
                  </a:moveTo>
                  <a:lnTo>
                    <a:pt x="217" y="136"/>
                  </a:lnTo>
                  <a:lnTo>
                    <a:pt x="217" y="112"/>
                  </a:lnTo>
                  <a:lnTo>
                    <a:pt x="227" y="104"/>
                  </a:lnTo>
                  <a:lnTo>
                    <a:pt x="236" y="95"/>
                  </a:lnTo>
                  <a:lnTo>
                    <a:pt x="245" y="85"/>
                  </a:lnTo>
                  <a:lnTo>
                    <a:pt x="252" y="73"/>
                  </a:lnTo>
                  <a:lnTo>
                    <a:pt x="258" y="62"/>
                  </a:lnTo>
                  <a:lnTo>
                    <a:pt x="262" y="48"/>
                  </a:lnTo>
                  <a:lnTo>
                    <a:pt x="266" y="35"/>
                  </a:lnTo>
                  <a:lnTo>
                    <a:pt x="267" y="21"/>
                  </a:lnTo>
                  <a:lnTo>
                    <a:pt x="255" y="22"/>
                  </a:lnTo>
                  <a:lnTo>
                    <a:pt x="243" y="23"/>
                  </a:lnTo>
                  <a:lnTo>
                    <a:pt x="234" y="22"/>
                  </a:lnTo>
                  <a:lnTo>
                    <a:pt x="225" y="22"/>
                  </a:lnTo>
                  <a:lnTo>
                    <a:pt x="211" y="18"/>
                  </a:lnTo>
                  <a:lnTo>
                    <a:pt x="198" y="14"/>
                  </a:lnTo>
                  <a:lnTo>
                    <a:pt x="186" y="8"/>
                  </a:lnTo>
                  <a:lnTo>
                    <a:pt x="177" y="0"/>
                  </a:lnTo>
                  <a:lnTo>
                    <a:pt x="171" y="4"/>
                  </a:lnTo>
                  <a:lnTo>
                    <a:pt x="164" y="8"/>
                  </a:lnTo>
                  <a:lnTo>
                    <a:pt x="157" y="10"/>
                  </a:lnTo>
                  <a:lnTo>
                    <a:pt x="149" y="13"/>
                  </a:lnTo>
                  <a:lnTo>
                    <a:pt x="133" y="15"/>
                  </a:lnTo>
                  <a:lnTo>
                    <a:pt x="118" y="17"/>
                  </a:lnTo>
                  <a:lnTo>
                    <a:pt x="103" y="15"/>
                  </a:lnTo>
                  <a:lnTo>
                    <a:pt x="87" y="13"/>
                  </a:lnTo>
                  <a:lnTo>
                    <a:pt x="73" y="9"/>
                  </a:lnTo>
                  <a:lnTo>
                    <a:pt x="62" y="4"/>
                  </a:lnTo>
                  <a:lnTo>
                    <a:pt x="62" y="10"/>
                  </a:lnTo>
                  <a:lnTo>
                    <a:pt x="60" y="17"/>
                  </a:lnTo>
                  <a:lnTo>
                    <a:pt x="62" y="31"/>
                  </a:lnTo>
                  <a:lnTo>
                    <a:pt x="64" y="45"/>
                  </a:lnTo>
                  <a:lnTo>
                    <a:pt x="68" y="58"/>
                  </a:lnTo>
                  <a:lnTo>
                    <a:pt x="74" y="71"/>
                  </a:lnTo>
                  <a:lnTo>
                    <a:pt x="81" y="82"/>
                  </a:lnTo>
                  <a:lnTo>
                    <a:pt x="89" y="93"/>
                  </a:lnTo>
                  <a:lnTo>
                    <a:pt x="97" y="103"/>
                  </a:lnTo>
                  <a:lnTo>
                    <a:pt x="108" y="111"/>
                  </a:lnTo>
                  <a:lnTo>
                    <a:pt x="108" y="136"/>
                  </a:lnTo>
                  <a:lnTo>
                    <a:pt x="38" y="155"/>
                  </a:lnTo>
                  <a:lnTo>
                    <a:pt x="31" y="158"/>
                  </a:lnTo>
                  <a:lnTo>
                    <a:pt x="23" y="163"/>
                  </a:lnTo>
                  <a:lnTo>
                    <a:pt x="17" y="168"/>
                  </a:lnTo>
                  <a:lnTo>
                    <a:pt x="11" y="175"/>
                  </a:lnTo>
                  <a:lnTo>
                    <a:pt x="6" y="181"/>
                  </a:lnTo>
                  <a:lnTo>
                    <a:pt x="4" y="189"/>
                  </a:lnTo>
                  <a:lnTo>
                    <a:pt x="1" y="198"/>
                  </a:lnTo>
                  <a:lnTo>
                    <a:pt x="0" y="206"/>
                  </a:lnTo>
                  <a:lnTo>
                    <a:pt x="0" y="230"/>
                  </a:lnTo>
                  <a:lnTo>
                    <a:pt x="325" y="230"/>
                  </a:lnTo>
                  <a:lnTo>
                    <a:pt x="325" y="206"/>
                  </a:lnTo>
                  <a:lnTo>
                    <a:pt x="324" y="198"/>
                  </a:lnTo>
                  <a:lnTo>
                    <a:pt x="322" y="189"/>
                  </a:lnTo>
                  <a:lnTo>
                    <a:pt x="318" y="181"/>
                  </a:lnTo>
                  <a:lnTo>
                    <a:pt x="315" y="175"/>
                  </a:lnTo>
                  <a:lnTo>
                    <a:pt x="309" y="168"/>
                  </a:lnTo>
                  <a:lnTo>
                    <a:pt x="303" y="162"/>
                  </a:lnTo>
                  <a:lnTo>
                    <a:pt x="297" y="158"/>
                  </a:lnTo>
                  <a:lnTo>
                    <a:pt x="28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454">
              <a:extLst>
                <a:ext uri="{FF2B5EF4-FFF2-40B4-BE49-F238E27FC236}">
                  <a16:creationId xmlns:a16="http://schemas.microsoft.com/office/drawing/2014/main" id="{C7660E10-1967-4E4B-BC5E-33443C2F7FFA}"/>
                </a:ext>
              </a:extLst>
            </p:cNvPr>
            <p:cNvSpPr>
              <a:spLocks/>
            </p:cNvSpPr>
            <p:nvPr/>
          </p:nvSpPr>
          <p:spPr bwMode="auto">
            <a:xfrm>
              <a:off x="11642725" y="5494338"/>
              <a:ext cx="39687" cy="39688"/>
            </a:xfrm>
            <a:custGeom>
              <a:avLst/>
              <a:gdLst>
                <a:gd name="T0" fmla="*/ 96 w 100"/>
                <a:gd name="T1" fmla="*/ 96 h 100"/>
                <a:gd name="T2" fmla="*/ 99 w 100"/>
                <a:gd name="T3" fmla="*/ 92 h 100"/>
                <a:gd name="T4" fmla="*/ 100 w 100"/>
                <a:gd name="T5" fmla="*/ 87 h 100"/>
                <a:gd name="T6" fmla="*/ 99 w 100"/>
                <a:gd name="T7" fmla="*/ 83 h 100"/>
                <a:gd name="T8" fmla="*/ 96 w 100"/>
                <a:gd name="T9" fmla="*/ 80 h 100"/>
                <a:gd name="T10" fmla="*/ 20 w 100"/>
                <a:gd name="T11" fmla="*/ 4 h 100"/>
                <a:gd name="T12" fmla="*/ 17 w 100"/>
                <a:gd name="T13" fmla="*/ 1 h 100"/>
                <a:gd name="T14" fmla="*/ 11 w 100"/>
                <a:gd name="T15" fmla="*/ 0 h 100"/>
                <a:gd name="T16" fmla="*/ 8 w 100"/>
                <a:gd name="T17" fmla="*/ 1 h 100"/>
                <a:gd name="T18" fmla="*/ 4 w 100"/>
                <a:gd name="T19" fmla="*/ 4 h 100"/>
                <a:gd name="T20" fmla="*/ 1 w 100"/>
                <a:gd name="T21" fmla="*/ 8 h 100"/>
                <a:gd name="T22" fmla="*/ 0 w 100"/>
                <a:gd name="T23" fmla="*/ 11 h 100"/>
                <a:gd name="T24" fmla="*/ 1 w 100"/>
                <a:gd name="T25" fmla="*/ 17 h 100"/>
                <a:gd name="T26" fmla="*/ 4 w 100"/>
                <a:gd name="T27" fmla="*/ 20 h 100"/>
                <a:gd name="T28" fmla="*/ 79 w 100"/>
                <a:gd name="T29" fmla="*/ 96 h 100"/>
                <a:gd name="T30" fmla="*/ 83 w 100"/>
                <a:gd name="T31" fmla="*/ 99 h 100"/>
                <a:gd name="T32" fmla="*/ 87 w 100"/>
                <a:gd name="T33" fmla="*/ 100 h 100"/>
                <a:gd name="T34" fmla="*/ 92 w 100"/>
                <a:gd name="T35" fmla="*/ 99 h 100"/>
                <a:gd name="T36" fmla="*/ 96 w 100"/>
                <a:gd name="T3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00">
                  <a:moveTo>
                    <a:pt x="96" y="96"/>
                  </a:moveTo>
                  <a:lnTo>
                    <a:pt x="99" y="92"/>
                  </a:lnTo>
                  <a:lnTo>
                    <a:pt x="100" y="87"/>
                  </a:lnTo>
                  <a:lnTo>
                    <a:pt x="99" y="83"/>
                  </a:lnTo>
                  <a:lnTo>
                    <a:pt x="96" y="80"/>
                  </a:lnTo>
                  <a:lnTo>
                    <a:pt x="20" y="4"/>
                  </a:lnTo>
                  <a:lnTo>
                    <a:pt x="17" y="1"/>
                  </a:lnTo>
                  <a:lnTo>
                    <a:pt x="11" y="0"/>
                  </a:lnTo>
                  <a:lnTo>
                    <a:pt x="8" y="1"/>
                  </a:lnTo>
                  <a:lnTo>
                    <a:pt x="4" y="4"/>
                  </a:lnTo>
                  <a:lnTo>
                    <a:pt x="1" y="8"/>
                  </a:lnTo>
                  <a:lnTo>
                    <a:pt x="0" y="11"/>
                  </a:lnTo>
                  <a:lnTo>
                    <a:pt x="1" y="17"/>
                  </a:lnTo>
                  <a:lnTo>
                    <a:pt x="4" y="20"/>
                  </a:lnTo>
                  <a:lnTo>
                    <a:pt x="79" y="96"/>
                  </a:lnTo>
                  <a:lnTo>
                    <a:pt x="83" y="99"/>
                  </a:lnTo>
                  <a:lnTo>
                    <a:pt x="87" y="100"/>
                  </a:lnTo>
                  <a:lnTo>
                    <a:pt x="92" y="99"/>
                  </a:lnTo>
                  <a:lnTo>
                    <a:pt x="9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455">
              <a:extLst>
                <a:ext uri="{FF2B5EF4-FFF2-40B4-BE49-F238E27FC236}">
                  <a16:creationId xmlns:a16="http://schemas.microsoft.com/office/drawing/2014/main" id="{B8E6769C-678D-4621-B377-7F03A8DB09D1}"/>
                </a:ext>
              </a:extLst>
            </p:cNvPr>
            <p:cNvSpPr>
              <a:spLocks/>
            </p:cNvSpPr>
            <p:nvPr/>
          </p:nvSpPr>
          <p:spPr bwMode="auto">
            <a:xfrm>
              <a:off x="11806238" y="5494338"/>
              <a:ext cx="38100" cy="39688"/>
            </a:xfrm>
            <a:custGeom>
              <a:avLst/>
              <a:gdLst>
                <a:gd name="T0" fmla="*/ 78 w 98"/>
                <a:gd name="T1" fmla="*/ 4 h 100"/>
                <a:gd name="T2" fmla="*/ 2 w 98"/>
                <a:gd name="T3" fmla="*/ 80 h 100"/>
                <a:gd name="T4" fmla="*/ 0 w 98"/>
                <a:gd name="T5" fmla="*/ 83 h 100"/>
                <a:gd name="T6" fmla="*/ 0 w 98"/>
                <a:gd name="T7" fmla="*/ 87 h 100"/>
                <a:gd name="T8" fmla="*/ 0 w 98"/>
                <a:gd name="T9" fmla="*/ 92 h 100"/>
                <a:gd name="T10" fmla="*/ 2 w 98"/>
                <a:gd name="T11" fmla="*/ 96 h 100"/>
                <a:gd name="T12" fmla="*/ 7 w 98"/>
                <a:gd name="T13" fmla="*/ 99 h 100"/>
                <a:gd name="T14" fmla="*/ 11 w 98"/>
                <a:gd name="T15" fmla="*/ 100 h 100"/>
                <a:gd name="T16" fmla="*/ 16 w 98"/>
                <a:gd name="T17" fmla="*/ 99 h 100"/>
                <a:gd name="T18" fmla="*/ 20 w 98"/>
                <a:gd name="T19" fmla="*/ 96 h 100"/>
                <a:gd name="T20" fmla="*/ 96 w 98"/>
                <a:gd name="T21" fmla="*/ 20 h 100"/>
                <a:gd name="T22" fmla="*/ 98 w 98"/>
                <a:gd name="T23" fmla="*/ 17 h 100"/>
                <a:gd name="T24" fmla="*/ 98 w 98"/>
                <a:gd name="T25" fmla="*/ 11 h 100"/>
                <a:gd name="T26" fmla="*/ 98 w 98"/>
                <a:gd name="T27" fmla="*/ 8 h 100"/>
                <a:gd name="T28" fmla="*/ 96 w 98"/>
                <a:gd name="T29" fmla="*/ 4 h 100"/>
                <a:gd name="T30" fmla="*/ 92 w 98"/>
                <a:gd name="T31" fmla="*/ 1 h 100"/>
                <a:gd name="T32" fmla="*/ 87 w 98"/>
                <a:gd name="T33" fmla="*/ 0 h 100"/>
                <a:gd name="T34" fmla="*/ 83 w 98"/>
                <a:gd name="T35" fmla="*/ 1 h 100"/>
                <a:gd name="T36" fmla="*/ 78 w 98"/>
                <a:gd name="T3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8" h="100">
                  <a:moveTo>
                    <a:pt x="78" y="4"/>
                  </a:moveTo>
                  <a:lnTo>
                    <a:pt x="2" y="80"/>
                  </a:lnTo>
                  <a:lnTo>
                    <a:pt x="0" y="83"/>
                  </a:lnTo>
                  <a:lnTo>
                    <a:pt x="0" y="87"/>
                  </a:lnTo>
                  <a:lnTo>
                    <a:pt x="0" y="92"/>
                  </a:lnTo>
                  <a:lnTo>
                    <a:pt x="2" y="96"/>
                  </a:lnTo>
                  <a:lnTo>
                    <a:pt x="7" y="99"/>
                  </a:lnTo>
                  <a:lnTo>
                    <a:pt x="11" y="100"/>
                  </a:lnTo>
                  <a:lnTo>
                    <a:pt x="16" y="99"/>
                  </a:lnTo>
                  <a:lnTo>
                    <a:pt x="20" y="96"/>
                  </a:lnTo>
                  <a:lnTo>
                    <a:pt x="96" y="20"/>
                  </a:lnTo>
                  <a:lnTo>
                    <a:pt x="98" y="17"/>
                  </a:lnTo>
                  <a:lnTo>
                    <a:pt x="98" y="11"/>
                  </a:lnTo>
                  <a:lnTo>
                    <a:pt x="98" y="8"/>
                  </a:lnTo>
                  <a:lnTo>
                    <a:pt x="96" y="4"/>
                  </a:lnTo>
                  <a:lnTo>
                    <a:pt x="92" y="1"/>
                  </a:lnTo>
                  <a:lnTo>
                    <a:pt x="87" y="0"/>
                  </a:lnTo>
                  <a:lnTo>
                    <a:pt x="83" y="1"/>
                  </a:lnTo>
                  <a:lnTo>
                    <a:pt x="7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 name="Freeform 2326">
            <a:extLst>
              <a:ext uri="{FF2B5EF4-FFF2-40B4-BE49-F238E27FC236}">
                <a16:creationId xmlns:a16="http://schemas.microsoft.com/office/drawing/2014/main" id="{ECFEA1E9-CDB9-46ED-ABC1-B910177FB7E1}"/>
              </a:ext>
            </a:extLst>
          </p:cNvPr>
          <p:cNvSpPr>
            <a:spLocks noEditPoints="1"/>
          </p:cNvSpPr>
          <p:nvPr/>
        </p:nvSpPr>
        <p:spPr bwMode="auto">
          <a:xfrm>
            <a:off x="1335213" y="4823606"/>
            <a:ext cx="371881" cy="382447"/>
          </a:xfrm>
          <a:custGeom>
            <a:avLst/>
            <a:gdLst>
              <a:gd name="T0" fmla="*/ 554 w 876"/>
              <a:gd name="T1" fmla="*/ 423 h 906"/>
              <a:gd name="T2" fmla="*/ 324 w 876"/>
              <a:gd name="T3" fmla="*/ 423 h 906"/>
              <a:gd name="T4" fmla="*/ 771 w 876"/>
              <a:gd name="T5" fmla="*/ 212 h 906"/>
              <a:gd name="T6" fmla="*/ 720 w 876"/>
              <a:gd name="T7" fmla="*/ 188 h 906"/>
              <a:gd name="T8" fmla="*/ 687 w 876"/>
              <a:gd name="T9" fmla="*/ 153 h 906"/>
              <a:gd name="T10" fmla="*/ 659 w 876"/>
              <a:gd name="T11" fmla="*/ 134 h 906"/>
              <a:gd name="T12" fmla="*/ 627 w 876"/>
              <a:gd name="T13" fmla="*/ 124 h 906"/>
              <a:gd name="T14" fmla="*/ 595 w 876"/>
              <a:gd name="T15" fmla="*/ 90 h 906"/>
              <a:gd name="T16" fmla="*/ 571 w 876"/>
              <a:gd name="T17" fmla="*/ 60 h 906"/>
              <a:gd name="T18" fmla="*/ 537 w 876"/>
              <a:gd name="T19" fmla="*/ 30 h 906"/>
              <a:gd name="T20" fmla="*/ 493 w 876"/>
              <a:gd name="T21" fmla="*/ 9 h 906"/>
              <a:gd name="T22" fmla="*/ 439 w 876"/>
              <a:gd name="T23" fmla="*/ 0 h 906"/>
              <a:gd name="T24" fmla="*/ 384 w 876"/>
              <a:gd name="T25" fmla="*/ 9 h 906"/>
              <a:gd name="T26" fmla="*/ 340 w 876"/>
              <a:gd name="T27" fmla="*/ 30 h 906"/>
              <a:gd name="T28" fmla="*/ 307 w 876"/>
              <a:gd name="T29" fmla="*/ 60 h 906"/>
              <a:gd name="T30" fmla="*/ 282 w 876"/>
              <a:gd name="T31" fmla="*/ 90 h 906"/>
              <a:gd name="T32" fmla="*/ 251 w 876"/>
              <a:gd name="T33" fmla="*/ 124 h 906"/>
              <a:gd name="T34" fmla="*/ 219 w 876"/>
              <a:gd name="T35" fmla="*/ 134 h 906"/>
              <a:gd name="T36" fmla="*/ 191 w 876"/>
              <a:gd name="T37" fmla="*/ 153 h 906"/>
              <a:gd name="T38" fmla="*/ 158 w 876"/>
              <a:gd name="T39" fmla="*/ 188 h 906"/>
              <a:gd name="T40" fmla="*/ 106 w 876"/>
              <a:gd name="T41" fmla="*/ 212 h 906"/>
              <a:gd name="T42" fmla="*/ 81 w 876"/>
              <a:gd name="T43" fmla="*/ 215 h 906"/>
              <a:gd name="T44" fmla="*/ 54 w 876"/>
              <a:gd name="T45" fmla="*/ 227 h 906"/>
              <a:gd name="T46" fmla="*/ 30 w 876"/>
              <a:gd name="T47" fmla="*/ 246 h 906"/>
              <a:gd name="T48" fmla="*/ 11 w 876"/>
              <a:gd name="T49" fmla="*/ 272 h 906"/>
              <a:gd name="T50" fmla="*/ 1 w 876"/>
              <a:gd name="T51" fmla="*/ 305 h 906"/>
              <a:gd name="T52" fmla="*/ 2 w 876"/>
              <a:gd name="T53" fmla="*/ 340 h 906"/>
              <a:gd name="T54" fmla="*/ 12 w 876"/>
              <a:gd name="T55" fmla="*/ 371 h 906"/>
              <a:gd name="T56" fmla="*/ 29 w 876"/>
              <a:gd name="T57" fmla="*/ 395 h 906"/>
              <a:gd name="T58" fmla="*/ 53 w 876"/>
              <a:gd name="T59" fmla="*/ 412 h 906"/>
              <a:gd name="T60" fmla="*/ 83 w 876"/>
              <a:gd name="T61" fmla="*/ 421 h 906"/>
              <a:gd name="T62" fmla="*/ 281 w 876"/>
              <a:gd name="T63" fmla="*/ 423 h 906"/>
              <a:gd name="T64" fmla="*/ 258 w 876"/>
              <a:gd name="T65" fmla="*/ 634 h 906"/>
              <a:gd name="T66" fmla="*/ 248 w 876"/>
              <a:gd name="T67" fmla="*/ 638 h 906"/>
              <a:gd name="T68" fmla="*/ 243 w 876"/>
              <a:gd name="T69" fmla="*/ 648 h 906"/>
              <a:gd name="T70" fmla="*/ 334 w 876"/>
              <a:gd name="T71" fmla="*/ 897 h 906"/>
              <a:gd name="T72" fmla="*/ 343 w 876"/>
              <a:gd name="T73" fmla="*/ 905 h 906"/>
              <a:gd name="T74" fmla="*/ 534 w 876"/>
              <a:gd name="T75" fmla="*/ 905 h 906"/>
              <a:gd name="T76" fmla="*/ 544 w 876"/>
              <a:gd name="T77" fmla="*/ 897 h 906"/>
              <a:gd name="T78" fmla="*/ 635 w 876"/>
              <a:gd name="T79" fmla="*/ 648 h 906"/>
              <a:gd name="T80" fmla="*/ 630 w 876"/>
              <a:gd name="T81" fmla="*/ 638 h 906"/>
              <a:gd name="T82" fmla="*/ 620 w 876"/>
              <a:gd name="T83" fmla="*/ 634 h 906"/>
              <a:gd name="T84" fmla="*/ 595 w 876"/>
              <a:gd name="T85" fmla="*/ 423 h 906"/>
              <a:gd name="T86" fmla="*/ 794 w 876"/>
              <a:gd name="T87" fmla="*/ 421 h 906"/>
              <a:gd name="T88" fmla="*/ 825 w 876"/>
              <a:gd name="T89" fmla="*/ 412 h 906"/>
              <a:gd name="T90" fmla="*/ 849 w 876"/>
              <a:gd name="T91" fmla="*/ 395 h 906"/>
              <a:gd name="T92" fmla="*/ 866 w 876"/>
              <a:gd name="T93" fmla="*/ 371 h 906"/>
              <a:gd name="T94" fmla="*/ 875 w 876"/>
              <a:gd name="T95" fmla="*/ 340 h 906"/>
              <a:gd name="T96" fmla="*/ 876 w 876"/>
              <a:gd name="T97" fmla="*/ 305 h 906"/>
              <a:gd name="T98" fmla="*/ 867 w 876"/>
              <a:gd name="T99" fmla="*/ 272 h 906"/>
              <a:gd name="T100" fmla="*/ 848 w 876"/>
              <a:gd name="T101" fmla="*/ 246 h 906"/>
              <a:gd name="T102" fmla="*/ 824 w 876"/>
              <a:gd name="T103" fmla="*/ 227 h 906"/>
              <a:gd name="T104" fmla="*/ 797 w 876"/>
              <a:gd name="T105" fmla="*/ 215 h 906"/>
              <a:gd name="T106" fmla="*/ 771 w 876"/>
              <a:gd name="T107" fmla="*/ 212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6" h="906">
                <a:moveTo>
                  <a:pt x="454" y="523"/>
                </a:moveTo>
                <a:lnTo>
                  <a:pt x="454" y="423"/>
                </a:lnTo>
                <a:lnTo>
                  <a:pt x="554" y="423"/>
                </a:lnTo>
                <a:lnTo>
                  <a:pt x="454" y="523"/>
                </a:lnTo>
                <a:close/>
                <a:moveTo>
                  <a:pt x="424" y="523"/>
                </a:moveTo>
                <a:lnTo>
                  <a:pt x="324" y="423"/>
                </a:lnTo>
                <a:lnTo>
                  <a:pt x="424" y="423"/>
                </a:lnTo>
                <a:lnTo>
                  <a:pt x="424" y="523"/>
                </a:lnTo>
                <a:close/>
                <a:moveTo>
                  <a:pt x="771" y="212"/>
                </a:moveTo>
                <a:lnTo>
                  <a:pt x="735" y="212"/>
                </a:lnTo>
                <a:lnTo>
                  <a:pt x="728" y="201"/>
                </a:lnTo>
                <a:lnTo>
                  <a:pt x="720" y="188"/>
                </a:lnTo>
                <a:lnTo>
                  <a:pt x="708" y="174"/>
                </a:lnTo>
                <a:lnTo>
                  <a:pt x="694" y="160"/>
                </a:lnTo>
                <a:lnTo>
                  <a:pt x="687" y="153"/>
                </a:lnTo>
                <a:lnTo>
                  <a:pt x="678" y="146"/>
                </a:lnTo>
                <a:lnTo>
                  <a:pt x="668" y="141"/>
                </a:lnTo>
                <a:lnTo>
                  <a:pt x="659" y="134"/>
                </a:lnTo>
                <a:lnTo>
                  <a:pt x="649" y="130"/>
                </a:lnTo>
                <a:lnTo>
                  <a:pt x="638" y="127"/>
                </a:lnTo>
                <a:lnTo>
                  <a:pt x="627" y="124"/>
                </a:lnTo>
                <a:lnTo>
                  <a:pt x="615" y="123"/>
                </a:lnTo>
                <a:lnTo>
                  <a:pt x="607" y="109"/>
                </a:lnTo>
                <a:lnTo>
                  <a:pt x="595" y="90"/>
                </a:lnTo>
                <a:lnTo>
                  <a:pt x="588" y="81"/>
                </a:lnTo>
                <a:lnTo>
                  <a:pt x="580" y="70"/>
                </a:lnTo>
                <a:lnTo>
                  <a:pt x="571" y="60"/>
                </a:lnTo>
                <a:lnTo>
                  <a:pt x="560" y="50"/>
                </a:lnTo>
                <a:lnTo>
                  <a:pt x="549" y="40"/>
                </a:lnTo>
                <a:lnTo>
                  <a:pt x="537" y="30"/>
                </a:lnTo>
                <a:lnTo>
                  <a:pt x="524" y="22"/>
                </a:lnTo>
                <a:lnTo>
                  <a:pt x="509" y="14"/>
                </a:lnTo>
                <a:lnTo>
                  <a:pt x="493" y="9"/>
                </a:lnTo>
                <a:lnTo>
                  <a:pt x="476" y="4"/>
                </a:lnTo>
                <a:lnTo>
                  <a:pt x="458" y="1"/>
                </a:lnTo>
                <a:lnTo>
                  <a:pt x="439" y="0"/>
                </a:lnTo>
                <a:lnTo>
                  <a:pt x="420" y="1"/>
                </a:lnTo>
                <a:lnTo>
                  <a:pt x="401" y="4"/>
                </a:lnTo>
                <a:lnTo>
                  <a:pt x="384" y="9"/>
                </a:lnTo>
                <a:lnTo>
                  <a:pt x="369" y="14"/>
                </a:lnTo>
                <a:lnTo>
                  <a:pt x="354" y="22"/>
                </a:lnTo>
                <a:lnTo>
                  <a:pt x="340" y="30"/>
                </a:lnTo>
                <a:lnTo>
                  <a:pt x="328" y="40"/>
                </a:lnTo>
                <a:lnTo>
                  <a:pt x="317" y="50"/>
                </a:lnTo>
                <a:lnTo>
                  <a:pt x="307" y="60"/>
                </a:lnTo>
                <a:lnTo>
                  <a:pt x="297" y="70"/>
                </a:lnTo>
                <a:lnTo>
                  <a:pt x="289" y="81"/>
                </a:lnTo>
                <a:lnTo>
                  <a:pt x="282" y="90"/>
                </a:lnTo>
                <a:lnTo>
                  <a:pt x="271" y="109"/>
                </a:lnTo>
                <a:lnTo>
                  <a:pt x="263" y="123"/>
                </a:lnTo>
                <a:lnTo>
                  <a:pt x="251" y="124"/>
                </a:lnTo>
                <a:lnTo>
                  <a:pt x="239" y="127"/>
                </a:lnTo>
                <a:lnTo>
                  <a:pt x="229" y="130"/>
                </a:lnTo>
                <a:lnTo>
                  <a:pt x="219" y="134"/>
                </a:lnTo>
                <a:lnTo>
                  <a:pt x="209" y="141"/>
                </a:lnTo>
                <a:lnTo>
                  <a:pt x="200" y="146"/>
                </a:lnTo>
                <a:lnTo>
                  <a:pt x="191" y="153"/>
                </a:lnTo>
                <a:lnTo>
                  <a:pt x="184" y="160"/>
                </a:lnTo>
                <a:lnTo>
                  <a:pt x="170" y="174"/>
                </a:lnTo>
                <a:lnTo>
                  <a:pt x="158" y="188"/>
                </a:lnTo>
                <a:lnTo>
                  <a:pt x="149" y="201"/>
                </a:lnTo>
                <a:lnTo>
                  <a:pt x="143" y="212"/>
                </a:lnTo>
                <a:lnTo>
                  <a:pt x="106" y="212"/>
                </a:lnTo>
                <a:lnTo>
                  <a:pt x="98" y="212"/>
                </a:lnTo>
                <a:lnTo>
                  <a:pt x="89" y="213"/>
                </a:lnTo>
                <a:lnTo>
                  <a:pt x="81" y="215"/>
                </a:lnTo>
                <a:lnTo>
                  <a:pt x="72" y="218"/>
                </a:lnTo>
                <a:lnTo>
                  <a:pt x="62" y="222"/>
                </a:lnTo>
                <a:lnTo>
                  <a:pt x="54" y="227"/>
                </a:lnTo>
                <a:lnTo>
                  <a:pt x="45" y="232"/>
                </a:lnTo>
                <a:lnTo>
                  <a:pt x="38" y="238"/>
                </a:lnTo>
                <a:lnTo>
                  <a:pt x="30" y="246"/>
                </a:lnTo>
                <a:lnTo>
                  <a:pt x="23" y="253"/>
                </a:lnTo>
                <a:lnTo>
                  <a:pt x="16" y="262"/>
                </a:lnTo>
                <a:lnTo>
                  <a:pt x="11" y="272"/>
                </a:lnTo>
                <a:lnTo>
                  <a:pt x="7" y="282"/>
                </a:lnTo>
                <a:lnTo>
                  <a:pt x="3" y="293"/>
                </a:lnTo>
                <a:lnTo>
                  <a:pt x="1" y="305"/>
                </a:lnTo>
                <a:lnTo>
                  <a:pt x="0" y="317"/>
                </a:lnTo>
                <a:lnTo>
                  <a:pt x="1" y="330"/>
                </a:lnTo>
                <a:lnTo>
                  <a:pt x="2" y="340"/>
                </a:lnTo>
                <a:lnTo>
                  <a:pt x="5" y="351"/>
                </a:lnTo>
                <a:lnTo>
                  <a:pt x="8" y="362"/>
                </a:lnTo>
                <a:lnTo>
                  <a:pt x="12" y="371"/>
                </a:lnTo>
                <a:lnTo>
                  <a:pt x="17" y="380"/>
                </a:lnTo>
                <a:lnTo>
                  <a:pt x="23" y="387"/>
                </a:lnTo>
                <a:lnTo>
                  <a:pt x="29" y="395"/>
                </a:lnTo>
                <a:lnTo>
                  <a:pt x="37" y="401"/>
                </a:lnTo>
                <a:lnTo>
                  <a:pt x="44" y="407"/>
                </a:lnTo>
                <a:lnTo>
                  <a:pt x="53" y="412"/>
                </a:lnTo>
                <a:lnTo>
                  <a:pt x="62" y="415"/>
                </a:lnTo>
                <a:lnTo>
                  <a:pt x="72" y="419"/>
                </a:lnTo>
                <a:lnTo>
                  <a:pt x="83" y="421"/>
                </a:lnTo>
                <a:lnTo>
                  <a:pt x="95" y="422"/>
                </a:lnTo>
                <a:lnTo>
                  <a:pt x="106" y="423"/>
                </a:lnTo>
                <a:lnTo>
                  <a:pt x="281" y="423"/>
                </a:lnTo>
                <a:lnTo>
                  <a:pt x="424" y="567"/>
                </a:lnTo>
                <a:lnTo>
                  <a:pt x="424" y="634"/>
                </a:lnTo>
                <a:lnTo>
                  <a:pt x="258" y="634"/>
                </a:lnTo>
                <a:lnTo>
                  <a:pt x="253" y="635"/>
                </a:lnTo>
                <a:lnTo>
                  <a:pt x="250" y="636"/>
                </a:lnTo>
                <a:lnTo>
                  <a:pt x="248" y="638"/>
                </a:lnTo>
                <a:lnTo>
                  <a:pt x="245" y="642"/>
                </a:lnTo>
                <a:lnTo>
                  <a:pt x="244" y="645"/>
                </a:lnTo>
                <a:lnTo>
                  <a:pt x="243" y="648"/>
                </a:lnTo>
                <a:lnTo>
                  <a:pt x="243" y="651"/>
                </a:lnTo>
                <a:lnTo>
                  <a:pt x="244" y="656"/>
                </a:lnTo>
                <a:lnTo>
                  <a:pt x="334" y="897"/>
                </a:lnTo>
                <a:lnTo>
                  <a:pt x="336" y="901"/>
                </a:lnTo>
                <a:lnTo>
                  <a:pt x="339" y="903"/>
                </a:lnTo>
                <a:lnTo>
                  <a:pt x="343" y="905"/>
                </a:lnTo>
                <a:lnTo>
                  <a:pt x="348" y="906"/>
                </a:lnTo>
                <a:lnTo>
                  <a:pt x="529" y="906"/>
                </a:lnTo>
                <a:lnTo>
                  <a:pt x="534" y="905"/>
                </a:lnTo>
                <a:lnTo>
                  <a:pt x="538" y="903"/>
                </a:lnTo>
                <a:lnTo>
                  <a:pt x="541" y="901"/>
                </a:lnTo>
                <a:lnTo>
                  <a:pt x="544" y="897"/>
                </a:lnTo>
                <a:lnTo>
                  <a:pt x="634" y="656"/>
                </a:lnTo>
                <a:lnTo>
                  <a:pt x="635" y="651"/>
                </a:lnTo>
                <a:lnTo>
                  <a:pt x="635" y="648"/>
                </a:lnTo>
                <a:lnTo>
                  <a:pt x="634" y="645"/>
                </a:lnTo>
                <a:lnTo>
                  <a:pt x="632" y="642"/>
                </a:lnTo>
                <a:lnTo>
                  <a:pt x="630" y="638"/>
                </a:lnTo>
                <a:lnTo>
                  <a:pt x="627" y="636"/>
                </a:lnTo>
                <a:lnTo>
                  <a:pt x="623" y="635"/>
                </a:lnTo>
                <a:lnTo>
                  <a:pt x="620" y="634"/>
                </a:lnTo>
                <a:lnTo>
                  <a:pt x="454" y="634"/>
                </a:lnTo>
                <a:lnTo>
                  <a:pt x="454" y="567"/>
                </a:lnTo>
                <a:lnTo>
                  <a:pt x="595" y="423"/>
                </a:lnTo>
                <a:lnTo>
                  <a:pt x="771" y="423"/>
                </a:lnTo>
                <a:lnTo>
                  <a:pt x="783" y="422"/>
                </a:lnTo>
                <a:lnTo>
                  <a:pt x="794" y="421"/>
                </a:lnTo>
                <a:lnTo>
                  <a:pt x="805" y="419"/>
                </a:lnTo>
                <a:lnTo>
                  <a:pt x="815" y="415"/>
                </a:lnTo>
                <a:lnTo>
                  <a:pt x="825" y="412"/>
                </a:lnTo>
                <a:lnTo>
                  <a:pt x="834" y="407"/>
                </a:lnTo>
                <a:lnTo>
                  <a:pt x="841" y="401"/>
                </a:lnTo>
                <a:lnTo>
                  <a:pt x="849" y="395"/>
                </a:lnTo>
                <a:lnTo>
                  <a:pt x="855" y="387"/>
                </a:lnTo>
                <a:lnTo>
                  <a:pt x="860" y="380"/>
                </a:lnTo>
                <a:lnTo>
                  <a:pt x="866" y="371"/>
                </a:lnTo>
                <a:lnTo>
                  <a:pt x="869" y="362"/>
                </a:lnTo>
                <a:lnTo>
                  <a:pt x="872" y="351"/>
                </a:lnTo>
                <a:lnTo>
                  <a:pt x="875" y="340"/>
                </a:lnTo>
                <a:lnTo>
                  <a:pt x="876" y="330"/>
                </a:lnTo>
                <a:lnTo>
                  <a:pt x="876" y="317"/>
                </a:lnTo>
                <a:lnTo>
                  <a:pt x="876" y="305"/>
                </a:lnTo>
                <a:lnTo>
                  <a:pt x="874" y="293"/>
                </a:lnTo>
                <a:lnTo>
                  <a:pt x="871" y="282"/>
                </a:lnTo>
                <a:lnTo>
                  <a:pt x="867" y="272"/>
                </a:lnTo>
                <a:lnTo>
                  <a:pt x="861" y="262"/>
                </a:lnTo>
                <a:lnTo>
                  <a:pt x="855" y="253"/>
                </a:lnTo>
                <a:lnTo>
                  <a:pt x="848" y="246"/>
                </a:lnTo>
                <a:lnTo>
                  <a:pt x="840" y="238"/>
                </a:lnTo>
                <a:lnTo>
                  <a:pt x="833" y="232"/>
                </a:lnTo>
                <a:lnTo>
                  <a:pt x="824" y="227"/>
                </a:lnTo>
                <a:lnTo>
                  <a:pt x="814" y="222"/>
                </a:lnTo>
                <a:lnTo>
                  <a:pt x="806" y="218"/>
                </a:lnTo>
                <a:lnTo>
                  <a:pt x="797" y="215"/>
                </a:lnTo>
                <a:lnTo>
                  <a:pt x="787" y="213"/>
                </a:lnTo>
                <a:lnTo>
                  <a:pt x="779" y="212"/>
                </a:lnTo>
                <a:lnTo>
                  <a:pt x="771" y="21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2" name="Group 71">
            <a:extLst>
              <a:ext uri="{FF2B5EF4-FFF2-40B4-BE49-F238E27FC236}">
                <a16:creationId xmlns:a16="http://schemas.microsoft.com/office/drawing/2014/main" id="{BFFB22BE-127E-4100-B6E4-22DF1BD7F6F0}"/>
              </a:ext>
            </a:extLst>
          </p:cNvPr>
          <p:cNvGrpSpPr/>
          <p:nvPr/>
        </p:nvGrpSpPr>
        <p:grpSpPr>
          <a:xfrm>
            <a:off x="4363201" y="2278689"/>
            <a:ext cx="380334" cy="331736"/>
            <a:chOff x="9312275" y="5386388"/>
            <a:chExt cx="285750" cy="249238"/>
          </a:xfrm>
          <a:solidFill>
            <a:schemeClr val="accent3">
              <a:lumMod val="40000"/>
              <a:lumOff val="60000"/>
            </a:schemeClr>
          </a:solidFill>
        </p:grpSpPr>
        <p:sp>
          <p:nvSpPr>
            <p:cNvPr id="73" name="Freeform 3445">
              <a:extLst>
                <a:ext uri="{FF2B5EF4-FFF2-40B4-BE49-F238E27FC236}">
                  <a16:creationId xmlns:a16="http://schemas.microsoft.com/office/drawing/2014/main" id="{387BE47F-7E39-404F-9A40-86CECEA2B89E}"/>
                </a:ext>
              </a:extLst>
            </p:cNvPr>
            <p:cNvSpPr>
              <a:spLocks/>
            </p:cNvSpPr>
            <p:nvPr/>
          </p:nvSpPr>
          <p:spPr bwMode="auto">
            <a:xfrm>
              <a:off x="9312275" y="5386388"/>
              <a:ext cx="225425" cy="249238"/>
            </a:xfrm>
            <a:custGeom>
              <a:avLst/>
              <a:gdLst>
                <a:gd name="T0" fmla="*/ 384 w 569"/>
                <a:gd name="T1" fmla="*/ 376 h 628"/>
                <a:gd name="T2" fmla="*/ 359 w 569"/>
                <a:gd name="T3" fmla="*/ 309 h 628"/>
                <a:gd name="T4" fmla="*/ 379 w 569"/>
                <a:gd name="T5" fmla="*/ 290 h 628"/>
                <a:gd name="T6" fmla="*/ 397 w 569"/>
                <a:gd name="T7" fmla="*/ 253 h 628"/>
                <a:gd name="T8" fmla="*/ 406 w 569"/>
                <a:gd name="T9" fmla="*/ 213 h 628"/>
                <a:gd name="T10" fmla="*/ 415 w 569"/>
                <a:gd name="T11" fmla="*/ 203 h 628"/>
                <a:gd name="T12" fmla="*/ 420 w 569"/>
                <a:gd name="T13" fmla="*/ 184 h 628"/>
                <a:gd name="T14" fmla="*/ 416 w 569"/>
                <a:gd name="T15" fmla="*/ 154 h 628"/>
                <a:gd name="T16" fmla="*/ 411 w 569"/>
                <a:gd name="T17" fmla="*/ 123 h 628"/>
                <a:gd name="T18" fmla="*/ 420 w 569"/>
                <a:gd name="T19" fmla="*/ 78 h 628"/>
                <a:gd name="T20" fmla="*/ 415 w 569"/>
                <a:gd name="T21" fmla="*/ 46 h 628"/>
                <a:gd name="T22" fmla="*/ 402 w 569"/>
                <a:gd name="T23" fmla="*/ 28 h 628"/>
                <a:gd name="T24" fmla="*/ 382 w 569"/>
                <a:gd name="T25" fmla="*/ 15 h 628"/>
                <a:gd name="T26" fmla="*/ 341 w 569"/>
                <a:gd name="T27" fmla="*/ 3 h 628"/>
                <a:gd name="T28" fmla="*/ 291 w 569"/>
                <a:gd name="T29" fmla="*/ 1 h 628"/>
                <a:gd name="T30" fmla="*/ 245 w 569"/>
                <a:gd name="T31" fmla="*/ 10 h 628"/>
                <a:gd name="T32" fmla="*/ 213 w 569"/>
                <a:gd name="T33" fmla="*/ 27 h 628"/>
                <a:gd name="T34" fmla="*/ 200 w 569"/>
                <a:gd name="T35" fmla="*/ 42 h 628"/>
                <a:gd name="T36" fmla="*/ 181 w 569"/>
                <a:gd name="T37" fmla="*/ 44 h 628"/>
                <a:gd name="T38" fmla="*/ 163 w 569"/>
                <a:gd name="T39" fmla="*/ 56 h 628"/>
                <a:gd name="T40" fmla="*/ 154 w 569"/>
                <a:gd name="T41" fmla="*/ 86 h 628"/>
                <a:gd name="T42" fmla="*/ 164 w 569"/>
                <a:gd name="T43" fmla="*/ 139 h 628"/>
                <a:gd name="T44" fmla="*/ 160 w 569"/>
                <a:gd name="T45" fmla="*/ 141 h 628"/>
                <a:gd name="T46" fmla="*/ 153 w 569"/>
                <a:gd name="T47" fmla="*/ 154 h 628"/>
                <a:gd name="T48" fmla="*/ 149 w 569"/>
                <a:gd name="T49" fmla="*/ 184 h 628"/>
                <a:gd name="T50" fmla="*/ 153 w 569"/>
                <a:gd name="T51" fmla="*/ 202 h 628"/>
                <a:gd name="T52" fmla="*/ 163 w 569"/>
                <a:gd name="T53" fmla="*/ 213 h 628"/>
                <a:gd name="T54" fmla="*/ 169 w 569"/>
                <a:gd name="T55" fmla="*/ 236 h 628"/>
                <a:gd name="T56" fmla="*/ 180 w 569"/>
                <a:gd name="T57" fmla="*/ 268 h 628"/>
                <a:gd name="T58" fmla="*/ 203 w 569"/>
                <a:gd name="T59" fmla="*/ 299 h 628"/>
                <a:gd name="T60" fmla="*/ 215 w 569"/>
                <a:gd name="T61" fmla="*/ 367 h 628"/>
                <a:gd name="T62" fmla="*/ 177 w 569"/>
                <a:gd name="T63" fmla="*/ 381 h 628"/>
                <a:gd name="T64" fmla="*/ 111 w 569"/>
                <a:gd name="T65" fmla="*/ 404 h 628"/>
                <a:gd name="T66" fmla="*/ 47 w 569"/>
                <a:gd name="T67" fmla="*/ 434 h 628"/>
                <a:gd name="T68" fmla="*/ 22 w 569"/>
                <a:gd name="T69" fmla="*/ 456 h 628"/>
                <a:gd name="T70" fmla="*/ 10 w 569"/>
                <a:gd name="T71" fmla="*/ 487 h 628"/>
                <a:gd name="T72" fmla="*/ 1 w 569"/>
                <a:gd name="T73" fmla="*/ 557 h 628"/>
                <a:gd name="T74" fmla="*/ 0 w 569"/>
                <a:gd name="T75" fmla="*/ 620 h 628"/>
                <a:gd name="T76" fmla="*/ 11 w 569"/>
                <a:gd name="T77" fmla="*/ 628 h 628"/>
                <a:gd name="T78" fmla="*/ 565 w 569"/>
                <a:gd name="T79" fmla="*/ 624 h 628"/>
                <a:gd name="T80" fmla="*/ 569 w 569"/>
                <a:gd name="T81" fmla="*/ 597 h 628"/>
                <a:gd name="T82" fmla="*/ 562 w 569"/>
                <a:gd name="T83" fmla="*/ 510 h 628"/>
                <a:gd name="T84" fmla="*/ 551 w 569"/>
                <a:gd name="T85" fmla="*/ 461 h 628"/>
                <a:gd name="T86" fmla="*/ 537 w 569"/>
                <a:gd name="T87" fmla="*/ 444 h 628"/>
                <a:gd name="T88" fmla="*/ 484 w 569"/>
                <a:gd name="T89" fmla="*/ 413 h 628"/>
                <a:gd name="T90" fmla="*/ 408 w 569"/>
                <a:gd name="T91" fmla="*/ 38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28">
                  <a:moveTo>
                    <a:pt x="408" y="385"/>
                  </a:moveTo>
                  <a:lnTo>
                    <a:pt x="397" y="380"/>
                  </a:lnTo>
                  <a:lnTo>
                    <a:pt x="384" y="376"/>
                  </a:lnTo>
                  <a:lnTo>
                    <a:pt x="372" y="372"/>
                  </a:lnTo>
                  <a:lnTo>
                    <a:pt x="359" y="367"/>
                  </a:lnTo>
                  <a:lnTo>
                    <a:pt x="359" y="309"/>
                  </a:lnTo>
                  <a:lnTo>
                    <a:pt x="366" y="306"/>
                  </a:lnTo>
                  <a:lnTo>
                    <a:pt x="371" y="299"/>
                  </a:lnTo>
                  <a:lnTo>
                    <a:pt x="379" y="290"/>
                  </a:lnTo>
                  <a:lnTo>
                    <a:pt x="385" y="280"/>
                  </a:lnTo>
                  <a:lnTo>
                    <a:pt x="390" y="268"/>
                  </a:lnTo>
                  <a:lnTo>
                    <a:pt x="397" y="253"/>
                  </a:lnTo>
                  <a:lnTo>
                    <a:pt x="400" y="236"/>
                  </a:lnTo>
                  <a:lnTo>
                    <a:pt x="402" y="216"/>
                  </a:lnTo>
                  <a:lnTo>
                    <a:pt x="406" y="213"/>
                  </a:lnTo>
                  <a:lnTo>
                    <a:pt x="409" y="211"/>
                  </a:lnTo>
                  <a:lnTo>
                    <a:pt x="412" y="207"/>
                  </a:lnTo>
                  <a:lnTo>
                    <a:pt x="415" y="203"/>
                  </a:lnTo>
                  <a:lnTo>
                    <a:pt x="417" y="198"/>
                  </a:lnTo>
                  <a:lnTo>
                    <a:pt x="418" y="191"/>
                  </a:lnTo>
                  <a:lnTo>
                    <a:pt x="420" y="184"/>
                  </a:lnTo>
                  <a:lnTo>
                    <a:pt x="420" y="177"/>
                  </a:lnTo>
                  <a:lnTo>
                    <a:pt x="418" y="164"/>
                  </a:lnTo>
                  <a:lnTo>
                    <a:pt x="416" y="154"/>
                  </a:lnTo>
                  <a:lnTo>
                    <a:pt x="411" y="145"/>
                  </a:lnTo>
                  <a:lnTo>
                    <a:pt x="406" y="140"/>
                  </a:lnTo>
                  <a:lnTo>
                    <a:pt x="411" y="123"/>
                  </a:lnTo>
                  <a:lnTo>
                    <a:pt x="417" y="101"/>
                  </a:lnTo>
                  <a:lnTo>
                    <a:pt x="418" y="90"/>
                  </a:lnTo>
                  <a:lnTo>
                    <a:pt x="420" y="78"/>
                  </a:lnTo>
                  <a:lnTo>
                    <a:pt x="420" y="65"/>
                  </a:lnTo>
                  <a:lnTo>
                    <a:pt x="417" y="53"/>
                  </a:lnTo>
                  <a:lnTo>
                    <a:pt x="415" y="46"/>
                  </a:lnTo>
                  <a:lnTo>
                    <a:pt x="412" y="40"/>
                  </a:lnTo>
                  <a:lnTo>
                    <a:pt x="407" y="33"/>
                  </a:lnTo>
                  <a:lnTo>
                    <a:pt x="402" y="28"/>
                  </a:lnTo>
                  <a:lnTo>
                    <a:pt x="397" y="23"/>
                  </a:lnTo>
                  <a:lnTo>
                    <a:pt x="390" y="19"/>
                  </a:lnTo>
                  <a:lnTo>
                    <a:pt x="382" y="15"/>
                  </a:lnTo>
                  <a:lnTo>
                    <a:pt x="375" y="11"/>
                  </a:lnTo>
                  <a:lnTo>
                    <a:pt x="359" y="6"/>
                  </a:lnTo>
                  <a:lnTo>
                    <a:pt x="341" y="3"/>
                  </a:lnTo>
                  <a:lnTo>
                    <a:pt x="325" y="1"/>
                  </a:lnTo>
                  <a:lnTo>
                    <a:pt x="307" y="0"/>
                  </a:lnTo>
                  <a:lnTo>
                    <a:pt x="291" y="1"/>
                  </a:lnTo>
                  <a:lnTo>
                    <a:pt x="276" y="3"/>
                  </a:lnTo>
                  <a:lnTo>
                    <a:pt x="259" y="5"/>
                  </a:lnTo>
                  <a:lnTo>
                    <a:pt x="245" y="10"/>
                  </a:lnTo>
                  <a:lnTo>
                    <a:pt x="231" y="15"/>
                  </a:lnTo>
                  <a:lnTo>
                    <a:pt x="218" y="23"/>
                  </a:lnTo>
                  <a:lnTo>
                    <a:pt x="213" y="27"/>
                  </a:lnTo>
                  <a:lnTo>
                    <a:pt x="208" y="32"/>
                  </a:lnTo>
                  <a:lnTo>
                    <a:pt x="204" y="37"/>
                  </a:lnTo>
                  <a:lnTo>
                    <a:pt x="200" y="42"/>
                  </a:lnTo>
                  <a:lnTo>
                    <a:pt x="194" y="42"/>
                  </a:lnTo>
                  <a:lnTo>
                    <a:pt x="186" y="42"/>
                  </a:lnTo>
                  <a:lnTo>
                    <a:pt x="181" y="44"/>
                  </a:lnTo>
                  <a:lnTo>
                    <a:pt x="176" y="46"/>
                  </a:lnTo>
                  <a:lnTo>
                    <a:pt x="168" y="51"/>
                  </a:lnTo>
                  <a:lnTo>
                    <a:pt x="163" y="56"/>
                  </a:lnTo>
                  <a:lnTo>
                    <a:pt x="158" y="65"/>
                  </a:lnTo>
                  <a:lnTo>
                    <a:pt x="155" y="76"/>
                  </a:lnTo>
                  <a:lnTo>
                    <a:pt x="154" y="86"/>
                  </a:lnTo>
                  <a:lnTo>
                    <a:pt x="155" y="98"/>
                  </a:lnTo>
                  <a:lnTo>
                    <a:pt x="159" y="119"/>
                  </a:lnTo>
                  <a:lnTo>
                    <a:pt x="164" y="139"/>
                  </a:lnTo>
                  <a:lnTo>
                    <a:pt x="164" y="139"/>
                  </a:lnTo>
                  <a:lnTo>
                    <a:pt x="164" y="139"/>
                  </a:lnTo>
                  <a:lnTo>
                    <a:pt x="160" y="141"/>
                  </a:lnTo>
                  <a:lnTo>
                    <a:pt x="158" y="145"/>
                  </a:lnTo>
                  <a:lnTo>
                    <a:pt x="155" y="149"/>
                  </a:lnTo>
                  <a:lnTo>
                    <a:pt x="153" y="154"/>
                  </a:lnTo>
                  <a:lnTo>
                    <a:pt x="149" y="164"/>
                  </a:lnTo>
                  <a:lnTo>
                    <a:pt x="149" y="177"/>
                  </a:lnTo>
                  <a:lnTo>
                    <a:pt x="149" y="184"/>
                  </a:lnTo>
                  <a:lnTo>
                    <a:pt x="150" y="190"/>
                  </a:lnTo>
                  <a:lnTo>
                    <a:pt x="151" y="196"/>
                  </a:lnTo>
                  <a:lnTo>
                    <a:pt x="153" y="202"/>
                  </a:lnTo>
                  <a:lnTo>
                    <a:pt x="155" y="205"/>
                  </a:lnTo>
                  <a:lnTo>
                    <a:pt x="159" y="211"/>
                  </a:lnTo>
                  <a:lnTo>
                    <a:pt x="163" y="213"/>
                  </a:lnTo>
                  <a:lnTo>
                    <a:pt x="167" y="216"/>
                  </a:lnTo>
                  <a:lnTo>
                    <a:pt x="167" y="226"/>
                  </a:lnTo>
                  <a:lnTo>
                    <a:pt x="169" y="236"/>
                  </a:lnTo>
                  <a:lnTo>
                    <a:pt x="171" y="245"/>
                  </a:lnTo>
                  <a:lnTo>
                    <a:pt x="173" y="253"/>
                  </a:lnTo>
                  <a:lnTo>
                    <a:pt x="180" y="268"/>
                  </a:lnTo>
                  <a:lnTo>
                    <a:pt x="187" y="281"/>
                  </a:lnTo>
                  <a:lnTo>
                    <a:pt x="195" y="291"/>
                  </a:lnTo>
                  <a:lnTo>
                    <a:pt x="203" y="299"/>
                  </a:lnTo>
                  <a:lnTo>
                    <a:pt x="209" y="306"/>
                  </a:lnTo>
                  <a:lnTo>
                    <a:pt x="215" y="311"/>
                  </a:lnTo>
                  <a:lnTo>
                    <a:pt x="215" y="367"/>
                  </a:lnTo>
                  <a:lnTo>
                    <a:pt x="203" y="372"/>
                  </a:lnTo>
                  <a:lnTo>
                    <a:pt x="190" y="376"/>
                  </a:lnTo>
                  <a:lnTo>
                    <a:pt x="177" y="381"/>
                  </a:lnTo>
                  <a:lnTo>
                    <a:pt x="164" y="385"/>
                  </a:lnTo>
                  <a:lnTo>
                    <a:pt x="137" y="395"/>
                  </a:lnTo>
                  <a:lnTo>
                    <a:pt x="111" y="404"/>
                  </a:lnTo>
                  <a:lnTo>
                    <a:pt x="87" y="413"/>
                  </a:lnTo>
                  <a:lnTo>
                    <a:pt x="65" y="424"/>
                  </a:lnTo>
                  <a:lnTo>
                    <a:pt x="47" y="434"/>
                  </a:lnTo>
                  <a:lnTo>
                    <a:pt x="32" y="444"/>
                  </a:lnTo>
                  <a:lnTo>
                    <a:pt x="25" y="449"/>
                  </a:lnTo>
                  <a:lnTo>
                    <a:pt x="22" y="456"/>
                  </a:lnTo>
                  <a:lnTo>
                    <a:pt x="18" y="462"/>
                  </a:lnTo>
                  <a:lnTo>
                    <a:pt x="14" y="467"/>
                  </a:lnTo>
                  <a:lnTo>
                    <a:pt x="10" y="487"/>
                  </a:lnTo>
                  <a:lnTo>
                    <a:pt x="6" y="510"/>
                  </a:lnTo>
                  <a:lnTo>
                    <a:pt x="4" y="533"/>
                  </a:lnTo>
                  <a:lnTo>
                    <a:pt x="1" y="557"/>
                  </a:lnTo>
                  <a:lnTo>
                    <a:pt x="0" y="597"/>
                  </a:lnTo>
                  <a:lnTo>
                    <a:pt x="0" y="616"/>
                  </a:lnTo>
                  <a:lnTo>
                    <a:pt x="0" y="620"/>
                  </a:lnTo>
                  <a:lnTo>
                    <a:pt x="2" y="624"/>
                  </a:lnTo>
                  <a:lnTo>
                    <a:pt x="6" y="627"/>
                  </a:lnTo>
                  <a:lnTo>
                    <a:pt x="11" y="628"/>
                  </a:lnTo>
                  <a:lnTo>
                    <a:pt x="557" y="628"/>
                  </a:lnTo>
                  <a:lnTo>
                    <a:pt x="561" y="627"/>
                  </a:lnTo>
                  <a:lnTo>
                    <a:pt x="565" y="624"/>
                  </a:lnTo>
                  <a:lnTo>
                    <a:pt x="567" y="620"/>
                  </a:lnTo>
                  <a:lnTo>
                    <a:pt x="569" y="616"/>
                  </a:lnTo>
                  <a:lnTo>
                    <a:pt x="569" y="597"/>
                  </a:lnTo>
                  <a:lnTo>
                    <a:pt x="567" y="557"/>
                  </a:lnTo>
                  <a:lnTo>
                    <a:pt x="565" y="533"/>
                  </a:lnTo>
                  <a:lnTo>
                    <a:pt x="562" y="510"/>
                  </a:lnTo>
                  <a:lnTo>
                    <a:pt x="558" y="487"/>
                  </a:lnTo>
                  <a:lnTo>
                    <a:pt x="555" y="467"/>
                  </a:lnTo>
                  <a:lnTo>
                    <a:pt x="551" y="461"/>
                  </a:lnTo>
                  <a:lnTo>
                    <a:pt x="547" y="456"/>
                  </a:lnTo>
                  <a:lnTo>
                    <a:pt x="543" y="449"/>
                  </a:lnTo>
                  <a:lnTo>
                    <a:pt x="537" y="444"/>
                  </a:lnTo>
                  <a:lnTo>
                    <a:pt x="522" y="433"/>
                  </a:lnTo>
                  <a:lnTo>
                    <a:pt x="504" y="422"/>
                  </a:lnTo>
                  <a:lnTo>
                    <a:pt x="484" y="413"/>
                  </a:lnTo>
                  <a:lnTo>
                    <a:pt x="461" y="404"/>
                  </a:lnTo>
                  <a:lnTo>
                    <a:pt x="435" y="394"/>
                  </a:lnTo>
                  <a:lnTo>
                    <a:pt x="408"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446">
              <a:extLst>
                <a:ext uri="{FF2B5EF4-FFF2-40B4-BE49-F238E27FC236}">
                  <a16:creationId xmlns:a16="http://schemas.microsoft.com/office/drawing/2014/main" id="{EE796753-86AE-49E3-B7D0-817CB8D8C4A2}"/>
                </a:ext>
              </a:extLst>
            </p:cNvPr>
            <p:cNvSpPr>
              <a:spLocks/>
            </p:cNvSpPr>
            <p:nvPr/>
          </p:nvSpPr>
          <p:spPr bwMode="auto">
            <a:xfrm>
              <a:off x="9485313" y="5387975"/>
              <a:ext cx="112712" cy="247650"/>
            </a:xfrm>
            <a:custGeom>
              <a:avLst/>
              <a:gdLst>
                <a:gd name="T0" fmla="*/ 258 w 281"/>
                <a:gd name="T1" fmla="*/ 450 h 625"/>
                <a:gd name="T2" fmla="*/ 234 w 281"/>
                <a:gd name="T3" fmla="*/ 428 h 625"/>
                <a:gd name="T4" fmla="*/ 199 w 281"/>
                <a:gd name="T5" fmla="*/ 408 h 625"/>
                <a:gd name="T6" fmla="*/ 103 w 281"/>
                <a:gd name="T7" fmla="*/ 367 h 625"/>
                <a:gd name="T8" fmla="*/ 65 w 281"/>
                <a:gd name="T9" fmla="*/ 319 h 625"/>
                <a:gd name="T10" fmla="*/ 86 w 281"/>
                <a:gd name="T11" fmla="*/ 301 h 625"/>
                <a:gd name="T12" fmla="*/ 108 w 281"/>
                <a:gd name="T13" fmla="*/ 265 h 625"/>
                <a:gd name="T14" fmla="*/ 113 w 281"/>
                <a:gd name="T15" fmla="*/ 238 h 625"/>
                <a:gd name="T16" fmla="*/ 122 w 281"/>
                <a:gd name="T17" fmla="*/ 223 h 625"/>
                <a:gd name="T18" fmla="*/ 130 w 281"/>
                <a:gd name="T19" fmla="*/ 209 h 625"/>
                <a:gd name="T20" fmla="*/ 132 w 281"/>
                <a:gd name="T21" fmla="*/ 188 h 625"/>
                <a:gd name="T22" fmla="*/ 123 w 281"/>
                <a:gd name="T23" fmla="*/ 157 h 625"/>
                <a:gd name="T24" fmla="*/ 118 w 281"/>
                <a:gd name="T25" fmla="*/ 151 h 625"/>
                <a:gd name="T26" fmla="*/ 131 w 281"/>
                <a:gd name="T27" fmla="*/ 97 h 625"/>
                <a:gd name="T28" fmla="*/ 130 w 281"/>
                <a:gd name="T29" fmla="*/ 59 h 625"/>
                <a:gd name="T30" fmla="*/ 117 w 281"/>
                <a:gd name="T31" fmla="*/ 35 h 625"/>
                <a:gd name="T32" fmla="*/ 94 w 281"/>
                <a:gd name="T33" fmla="*/ 15 h 625"/>
                <a:gd name="T34" fmla="*/ 65 w 281"/>
                <a:gd name="T35" fmla="*/ 2 h 625"/>
                <a:gd name="T36" fmla="*/ 38 w 281"/>
                <a:gd name="T37" fmla="*/ 0 h 625"/>
                <a:gd name="T38" fmla="*/ 13 w 281"/>
                <a:gd name="T39" fmla="*/ 7 h 625"/>
                <a:gd name="T40" fmla="*/ 0 w 281"/>
                <a:gd name="T41" fmla="*/ 20 h 625"/>
                <a:gd name="T42" fmla="*/ 5 w 281"/>
                <a:gd name="T43" fmla="*/ 32 h 625"/>
                <a:gd name="T44" fmla="*/ 18 w 281"/>
                <a:gd name="T45" fmla="*/ 32 h 625"/>
                <a:gd name="T46" fmla="*/ 38 w 281"/>
                <a:gd name="T47" fmla="*/ 24 h 625"/>
                <a:gd name="T48" fmla="*/ 67 w 281"/>
                <a:gd name="T49" fmla="*/ 28 h 625"/>
                <a:gd name="T50" fmla="*/ 89 w 281"/>
                <a:gd name="T51" fmla="*/ 41 h 625"/>
                <a:gd name="T52" fmla="*/ 103 w 281"/>
                <a:gd name="T53" fmla="*/ 56 h 625"/>
                <a:gd name="T54" fmla="*/ 108 w 281"/>
                <a:gd name="T55" fmla="*/ 75 h 625"/>
                <a:gd name="T56" fmla="*/ 105 w 281"/>
                <a:gd name="T57" fmla="*/ 107 h 625"/>
                <a:gd name="T58" fmla="*/ 92 w 281"/>
                <a:gd name="T59" fmla="*/ 152 h 625"/>
                <a:gd name="T60" fmla="*/ 94 w 281"/>
                <a:gd name="T61" fmla="*/ 166 h 625"/>
                <a:gd name="T62" fmla="*/ 104 w 281"/>
                <a:gd name="T63" fmla="*/ 172 h 625"/>
                <a:gd name="T64" fmla="*/ 109 w 281"/>
                <a:gd name="T65" fmla="*/ 188 h 625"/>
                <a:gd name="T66" fmla="*/ 104 w 281"/>
                <a:gd name="T67" fmla="*/ 206 h 625"/>
                <a:gd name="T68" fmla="*/ 94 w 281"/>
                <a:gd name="T69" fmla="*/ 210 h 625"/>
                <a:gd name="T70" fmla="*/ 90 w 281"/>
                <a:gd name="T71" fmla="*/ 231 h 625"/>
                <a:gd name="T72" fmla="*/ 85 w 281"/>
                <a:gd name="T73" fmla="*/ 259 h 625"/>
                <a:gd name="T74" fmla="*/ 55 w 281"/>
                <a:gd name="T75" fmla="*/ 297 h 625"/>
                <a:gd name="T76" fmla="*/ 44 w 281"/>
                <a:gd name="T77" fmla="*/ 306 h 625"/>
                <a:gd name="T78" fmla="*/ 41 w 281"/>
                <a:gd name="T79" fmla="*/ 360 h 625"/>
                <a:gd name="T80" fmla="*/ 46 w 281"/>
                <a:gd name="T81" fmla="*/ 371 h 625"/>
                <a:gd name="T82" fmla="*/ 119 w 281"/>
                <a:gd name="T83" fmla="*/ 399 h 625"/>
                <a:gd name="T84" fmla="*/ 222 w 281"/>
                <a:gd name="T85" fmla="*/ 449 h 625"/>
                <a:gd name="T86" fmla="*/ 241 w 281"/>
                <a:gd name="T87" fmla="*/ 467 h 625"/>
                <a:gd name="T88" fmla="*/ 250 w 281"/>
                <a:gd name="T89" fmla="*/ 503 h 625"/>
                <a:gd name="T90" fmla="*/ 257 w 281"/>
                <a:gd name="T91" fmla="*/ 574 h 625"/>
                <a:gd name="T92" fmla="*/ 204 w 281"/>
                <a:gd name="T93" fmla="*/ 602 h 625"/>
                <a:gd name="T94" fmla="*/ 196 w 281"/>
                <a:gd name="T95" fmla="*/ 613 h 625"/>
                <a:gd name="T96" fmla="*/ 204 w 281"/>
                <a:gd name="T97" fmla="*/ 624 h 625"/>
                <a:gd name="T98" fmla="*/ 273 w 281"/>
                <a:gd name="T99" fmla="*/ 624 h 625"/>
                <a:gd name="T100" fmla="*/ 281 w 281"/>
                <a:gd name="T101" fmla="*/ 613 h 625"/>
                <a:gd name="T102" fmla="*/ 277 w 281"/>
                <a:gd name="T103" fmla="*/ 530 h 625"/>
                <a:gd name="T104" fmla="*/ 267 w 281"/>
                <a:gd name="T105" fmla="*/ 464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1" h="625">
                  <a:moveTo>
                    <a:pt x="267" y="464"/>
                  </a:moveTo>
                  <a:lnTo>
                    <a:pt x="263" y="457"/>
                  </a:lnTo>
                  <a:lnTo>
                    <a:pt x="258" y="450"/>
                  </a:lnTo>
                  <a:lnTo>
                    <a:pt x="252" y="443"/>
                  </a:lnTo>
                  <a:lnTo>
                    <a:pt x="244" y="435"/>
                  </a:lnTo>
                  <a:lnTo>
                    <a:pt x="234" y="428"/>
                  </a:lnTo>
                  <a:lnTo>
                    <a:pt x="223" y="421"/>
                  </a:lnTo>
                  <a:lnTo>
                    <a:pt x="212" y="414"/>
                  </a:lnTo>
                  <a:lnTo>
                    <a:pt x="199" y="408"/>
                  </a:lnTo>
                  <a:lnTo>
                    <a:pt x="169" y="394"/>
                  </a:lnTo>
                  <a:lnTo>
                    <a:pt x="137" y="381"/>
                  </a:lnTo>
                  <a:lnTo>
                    <a:pt x="103" y="367"/>
                  </a:lnTo>
                  <a:lnTo>
                    <a:pt x="65" y="353"/>
                  </a:lnTo>
                  <a:lnTo>
                    <a:pt x="65" y="353"/>
                  </a:lnTo>
                  <a:lnTo>
                    <a:pt x="65" y="319"/>
                  </a:lnTo>
                  <a:lnTo>
                    <a:pt x="72" y="315"/>
                  </a:lnTo>
                  <a:lnTo>
                    <a:pt x="78" y="309"/>
                  </a:lnTo>
                  <a:lnTo>
                    <a:pt x="86" y="301"/>
                  </a:lnTo>
                  <a:lnTo>
                    <a:pt x="94" y="292"/>
                  </a:lnTo>
                  <a:lnTo>
                    <a:pt x="101" y="279"/>
                  </a:lnTo>
                  <a:lnTo>
                    <a:pt x="108" y="265"/>
                  </a:lnTo>
                  <a:lnTo>
                    <a:pt x="110" y="256"/>
                  </a:lnTo>
                  <a:lnTo>
                    <a:pt x="112" y="247"/>
                  </a:lnTo>
                  <a:lnTo>
                    <a:pt x="113" y="238"/>
                  </a:lnTo>
                  <a:lnTo>
                    <a:pt x="114" y="228"/>
                  </a:lnTo>
                  <a:lnTo>
                    <a:pt x="118" y="226"/>
                  </a:lnTo>
                  <a:lnTo>
                    <a:pt x="122" y="223"/>
                  </a:lnTo>
                  <a:lnTo>
                    <a:pt x="125" y="219"/>
                  </a:lnTo>
                  <a:lnTo>
                    <a:pt x="127" y="215"/>
                  </a:lnTo>
                  <a:lnTo>
                    <a:pt x="130" y="209"/>
                  </a:lnTo>
                  <a:lnTo>
                    <a:pt x="131" y="202"/>
                  </a:lnTo>
                  <a:lnTo>
                    <a:pt x="132" y="196"/>
                  </a:lnTo>
                  <a:lnTo>
                    <a:pt x="132" y="188"/>
                  </a:lnTo>
                  <a:lnTo>
                    <a:pt x="131" y="177"/>
                  </a:lnTo>
                  <a:lnTo>
                    <a:pt x="128" y="166"/>
                  </a:lnTo>
                  <a:lnTo>
                    <a:pt x="123" y="157"/>
                  </a:lnTo>
                  <a:lnTo>
                    <a:pt x="117" y="151"/>
                  </a:lnTo>
                  <a:lnTo>
                    <a:pt x="118" y="151"/>
                  </a:lnTo>
                  <a:lnTo>
                    <a:pt x="118" y="151"/>
                  </a:lnTo>
                  <a:lnTo>
                    <a:pt x="123" y="133"/>
                  </a:lnTo>
                  <a:lnTo>
                    <a:pt x="130" y="110"/>
                  </a:lnTo>
                  <a:lnTo>
                    <a:pt x="131" y="97"/>
                  </a:lnTo>
                  <a:lnTo>
                    <a:pt x="132" y="84"/>
                  </a:lnTo>
                  <a:lnTo>
                    <a:pt x="132" y="71"/>
                  </a:lnTo>
                  <a:lnTo>
                    <a:pt x="130" y="59"/>
                  </a:lnTo>
                  <a:lnTo>
                    <a:pt x="127" y="51"/>
                  </a:lnTo>
                  <a:lnTo>
                    <a:pt x="122" y="43"/>
                  </a:lnTo>
                  <a:lnTo>
                    <a:pt x="117" y="35"/>
                  </a:lnTo>
                  <a:lnTo>
                    <a:pt x="110" y="28"/>
                  </a:lnTo>
                  <a:lnTo>
                    <a:pt x="103" y="21"/>
                  </a:lnTo>
                  <a:lnTo>
                    <a:pt x="94" y="15"/>
                  </a:lnTo>
                  <a:lnTo>
                    <a:pt x="85" y="10"/>
                  </a:lnTo>
                  <a:lnTo>
                    <a:pt x="76" y="6"/>
                  </a:lnTo>
                  <a:lnTo>
                    <a:pt x="65" y="2"/>
                  </a:lnTo>
                  <a:lnTo>
                    <a:pt x="56" y="1"/>
                  </a:lnTo>
                  <a:lnTo>
                    <a:pt x="47" y="0"/>
                  </a:lnTo>
                  <a:lnTo>
                    <a:pt x="38" y="0"/>
                  </a:lnTo>
                  <a:lnTo>
                    <a:pt x="29" y="2"/>
                  </a:lnTo>
                  <a:lnTo>
                    <a:pt x="22" y="3"/>
                  </a:lnTo>
                  <a:lnTo>
                    <a:pt x="13" y="7"/>
                  </a:lnTo>
                  <a:lnTo>
                    <a:pt x="5" y="12"/>
                  </a:lnTo>
                  <a:lnTo>
                    <a:pt x="1" y="15"/>
                  </a:lnTo>
                  <a:lnTo>
                    <a:pt x="0" y="20"/>
                  </a:lnTo>
                  <a:lnTo>
                    <a:pt x="0" y="24"/>
                  </a:lnTo>
                  <a:lnTo>
                    <a:pt x="1" y="29"/>
                  </a:lnTo>
                  <a:lnTo>
                    <a:pt x="5" y="32"/>
                  </a:lnTo>
                  <a:lnTo>
                    <a:pt x="9" y="34"/>
                  </a:lnTo>
                  <a:lnTo>
                    <a:pt x="14" y="34"/>
                  </a:lnTo>
                  <a:lnTo>
                    <a:pt x="18" y="32"/>
                  </a:lnTo>
                  <a:lnTo>
                    <a:pt x="26" y="29"/>
                  </a:lnTo>
                  <a:lnTo>
                    <a:pt x="32" y="26"/>
                  </a:lnTo>
                  <a:lnTo>
                    <a:pt x="38" y="24"/>
                  </a:lnTo>
                  <a:lnTo>
                    <a:pt x="45" y="24"/>
                  </a:lnTo>
                  <a:lnTo>
                    <a:pt x="56" y="25"/>
                  </a:lnTo>
                  <a:lnTo>
                    <a:pt x="67" y="28"/>
                  </a:lnTo>
                  <a:lnTo>
                    <a:pt x="74" y="32"/>
                  </a:lnTo>
                  <a:lnTo>
                    <a:pt x="82" y="35"/>
                  </a:lnTo>
                  <a:lnTo>
                    <a:pt x="89" y="41"/>
                  </a:lnTo>
                  <a:lnTo>
                    <a:pt x="94" y="46"/>
                  </a:lnTo>
                  <a:lnTo>
                    <a:pt x="99" y="51"/>
                  </a:lnTo>
                  <a:lnTo>
                    <a:pt x="103" y="56"/>
                  </a:lnTo>
                  <a:lnTo>
                    <a:pt x="105" y="61"/>
                  </a:lnTo>
                  <a:lnTo>
                    <a:pt x="107" y="65"/>
                  </a:lnTo>
                  <a:lnTo>
                    <a:pt x="108" y="75"/>
                  </a:lnTo>
                  <a:lnTo>
                    <a:pt x="108" y="86"/>
                  </a:lnTo>
                  <a:lnTo>
                    <a:pt x="108" y="97"/>
                  </a:lnTo>
                  <a:lnTo>
                    <a:pt x="105" y="107"/>
                  </a:lnTo>
                  <a:lnTo>
                    <a:pt x="100" y="127"/>
                  </a:lnTo>
                  <a:lnTo>
                    <a:pt x="95" y="142"/>
                  </a:lnTo>
                  <a:lnTo>
                    <a:pt x="92" y="152"/>
                  </a:lnTo>
                  <a:lnTo>
                    <a:pt x="91" y="159"/>
                  </a:lnTo>
                  <a:lnTo>
                    <a:pt x="91" y="163"/>
                  </a:lnTo>
                  <a:lnTo>
                    <a:pt x="94" y="166"/>
                  </a:lnTo>
                  <a:lnTo>
                    <a:pt x="98" y="169"/>
                  </a:lnTo>
                  <a:lnTo>
                    <a:pt x="103" y="170"/>
                  </a:lnTo>
                  <a:lnTo>
                    <a:pt x="104" y="172"/>
                  </a:lnTo>
                  <a:lnTo>
                    <a:pt x="107" y="175"/>
                  </a:lnTo>
                  <a:lnTo>
                    <a:pt x="108" y="181"/>
                  </a:lnTo>
                  <a:lnTo>
                    <a:pt x="109" y="188"/>
                  </a:lnTo>
                  <a:lnTo>
                    <a:pt x="108" y="197"/>
                  </a:lnTo>
                  <a:lnTo>
                    <a:pt x="105" y="204"/>
                  </a:lnTo>
                  <a:lnTo>
                    <a:pt x="104" y="206"/>
                  </a:lnTo>
                  <a:lnTo>
                    <a:pt x="103" y="208"/>
                  </a:lnTo>
                  <a:lnTo>
                    <a:pt x="98" y="208"/>
                  </a:lnTo>
                  <a:lnTo>
                    <a:pt x="94" y="210"/>
                  </a:lnTo>
                  <a:lnTo>
                    <a:pt x="91" y="214"/>
                  </a:lnTo>
                  <a:lnTo>
                    <a:pt x="91" y="219"/>
                  </a:lnTo>
                  <a:lnTo>
                    <a:pt x="90" y="231"/>
                  </a:lnTo>
                  <a:lnTo>
                    <a:pt x="89" y="241"/>
                  </a:lnTo>
                  <a:lnTo>
                    <a:pt x="87" y="250"/>
                  </a:lnTo>
                  <a:lnTo>
                    <a:pt x="85" y="259"/>
                  </a:lnTo>
                  <a:lnTo>
                    <a:pt x="78" y="273"/>
                  </a:lnTo>
                  <a:lnTo>
                    <a:pt x="71" y="283"/>
                  </a:lnTo>
                  <a:lnTo>
                    <a:pt x="55" y="297"/>
                  </a:lnTo>
                  <a:lnTo>
                    <a:pt x="49" y="301"/>
                  </a:lnTo>
                  <a:lnTo>
                    <a:pt x="45" y="304"/>
                  </a:lnTo>
                  <a:lnTo>
                    <a:pt x="44" y="306"/>
                  </a:lnTo>
                  <a:lnTo>
                    <a:pt x="41" y="309"/>
                  </a:lnTo>
                  <a:lnTo>
                    <a:pt x="41" y="313"/>
                  </a:lnTo>
                  <a:lnTo>
                    <a:pt x="41" y="360"/>
                  </a:lnTo>
                  <a:lnTo>
                    <a:pt x="41" y="364"/>
                  </a:lnTo>
                  <a:lnTo>
                    <a:pt x="44" y="368"/>
                  </a:lnTo>
                  <a:lnTo>
                    <a:pt x="46" y="371"/>
                  </a:lnTo>
                  <a:lnTo>
                    <a:pt x="49" y="372"/>
                  </a:lnTo>
                  <a:lnTo>
                    <a:pt x="58" y="376"/>
                  </a:lnTo>
                  <a:lnTo>
                    <a:pt x="119" y="399"/>
                  </a:lnTo>
                  <a:lnTo>
                    <a:pt x="177" y="423"/>
                  </a:lnTo>
                  <a:lnTo>
                    <a:pt x="202" y="436"/>
                  </a:lnTo>
                  <a:lnTo>
                    <a:pt x="222" y="449"/>
                  </a:lnTo>
                  <a:lnTo>
                    <a:pt x="230" y="454"/>
                  </a:lnTo>
                  <a:lnTo>
                    <a:pt x="236" y="461"/>
                  </a:lnTo>
                  <a:lnTo>
                    <a:pt x="241" y="467"/>
                  </a:lnTo>
                  <a:lnTo>
                    <a:pt x="244" y="472"/>
                  </a:lnTo>
                  <a:lnTo>
                    <a:pt x="248" y="486"/>
                  </a:lnTo>
                  <a:lnTo>
                    <a:pt x="250" y="503"/>
                  </a:lnTo>
                  <a:lnTo>
                    <a:pt x="253" y="520"/>
                  </a:lnTo>
                  <a:lnTo>
                    <a:pt x="254" y="539"/>
                  </a:lnTo>
                  <a:lnTo>
                    <a:pt x="257" y="574"/>
                  </a:lnTo>
                  <a:lnTo>
                    <a:pt x="257" y="601"/>
                  </a:lnTo>
                  <a:lnTo>
                    <a:pt x="209" y="601"/>
                  </a:lnTo>
                  <a:lnTo>
                    <a:pt x="204" y="602"/>
                  </a:lnTo>
                  <a:lnTo>
                    <a:pt x="200" y="604"/>
                  </a:lnTo>
                  <a:lnTo>
                    <a:pt x="198" y="608"/>
                  </a:lnTo>
                  <a:lnTo>
                    <a:pt x="196" y="613"/>
                  </a:lnTo>
                  <a:lnTo>
                    <a:pt x="198" y="617"/>
                  </a:lnTo>
                  <a:lnTo>
                    <a:pt x="200" y="621"/>
                  </a:lnTo>
                  <a:lnTo>
                    <a:pt x="204" y="624"/>
                  </a:lnTo>
                  <a:lnTo>
                    <a:pt x="209" y="625"/>
                  </a:lnTo>
                  <a:lnTo>
                    <a:pt x="270" y="625"/>
                  </a:lnTo>
                  <a:lnTo>
                    <a:pt x="273" y="624"/>
                  </a:lnTo>
                  <a:lnTo>
                    <a:pt x="277" y="621"/>
                  </a:lnTo>
                  <a:lnTo>
                    <a:pt x="280" y="617"/>
                  </a:lnTo>
                  <a:lnTo>
                    <a:pt x="281" y="613"/>
                  </a:lnTo>
                  <a:lnTo>
                    <a:pt x="281" y="594"/>
                  </a:lnTo>
                  <a:lnTo>
                    <a:pt x="280" y="554"/>
                  </a:lnTo>
                  <a:lnTo>
                    <a:pt x="277" y="530"/>
                  </a:lnTo>
                  <a:lnTo>
                    <a:pt x="275" y="507"/>
                  </a:lnTo>
                  <a:lnTo>
                    <a:pt x="271" y="484"/>
                  </a:lnTo>
                  <a:lnTo>
                    <a:pt x="267"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 name="Group 74">
            <a:extLst>
              <a:ext uri="{FF2B5EF4-FFF2-40B4-BE49-F238E27FC236}">
                <a16:creationId xmlns:a16="http://schemas.microsoft.com/office/drawing/2014/main" id="{B0BDE9F3-BBB7-4A77-A8C9-D5C4148A5F28}"/>
              </a:ext>
            </a:extLst>
          </p:cNvPr>
          <p:cNvGrpSpPr/>
          <p:nvPr/>
        </p:nvGrpSpPr>
        <p:grpSpPr>
          <a:xfrm>
            <a:off x="4405188" y="4823605"/>
            <a:ext cx="402460" cy="382448"/>
            <a:chOff x="5465763" y="1358900"/>
            <a:chExt cx="287337" cy="273050"/>
          </a:xfrm>
          <a:solidFill>
            <a:schemeClr val="accent1"/>
          </a:solidFill>
        </p:grpSpPr>
        <p:sp>
          <p:nvSpPr>
            <p:cNvPr id="76" name="Freeform 567">
              <a:extLst>
                <a:ext uri="{FF2B5EF4-FFF2-40B4-BE49-F238E27FC236}">
                  <a16:creationId xmlns:a16="http://schemas.microsoft.com/office/drawing/2014/main" id="{5B7B0FCC-03F7-4BB1-A484-376B80BB2B12}"/>
                </a:ext>
              </a:extLst>
            </p:cNvPr>
            <p:cNvSpPr>
              <a:spLocks noEditPoints="1"/>
            </p:cNvSpPr>
            <p:nvPr/>
          </p:nvSpPr>
          <p:spPr bwMode="auto">
            <a:xfrm>
              <a:off x="5586413" y="1446213"/>
              <a:ext cx="76200" cy="76200"/>
            </a:xfrm>
            <a:custGeom>
              <a:avLst/>
              <a:gdLst>
                <a:gd name="T0" fmla="*/ 106 w 241"/>
                <a:gd name="T1" fmla="*/ 72 h 241"/>
                <a:gd name="T2" fmla="*/ 108 w 241"/>
                <a:gd name="T3" fmla="*/ 66 h 241"/>
                <a:gd name="T4" fmla="*/ 112 w 241"/>
                <a:gd name="T5" fmla="*/ 63 h 241"/>
                <a:gd name="T6" fmla="*/ 117 w 241"/>
                <a:gd name="T7" fmla="*/ 61 h 241"/>
                <a:gd name="T8" fmla="*/ 124 w 241"/>
                <a:gd name="T9" fmla="*/ 60 h 241"/>
                <a:gd name="T10" fmla="*/ 129 w 241"/>
                <a:gd name="T11" fmla="*/ 63 h 241"/>
                <a:gd name="T12" fmla="*/ 133 w 241"/>
                <a:gd name="T13" fmla="*/ 66 h 241"/>
                <a:gd name="T14" fmla="*/ 136 w 241"/>
                <a:gd name="T15" fmla="*/ 72 h 241"/>
                <a:gd name="T16" fmla="*/ 136 w 241"/>
                <a:gd name="T17" fmla="*/ 165 h 241"/>
                <a:gd name="T18" fmla="*/ 134 w 241"/>
                <a:gd name="T19" fmla="*/ 171 h 241"/>
                <a:gd name="T20" fmla="*/ 131 w 241"/>
                <a:gd name="T21" fmla="*/ 176 h 241"/>
                <a:gd name="T22" fmla="*/ 126 w 241"/>
                <a:gd name="T23" fmla="*/ 179 h 241"/>
                <a:gd name="T24" fmla="*/ 121 w 241"/>
                <a:gd name="T25" fmla="*/ 180 h 241"/>
                <a:gd name="T26" fmla="*/ 115 w 241"/>
                <a:gd name="T27" fmla="*/ 179 h 241"/>
                <a:gd name="T28" fmla="*/ 110 w 241"/>
                <a:gd name="T29" fmla="*/ 176 h 241"/>
                <a:gd name="T30" fmla="*/ 107 w 241"/>
                <a:gd name="T31" fmla="*/ 171 h 241"/>
                <a:gd name="T32" fmla="*/ 106 w 241"/>
                <a:gd name="T33" fmla="*/ 165 h 241"/>
                <a:gd name="T34" fmla="*/ 121 w 241"/>
                <a:gd name="T35" fmla="*/ 241 h 241"/>
                <a:gd name="T36" fmla="*/ 145 w 241"/>
                <a:gd name="T37" fmla="*/ 238 h 241"/>
                <a:gd name="T38" fmla="*/ 168 w 241"/>
                <a:gd name="T39" fmla="*/ 232 h 241"/>
                <a:gd name="T40" fmla="*/ 188 w 241"/>
                <a:gd name="T41" fmla="*/ 220 h 241"/>
                <a:gd name="T42" fmla="*/ 205 w 241"/>
                <a:gd name="T43" fmla="*/ 206 h 241"/>
                <a:gd name="T44" fmla="*/ 220 w 241"/>
                <a:gd name="T45" fmla="*/ 188 h 241"/>
                <a:gd name="T46" fmla="*/ 231 w 241"/>
                <a:gd name="T47" fmla="*/ 167 h 241"/>
                <a:gd name="T48" fmla="*/ 238 w 241"/>
                <a:gd name="T49" fmla="*/ 145 h 241"/>
                <a:gd name="T50" fmla="*/ 241 w 241"/>
                <a:gd name="T51" fmla="*/ 120 h 241"/>
                <a:gd name="T52" fmla="*/ 238 w 241"/>
                <a:gd name="T53" fmla="*/ 96 h 241"/>
                <a:gd name="T54" fmla="*/ 231 w 241"/>
                <a:gd name="T55" fmla="*/ 74 h 241"/>
                <a:gd name="T56" fmla="*/ 220 w 241"/>
                <a:gd name="T57" fmla="*/ 53 h 241"/>
                <a:gd name="T58" fmla="*/ 205 w 241"/>
                <a:gd name="T59" fmla="*/ 35 h 241"/>
                <a:gd name="T60" fmla="*/ 188 w 241"/>
                <a:gd name="T61" fmla="*/ 20 h 241"/>
                <a:gd name="T62" fmla="*/ 168 w 241"/>
                <a:gd name="T63" fmla="*/ 9 h 241"/>
                <a:gd name="T64" fmla="*/ 145 w 241"/>
                <a:gd name="T65" fmla="*/ 2 h 241"/>
                <a:gd name="T66" fmla="*/ 121 w 241"/>
                <a:gd name="T67" fmla="*/ 0 h 241"/>
                <a:gd name="T68" fmla="*/ 96 w 241"/>
                <a:gd name="T69" fmla="*/ 2 h 241"/>
                <a:gd name="T70" fmla="*/ 73 w 241"/>
                <a:gd name="T71" fmla="*/ 9 h 241"/>
                <a:gd name="T72" fmla="*/ 53 w 241"/>
                <a:gd name="T73" fmla="*/ 20 h 241"/>
                <a:gd name="T74" fmla="*/ 36 w 241"/>
                <a:gd name="T75" fmla="*/ 35 h 241"/>
                <a:gd name="T76" fmla="*/ 21 w 241"/>
                <a:gd name="T77" fmla="*/ 53 h 241"/>
                <a:gd name="T78" fmla="*/ 10 w 241"/>
                <a:gd name="T79" fmla="*/ 74 h 241"/>
                <a:gd name="T80" fmla="*/ 3 w 241"/>
                <a:gd name="T81" fmla="*/ 96 h 241"/>
                <a:gd name="T82" fmla="*/ 0 w 241"/>
                <a:gd name="T83" fmla="*/ 120 h 241"/>
                <a:gd name="T84" fmla="*/ 3 w 241"/>
                <a:gd name="T85" fmla="*/ 145 h 241"/>
                <a:gd name="T86" fmla="*/ 10 w 241"/>
                <a:gd name="T87" fmla="*/ 167 h 241"/>
                <a:gd name="T88" fmla="*/ 21 w 241"/>
                <a:gd name="T89" fmla="*/ 188 h 241"/>
                <a:gd name="T90" fmla="*/ 36 w 241"/>
                <a:gd name="T91" fmla="*/ 206 h 241"/>
                <a:gd name="T92" fmla="*/ 53 w 241"/>
                <a:gd name="T93" fmla="*/ 220 h 241"/>
                <a:gd name="T94" fmla="*/ 73 w 241"/>
                <a:gd name="T95" fmla="*/ 232 h 241"/>
                <a:gd name="T96" fmla="*/ 96 w 241"/>
                <a:gd name="T97" fmla="*/ 238 h 241"/>
                <a:gd name="T98" fmla="*/ 121 w 241"/>
                <a:gd name="T9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1">
                  <a:moveTo>
                    <a:pt x="106" y="75"/>
                  </a:moveTo>
                  <a:lnTo>
                    <a:pt x="106" y="72"/>
                  </a:lnTo>
                  <a:lnTo>
                    <a:pt x="107" y="70"/>
                  </a:lnTo>
                  <a:lnTo>
                    <a:pt x="108" y="66"/>
                  </a:lnTo>
                  <a:lnTo>
                    <a:pt x="110" y="64"/>
                  </a:lnTo>
                  <a:lnTo>
                    <a:pt x="112" y="63"/>
                  </a:lnTo>
                  <a:lnTo>
                    <a:pt x="115" y="61"/>
                  </a:lnTo>
                  <a:lnTo>
                    <a:pt x="117" y="61"/>
                  </a:lnTo>
                  <a:lnTo>
                    <a:pt x="121" y="60"/>
                  </a:lnTo>
                  <a:lnTo>
                    <a:pt x="124" y="60"/>
                  </a:lnTo>
                  <a:lnTo>
                    <a:pt x="126" y="61"/>
                  </a:lnTo>
                  <a:lnTo>
                    <a:pt x="129" y="63"/>
                  </a:lnTo>
                  <a:lnTo>
                    <a:pt x="131" y="64"/>
                  </a:lnTo>
                  <a:lnTo>
                    <a:pt x="133" y="66"/>
                  </a:lnTo>
                  <a:lnTo>
                    <a:pt x="134" y="70"/>
                  </a:lnTo>
                  <a:lnTo>
                    <a:pt x="136" y="72"/>
                  </a:lnTo>
                  <a:lnTo>
                    <a:pt x="136" y="75"/>
                  </a:lnTo>
                  <a:lnTo>
                    <a:pt x="136" y="165"/>
                  </a:lnTo>
                  <a:lnTo>
                    <a:pt x="136" y="168"/>
                  </a:lnTo>
                  <a:lnTo>
                    <a:pt x="134" y="171"/>
                  </a:lnTo>
                  <a:lnTo>
                    <a:pt x="133" y="174"/>
                  </a:lnTo>
                  <a:lnTo>
                    <a:pt x="131" y="176"/>
                  </a:lnTo>
                  <a:lnTo>
                    <a:pt x="129" y="178"/>
                  </a:lnTo>
                  <a:lnTo>
                    <a:pt x="126" y="179"/>
                  </a:lnTo>
                  <a:lnTo>
                    <a:pt x="124" y="180"/>
                  </a:lnTo>
                  <a:lnTo>
                    <a:pt x="121" y="180"/>
                  </a:lnTo>
                  <a:lnTo>
                    <a:pt x="117" y="180"/>
                  </a:lnTo>
                  <a:lnTo>
                    <a:pt x="115" y="179"/>
                  </a:lnTo>
                  <a:lnTo>
                    <a:pt x="112" y="178"/>
                  </a:lnTo>
                  <a:lnTo>
                    <a:pt x="110" y="176"/>
                  </a:lnTo>
                  <a:lnTo>
                    <a:pt x="108" y="174"/>
                  </a:lnTo>
                  <a:lnTo>
                    <a:pt x="107" y="171"/>
                  </a:lnTo>
                  <a:lnTo>
                    <a:pt x="106" y="168"/>
                  </a:lnTo>
                  <a:lnTo>
                    <a:pt x="106" y="165"/>
                  </a:lnTo>
                  <a:lnTo>
                    <a:pt x="106" y="75"/>
                  </a:lnTo>
                  <a:close/>
                  <a:moveTo>
                    <a:pt x="121" y="241"/>
                  </a:moveTo>
                  <a:lnTo>
                    <a:pt x="132" y="240"/>
                  </a:lnTo>
                  <a:lnTo>
                    <a:pt x="145" y="238"/>
                  </a:lnTo>
                  <a:lnTo>
                    <a:pt x="156" y="236"/>
                  </a:lnTo>
                  <a:lnTo>
                    <a:pt x="168" y="232"/>
                  </a:lnTo>
                  <a:lnTo>
                    <a:pt x="177" y="226"/>
                  </a:lnTo>
                  <a:lnTo>
                    <a:pt x="188" y="220"/>
                  </a:lnTo>
                  <a:lnTo>
                    <a:pt x="197" y="213"/>
                  </a:lnTo>
                  <a:lnTo>
                    <a:pt x="205" y="206"/>
                  </a:lnTo>
                  <a:lnTo>
                    <a:pt x="214" y="197"/>
                  </a:lnTo>
                  <a:lnTo>
                    <a:pt x="220" y="188"/>
                  </a:lnTo>
                  <a:lnTo>
                    <a:pt x="227" y="178"/>
                  </a:lnTo>
                  <a:lnTo>
                    <a:pt x="231" y="167"/>
                  </a:lnTo>
                  <a:lnTo>
                    <a:pt x="235" y="156"/>
                  </a:lnTo>
                  <a:lnTo>
                    <a:pt x="238" y="145"/>
                  </a:lnTo>
                  <a:lnTo>
                    <a:pt x="241" y="133"/>
                  </a:lnTo>
                  <a:lnTo>
                    <a:pt x="241" y="120"/>
                  </a:lnTo>
                  <a:lnTo>
                    <a:pt x="241" y="108"/>
                  </a:lnTo>
                  <a:lnTo>
                    <a:pt x="238" y="96"/>
                  </a:lnTo>
                  <a:lnTo>
                    <a:pt x="235" y="85"/>
                  </a:lnTo>
                  <a:lnTo>
                    <a:pt x="231" y="74"/>
                  </a:lnTo>
                  <a:lnTo>
                    <a:pt x="227" y="63"/>
                  </a:lnTo>
                  <a:lnTo>
                    <a:pt x="220" y="53"/>
                  </a:lnTo>
                  <a:lnTo>
                    <a:pt x="214" y="44"/>
                  </a:lnTo>
                  <a:lnTo>
                    <a:pt x="205" y="35"/>
                  </a:lnTo>
                  <a:lnTo>
                    <a:pt x="197" y="28"/>
                  </a:lnTo>
                  <a:lnTo>
                    <a:pt x="188" y="20"/>
                  </a:lnTo>
                  <a:lnTo>
                    <a:pt x="177" y="15"/>
                  </a:lnTo>
                  <a:lnTo>
                    <a:pt x="168" y="9"/>
                  </a:lnTo>
                  <a:lnTo>
                    <a:pt x="156" y="5"/>
                  </a:lnTo>
                  <a:lnTo>
                    <a:pt x="145" y="2"/>
                  </a:lnTo>
                  <a:lnTo>
                    <a:pt x="132" y="1"/>
                  </a:lnTo>
                  <a:lnTo>
                    <a:pt x="121" y="0"/>
                  </a:lnTo>
                  <a:lnTo>
                    <a:pt x="109" y="1"/>
                  </a:lnTo>
                  <a:lnTo>
                    <a:pt x="96" y="2"/>
                  </a:lnTo>
                  <a:lnTo>
                    <a:pt x="85" y="5"/>
                  </a:lnTo>
                  <a:lnTo>
                    <a:pt x="73" y="9"/>
                  </a:lnTo>
                  <a:lnTo>
                    <a:pt x="64" y="15"/>
                  </a:lnTo>
                  <a:lnTo>
                    <a:pt x="53" y="20"/>
                  </a:lnTo>
                  <a:lnTo>
                    <a:pt x="44" y="28"/>
                  </a:lnTo>
                  <a:lnTo>
                    <a:pt x="36" y="35"/>
                  </a:lnTo>
                  <a:lnTo>
                    <a:pt x="27" y="44"/>
                  </a:lnTo>
                  <a:lnTo>
                    <a:pt x="21" y="53"/>
                  </a:lnTo>
                  <a:lnTo>
                    <a:pt x="14" y="63"/>
                  </a:lnTo>
                  <a:lnTo>
                    <a:pt x="10" y="74"/>
                  </a:lnTo>
                  <a:lnTo>
                    <a:pt x="6" y="85"/>
                  </a:lnTo>
                  <a:lnTo>
                    <a:pt x="3" y="96"/>
                  </a:lnTo>
                  <a:lnTo>
                    <a:pt x="0" y="108"/>
                  </a:lnTo>
                  <a:lnTo>
                    <a:pt x="0" y="120"/>
                  </a:lnTo>
                  <a:lnTo>
                    <a:pt x="0" y="133"/>
                  </a:lnTo>
                  <a:lnTo>
                    <a:pt x="3" y="145"/>
                  </a:lnTo>
                  <a:lnTo>
                    <a:pt x="6" y="156"/>
                  </a:lnTo>
                  <a:lnTo>
                    <a:pt x="10" y="167"/>
                  </a:lnTo>
                  <a:lnTo>
                    <a:pt x="14" y="178"/>
                  </a:lnTo>
                  <a:lnTo>
                    <a:pt x="21" y="188"/>
                  </a:lnTo>
                  <a:lnTo>
                    <a:pt x="27" y="197"/>
                  </a:lnTo>
                  <a:lnTo>
                    <a:pt x="36" y="206"/>
                  </a:lnTo>
                  <a:lnTo>
                    <a:pt x="44" y="213"/>
                  </a:lnTo>
                  <a:lnTo>
                    <a:pt x="53" y="220"/>
                  </a:lnTo>
                  <a:lnTo>
                    <a:pt x="64" y="226"/>
                  </a:lnTo>
                  <a:lnTo>
                    <a:pt x="73" y="232"/>
                  </a:lnTo>
                  <a:lnTo>
                    <a:pt x="85" y="236"/>
                  </a:lnTo>
                  <a:lnTo>
                    <a:pt x="96" y="238"/>
                  </a:lnTo>
                  <a:lnTo>
                    <a:pt x="109" y="240"/>
                  </a:lnTo>
                  <a:lnTo>
                    <a:pt x="121"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68">
              <a:extLst>
                <a:ext uri="{FF2B5EF4-FFF2-40B4-BE49-F238E27FC236}">
                  <a16:creationId xmlns:a16="http://schemas.microsoft.com/office/drawing/2014/main" id="{1D649B5A-D963-48F0-993A-6F1C11BC000F}"/>
                </a:ext>
              </a:extLst>
            </p:cNvPr>
            <p:cNvSpPr>
              <a:spLocks noEditPoints="1"/>
            </p:cNvSpPr>
            <p:nvPr/>
          </p:nvSpPr>
          <p:spPr bwMode="auto">
            <a:xfrm>
              <a:off x="5643563" y="1358900"/>
              <a:ext cx="76200" cy="77788"/>
            </a:xfrm>
            <a:custGeom>
              <a:avLst/>
              <a:gdLst>
                <a:gd name="T0" fmla="*/ 106 w 241"/>
                <a:gd name="T1" fmla="*/ 73 h 242"/>
                <a:gd name="T2" fmla="*/ 108 w 241"/>
                <a:gd name="T3" fmla="*/ 68 h 242"/>
                <a:gd name="T4" fmla="*/ 112 w 241"/>
                <a:gd name="T5" fmla="*/ 64 h 242"/>
                <a:gd name="T6" fmla="*/ 118 w 241"/>
                <a:gd name="T7" fmla="*/ 62 h 242"/>
                <a:gd name="T8" fmla="*/ 123 w 241"/>
                <a:gd name="T9" fmla="*/ 62 h 242"/>
                <a:gd name="T10" fmla="*/ 128 w 241"/>
                <a:gd name="T11" fmla="*/ 64 h 242"/>
                <a:gd name="T12" fmla="*/ 133 w 241"/>
                <a:gd name="T13" fmla="*/ 68 h 242"/>
                <a:gd name="T14" fmla="*/ 135 w 241"/>
                <a:gd name="T15" fmla="*/ 73 h 242"/>
                <a:gd name="T16" fmla="*/ 135 w 241"/>
                <a:gd name="T17" fmla="*/ 167 h 242"/>
                <a:gd name="T18" fmla="*/ 134 w 241"/>
                <a:gd name="T19" fmla="*/ 172 h 242"/>
                <a:gd name="T20" fmla="*/ 130 w 241"/>
                <a:gd name="T21" fmla="*/ 177 h 242"/>
                <a:gd name="T22" fmla="*/ 126 w 241"/>
                <a:gd name="T23" fmla="*/ 181 h 242"/>
                <a:gd name="T24" fmla="*/ 120 w 241"/>
                <a:gd name="T25" fmla="*/ 182 h 242"/>
                <a:gd name="T26" fmla="*/ 114 w 241"/>
                <a:gd name="T27" fmla="*/ 181 h 242"/>
                <a:gd name="T28" fmla="*/ 110 w 241"/>
                <a:gd name="T29" fmla="*/ 177 h 242"/>
                <a:gd name="T30" fmla="*/ 107 w 241"/>
                <a:gd name="T31" fmla="*/ 172 h 242"/>
                <a:gd name="T32" fmla="*/ 105 w 241"/>
                <a:gd name="T33" fmla="*/ 167 h 242"/>
                <a:gd name="T34" fmla="*/ 120 w 241"/>
                <a:gd name="T35" fmla="*/ 242 h 242"/>
                <a:gd name="T36" fmla="*/ 144 w 241"/>
                <a:gd name="T37" fmla="*/ 240 h 242"/>
                <a:gd name="T38" fmla="*/ 167 w 241"/>
                <a:gd name="T39" fmla="*/ 232 h 242"/>
                <a:gd name="T40" fmla="*/ 187 w 241"/>
                <a:gd name="T41" fmla="*/ 221 h 242"/>
                <a:gd name="T42" fmla="*/ 206 w 241"/>
                <a:gd name="T43" fmla="*/ 206 h 242"/>
                <a:gd name="T44" fmla="*/ 221 w 241"/>
                <a:gd name="T45" fmla="*/ 188 h 242"/>
                <a:gd name="T46" fmla="*/ 231 w 241"/>
                <a:gd name="T47" fmla="*/ 168 h 242"/>
                <a:gd name="T48" fmla="*/ 238 w 241"/>
                <a:gd name="T49" fmla="*/ 145 h 242"/>
                <a:gd name="T50" fmla="*/ 241 w 241"/>
                <a:gd name="T51" fmla="*/ 122 h 242"/>
                <a:gd name="T52" fmla="*/ 238 w 241"/>
                <a:gd name="T53" fmla="*/ 97 h 242"/>
                <a:gd name="T54" fmla="*/ 231 w 241"/>
                <a:gd name="T55" fmla="*/ 74 h 242"/>
                <a:gd name="T56" fmla="*/ 221 w 241"/>
                <a:gd name="T57" fmla="*/ 54 h 242"/>
                <a:gd name="T58" fmla="*/ 206 w 241"/>
                <a:gd name="T59" fmla="*/ 36 h 242"/>
                <a:gd name="T60" fmla="*/ 187 w 241"/>
                <a:gd name="T61" fmla="*/ 22 h 242"/>
                <a:gd name="T62" fmla="*/ 167 w 241"/>
                <a:gd name="T63" fmla="*/ 10 h 242"/>
                <a:gd name="T64" fmla="*/ 144 w 241"/>
                <a:gd name="T65" fmla="*/ 4 h 242"/>
                <a:gd name="T66" fmla="*/ 120 w 241"/>
                <a:gd name="T67" fmla="*/ 0 h 242"/>
                <a:gd name="T68" fmla="*/ 96 w 241"/>
                <a:gd name="T69" fmla="*/ 4 h 242"/>
                <a:gd name="T70" fmla="*/ 74 w 241"/>
                <a:gd name="T71" fmla="*/ 10 h 242"/>
                <a:gd name="T72" fmla="*/ 53 w 241"/>
                <a:gd name="T73" fmla="*/ 22 h 242"/>
                <a:gd name="T74" fmla="*/ 35 w 241"/>
                <a:gd name="T75" fmla="*/ 36 h 242"/>
                <a:gd name="T76" fmla="*/ 20 w 241"/>
                <a:gd name="T77" fmla="*/ 54 h 242"/>
                <a:gd name="T78" fmla="*/ 9 w 241"/>
                <a:gd name="T79" fmla="*/ 74 h 242"/>
                <a:gd name="T80" fmla="*/ 2 w 241"/>
                <a:gd name="T81" fmla="*/ 97 h 242"/>
                <a:gd name="T82" fmla="*/ 0 w 241"/>
                <a:gd name="T83" fmla="*/ 122 h 242"/>
                <a:gd name="T84" fmla="*/ 2 w 241"/>
                <a:gd name="T85" fmla="*/ 145 h 242"/>
                <a:gd name="T86" fmla="*/ 9 w 241"/>
                <a:gd name="T87" fmla="*/ 168 h 242"/>
                <a:gd name="T88" fmla="*/ 20 w 241"/>
                <a:gd name="T89" fmla="*/ 188 h 242"/>
                <a:gd name="T90" fmla="*/ 35 w 241"/>
                <a:gd name="T91" fmla="*/ 206 h 242"/>
                <a:gd name="T92" fmla="*/ 53 w 241"/>
                <a:gd name="T93" fmla="*/ 221 h 242"/>
                <a:gd name="T94" fmla="*/ 74 w 241"/>
                <a:gd name="T95" fmla="*/ 232 h 242"/>
                <a:gd name="T96" fmla="*/ 96 w 241"/>
                <a:gd name="T97" fmla="*/ 240 h 242"/>
                <a:gd name="T98" fmla="*/ 120 w 241"/>
                <a:gd name="T9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 h="242">
                  <a:moveTo>
                    <a:pt x="105" y="77"/>
                  </a:moveTo>
                  <a:lnTo>
                    <a:pt x="106" y="73"/>
                  </a:lnTo>
                  <a:lnTo>
                    <a:pt x="107" y="70"/>
                  </a:lnTo>
                  <a:lnTo>
                    <a:pt x="108" y="68"/>
                  </a:lnTo>
                  <a:lnTo>
                    <a:pt x="110" y="66"/>
                  </a:lnTo>
                  <a:lnTo>
                    <a:pt x="112" y="64"/>
                  </a:lnTo>
                  <a:lnTo>
                    <a:pt x="114" y="63"/>
                  </a:lnTo>
                  <a:lnTo>
                    <a:pt x="118" y="62"/>
                  </a:lnTo>
                  <a:lnTo>
                    <a:pt x="120" y="62"/>
                  </a:lnTo>
                  <a:lnTo>
                    <a:pt x="123" y="62"/>
                  </a:lnTo>
                  <a:lnTo>
                    <a:pt x="126" y="63"/>
                  </a:lnTo>
                  <a:lnTo>
                    <a:pt x="128" y="64"/>
                  </a:lnTo>
                  <a:lnTo>
                    <a:pt x="130" y="66"/>
                  </a:lnTo>
                  <a:lnTo>
                    <a:pt x="133" y="68"/>
                  </a:lnTo>
                  <a:lnTo>
                    <a:pt x="134" y="70"/>
                  </a:lnTo>
                  <a:lnTo>
                    <a:pt x="135" y="73"/>
                  </a:lnTo>
                  <a:lnTo>
                    <a:pt x="135" y="77"/>
                  </a:lnTo>
                  <a:lnTo>
                    <a:pt x="135" y="167"/>
                  </a:lnTo>
                  <a:lnTo>
                    <a:pt x="135" y="170"/>
                  </a:lnTo>
                  <a:lnTo>
                    <a:pt x="134" y="172"/>
                  </a:lnTo>
                  <a:lnTo>
                    <a:pt x="133" y="175"/>
                  </a:lnTo>
                  <a:lnTo>
                    <a:pt x="130" y="177"/>
                  </a:lnTo>
                  <a:lnTo>
                    <a:pt x="128" y="178"/>
                  </a:lnTo>
                  <a:lnTo>
                    <a:pt x="126" y="181"/>
                  </a:lnTo>
                  <a:lnTo>
                    <a:pt x="123" y="182"/>
                  </a:lnTo>
                  <a:lnTo>
                    <a:pt x="120" y="182"/>
                  </a:lnTo>
                  <a:lnTo>
                    <a:pt x="118" y="182"/>
                  </a:lnTo>
                  <a:lnTo>
                    <a:pt x="114" y="181"/>
                  </a:lnTo>
                  <a:lnTo>
                    <a:pt x="112" y="178"/>
                  </a:lnTo>
                  <a:lnTo>
                    <a:pt x="110" y="177"/>
                  </a:lnTo>
                  <a:lnTo>
                    <a:pt x="108" y="175"/>
                  </a:lnTo>
                  <a:lnTo>
                    <a:pt x="107" y="172"/>
                  </a:lnTo>
                  <a:lnTo>
                    <a:pt x="106" y="170"/>
                  </a:lnTo>
                  <a:lnTo>
                    <a:pt x="105" y="167"/>
                  </a:lnTo>
                  <a:lnTo>
                    <a:pt x="105" y="77"/>
                  </a:lnTo>
                  <a:close/>
                  <a:moveTo>
                    <a:pt x="120" y="242"/>
                  </a:moveTo>
                  <a:lnTo>
                    <a:pt x="133" y="241"/>
                  </a:lnTo>
                  <a:lnTo>
                    <a:pt x="144" y="240"/>
                  </a:lnTo>
                  <a:lnTo>
                    <a:pt x="156" y="236"/>
                  </a:lnTo>
                  <a:lnTo>
                    <a:pt x="167" y="232"/>
                  </a:lnTo>
                  <a:lnTo>
                    <a:pt x="178" y="227"/>
                  </a:lnTo>
                  <a:lnTo>
                    <a:pt x="187" y="221"/>
                  </a:lnTo>
                  <a:lnTo>
                    <a:pt x="197" y="214"/>
                  </a:lnTo>
                  <a:lnTo>
                    <a:pt x="206" y="206"/>
                  </a:lnTo>
                  <a:lnTo>
                    <a:pt x="213" y="198"/>
                  </a:lnTo>
                  <a:lnTo>
                    <a:pt x="221" y="188"/>
                  </a:lnTo>
                  <a:lnTo>
                    <a:pt x="226" y="178"/>
                  </a:lnTo>
                  <a:lnTo>
                    <a:pt x="231" y="168"/>
                  </a:lnTo>
                  <a:lnTo>
                    <a:pt x="236" y="157"/>
                  </a:lnTo>
                  <a:lnTo>
                    <a:pt x="238" y="145"/>
                  </a:lnTo>
                  <a:lnTo>
                    <a:pt x="240" y="133"/>
                  </a:lnTo>
                  <a:lnTo>
                    <a:pt x="241" y="122"/>
                  </a:lnTo>
                  <a:lnTo>
                    <a:pt x="240" y="109"/>
                  </a:lnTo>
                  <a:lnTo>
                    <a:pt x="238" y="97"/>
                  </a:lnTo>
                  <a:lnTo>
                    <a:pt x="236" y="85"/>
                  </a:lnTo>
                  <a:lnTo>
                    <a:pt x="231" y="74"/>
                  </a:lnTo>
                  <a:lnTo>
                    <a:pt x="226" y="64"/>
                  </a:lnTo>
                  <a:lnTo>
                    <a:pt x="221" y="54"/>
                  </a:lnTo>
                  <a:lnTo>
                    <a:pt x="213" y="44"/>
                  </a:lnTo>
                  <a:lnTo>
                    <a:pt x="206" y="36"/>
                  </a:lnTo>
                  <a:lnTo>
                    <a:pt x="197" y="28"/>
                  </a:lnTo>
                  <a:lnTo>
                    <a:pt x="187" y="22"/>
                  </a:lnTo>
                  <a:lnTo>
                    <a:pt x="178" y="15"/>
                  </a:lnTo>
                  <a:lnTo>
                    <a:pt x="167" y="10"/>
                  </a:lnTo>
                  <a:lnTo>
                    <a:pt x="156" y="7"/>
                  </a:lnTo>
                  <a:lnTo>
                    <a:pt x="144" y="4"/>
                  </a:lnTo>
                  <a:lnTo>
                    <a:pt x="133" y="2"/>
                  </a:lnTo>
                  <a:lnTo>
                    <a:pt x="120" y="0"/>
                  </a:lnTo>
                  <a:lnTo>
                    <a:pt x="108" y="2"/>
                  </a:lnTo>
                  <a:lnTo>
                    <a:pt x="96" y="4"/>
                  </a:lnTo>
                  <a:lnTo>
                    <a:pt x="84" y="6"/>
                  </a:lnTo>
                  <a:lnTo>
                    <a:pt x="74" y="10"/>
                  </a:lnTo>
                  <a:lnTo>
                    <a:pt x="63" y="15"/>
                  </a:lnTo>
                  <a:lnTo>
                    <a:pt x="53" y="22"/>
                  </a:lnTo>
                  <a:lnTo>
                    <a:pt x="44" y="28"/>
                  </a:lnTo>
                  <a:lnTo>
                    <a:pt x="35" y="36"/>
                  </a:lnTo>
                  <a:lnTo>
                    <a:pt x="27" y="44"/>
                  </a:lnTo>
                  <a:lnTo>
                    <a:pt x="20" y="54"/>
                  </a:lnTo>
                  <a:lnTo>
                    <a:pt x="15" y="64"/>
                  </a:lnTo>
                  <a:lnTo>
                    <a:pt x="9" y="74"/>
                  </a:lnTo>
                  <a:lnTo>
                    <a:pt x="5" y="85"/>
                  </a:lnTo>
                  <a:lnTo>
                    <a:pt x="2" y="97"/>
                  </a:lnTo>
                  <a:lnTo>
                    <a:pt x="1" y="109"/>
                  </a:lnTo>
                  <a:lnTo>
                    <a:pt x="0" y="122"/>
                  </a:lnTo>
                  <a:lnTo>
                    <a:pt x="1" y="133"/>
                  </a:lnTo>
                  <a:lnTo>
                    <a:pt x="2" y="145"/>
                  </a:lnTo>
                  <a:lnTo>
                    <a:pt x="5" y="157"/>
                  </a:lnTo>
                  <a:lnTo>
                    <a:pt x="9" y="168"/>
                  </a:lnTo>
                  <a:lnTo>
                    <a:pt x="15" y="178"/>
                  </a:lnTo>
                  <a:lnTo>
                    <a:pt x="20" y="188"/>
                  </a:lnTo>
                  <a:lnTo>
                    <a:pt x="27" y="198"/>
                  </a:lnTo>
                  <a:lnTo>
                    <a:pt x="35" y="206"/>
                  </a:lnTo>
                  <a:lnTo>
                    <a:pt x="44" y="214"/>
                  </a:lnTo>
                  <a:lnTo>
                    <a:pt x="53" y="221"/>
                  </a:lnTo>
                  <a:lnTo>
                    <a:pt x="63" y="227"/>
                  </a:lnTo>
                  <a:lnTo>
                    <a:pt x="74" y="232"/>
                  </a:lnTo>
                  <a:lnTo>
                    <a:pt x="84" y="236"/>
                  </a:lnTo>
                  <a:lnTo>
                    <a:pt x="96" y="240"/>
                  </a:lnTo>
                  <a:lnTo>
                    <a:pt x="108" y="241"/>
                  </a:lnTo>
                  <a:lnTo>
                    <a:pt x="120"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69">
              <a:extLst>
                <a:ext uri="{FF2B5EF4-FFF2-40B4-BE49-F238E27FC236}">
                  <a16:creationId xmlns:a16="http://schemas.microsoft.com/office/drawing/2014/main" id="{2DF481AC-0D57-4B23-8A0C-3A7128D51CF1}"/>
                </a:ext>
              </a:extLst>
            </p:cNvPr>
            <p:cNvSpPr>
              <a:spLocks/>
            </p:cNvSpPr>
            <p:nvPr/>
          </p:nvSpPr>
          <p:spPr bwMode="auto">
            <a:xfrm>
              <a:off x="5465763" y="1517650"/>
              <a:ext cx="57150" cy="95250"/>
            </a:xfrm>
            <a:custGeom>
              <a:avLst/>
              <a:gdLst>
                <a:gd name="T0" fmla="*/ 165 w 180"/>
                <a:gd name="T1" fmla="*/ 0 h 302"/>
                <a:gd name="T2" fmla="*/ 15 w 180"/>
                <a:gd name="T3" fmla="*/ 0 h 302"/>
                <a:gd name="T4" fmla="*/ 12 w 180"/>
                <a:gd name="T5" fmla="*/ 0 h 302"/>
                <a:gd name="T6" fmla="*/ 9 w 180"/>
                <a:gd name="T7" fmla="*/ 1 h 302"/>
                <a:gd name="T8" fmla="*/ 6 w 180"/>
                <a:gd name="T9" fmla="*/ 2 h 302"/>
                <a:gd name="T10" fmla="*/ 4 w 180"/>
                <a:gd name="T11" fmla="*/ 4 h 302"/>
                <a:gd name="T12" fmla="*/ 2 w 180"/>
                <a:gd name="T13" fmla="*/ 7 h 302"/>
                <a:gd name="T14" fmla="*/ 1 w 180"/>
                <a:gd name="T15" fmla="*/ 9 h 302"/>
                <a:gd name="T16" fmla="*/ 0 w 180"/>
                <a:gd name="T17" fmla="*/ 12 h 302"/>
                <a:gd name="T18" fmla="*/ 0 w 180"/>
                <a:gd name="T19" fmla="*/ 15 h 302"/>
                <a:gd name="T20" fmla="*/ 0 w 180"/>
                <a:gd name="T21" fmla="*/ 287 h 302"/>
                <a:gd name="T22" fmla="*/ 0 w 180"/>
                <a:gd name="T23" fmla="*/ 289 h 302"/>
                <a:gd name="T24" fmla="*/ 1 w 180"/>
                <a:gd name="T25" fmla="*/ 292 h 302"/>
                <a:gd name="T26" fmla="*/ 2 w 180"/>
                <a:gd name="T27" fmla="*/ 294 h 302"/>
                <a:gd name="T28" fmla="*/ 4 w 180"/>
                <a:gd name="T29" fmla="*/ 296 h 302"/>
                <a:gd name="T30" fmla="*/ 6 w 180"/>
                <a:gd name="T31" fmla="*/ 298 h 302"/>
                <a:gd name="T32" fmla="*/ 9 w 180"/>
                <a:gd name="T33" fmla="*/ 299 h 302"/>
                <a:gd name="T34" fmla="*/ 12 w 180"/>
                <a:gd name="T35" fmla="*/ 301 h 302"/>
                <a:gd name="T36" fmla="*/ 15 w 180"/>
                <a:gd name="T37" fmla="*/ 302 h 302"/>
                <a:gd name="T38" fmla="*/ 165 w 180"/>
                <a:gd name="T39" fmla="*/ 302 h 302"/>
                <a:gd name="T40" fmla="*/ 168 w 180"/>
                <a:gd name="T41" fmla="*/ 301 h 302"/>
                <a:gd name="T42" fmla="*/ 172 w 180"/>
                <a:gd name="T43" fmla="*/ 299 h 302"/>
                <a:gd name="T44" fmla="*/ 174 w 180"/>
                <a:gd name="T45" fmla="*/ 298 h 302"/>
                <a:gd name="T46" fmla="*/ 176 w 180"/>
                <a:gd name="T47" fmla="*/ 296 h 302"/>
                <a:gd name="T48" fmla="*/ 178 w 180"/>
                <a:gd name="T49" fmla="*/ 294 h 302"/>
                <a:gd name="T50" fmla="*/ 179 w 180"/>
                <a:gd name="T51" fmla="*/ 292 h 302"/>
                <a:gd name="T52" fmla="*/ 180 w 180"/>
                <a:gd name="T53" fmla="*/ 289 h 302"/>
                <a:gd name="T54" fmla="*/ 180 w 180"/>
                <a:gd name="T55" fmla="*/ 287 h 302"/>
                <a:gd name="T56" fmla="*/ 180 w 180"/>
                <a:gd name="T57" fmla="*/ 15 h 302"/>
                <a:gd name="T58" fmla="*/ 180 w 180"/>
                <a:gd name="T59" fmla="*/ 12 h 302"/>
                <a:gd name="T60" fmla="*/ 179 w 180"/>
                <a:gd name="T61" fmla="*/ 9 h 302"/>
                <a:gd name="T62" fmla="*/ 178 w 180"/>
                <a:gd name="T63" fmla="*/ 7 h 302"/>
                <a:gd name="T64" fmla="*/ 176 w 180"/>
                <a:gd name="T65" fmla="*/ 4 h 302"/>
                <a:gd name="T66" fmla="*/ 174 w 180"/>
                <a:gd name="T67" fmla="*/ 2 h 302"/>
                <a:gd name="T68" fmla="*/ 172 w 180"/>
                <a:gd name="T69" fmla="*/ 1 h 302"/>
                <a:gd name="T70" fmla="*/ 168 w 180"/>
                <a:gd name="T71" fmla="*/ 0 h 302"/>
                <a:gd name="T72" fmla="*/ 165 w 180"/>
                <a:gd name="T7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302">
                  <a:moveTo>
                    <a:pt x="165" y="0"/>
                  </a:moveTo>
                  <a:lnTo>
                    <a:pt x="15" y="0"/>
                  </a:lnTo>
                  <a:lnTo>
                    <a:pt x="12" y="0"/>
                  </a:lnTo>
                  <a:lnTo>
                    <a:pt x="9" y="1"/>
                  </a:lnTo>
                  <a:lnTo>
                    <a:pt x="6" y="2"/>
                  </a:lnTo>
                  <a:lnTo>
                    <a:pt x="4" y="4"/>
                  </a:lnTo>
                  <a:lnTo>
                    <a:pt x="2" y="7"/>
                  </a:lnTo>
                  <a:lnTo>
                    <a:pt x="1" y="9"/>
                  </a:lnTo>
                  <a:lnTo>
                    <a:pt x="0" y="12"/>
                  </a:lnTo>
                  <a:lnTo>
                    <a:pt x="0" y="15"/>
                  </a:lnTo>
                  <a:lnTo>
                    <a:pt x="0" y="287"/>
                  </a:lnTo>
                  <a:lnTo>
                    <a:pt x="0" y="289"/>
                  </a:lnTo>
                  <a:lnTo>
                    <a:pt x="1" y="292"/>
                  </a:lnTo>
                  <a:lnTo>
                    <a:pt x="2" y="294"/>
                  </a:lnTo>
                  <a:lnTo>
                    <a:pt x="4" y="296"/>
                  </a:lnTo>
                  <a:lnTo>
                    <a:pt x="6" y="298"/>
                  </a:lnTo>
                  <a:lnTo>
                    <a:pt x="9" y="299"/>
                  </a:lnTo>
                  <a:lnTo>
                    <a:pt x="12" y="301"/>
                  </a:lnTo>
                  <a:lnTo>
                    <a:pt x="15" y="302"/>
                  </a:lnTo>
                  <a:lnTo>
                    <a:pt x="165" y="302"/>
                  </a:lnTo>
                  <a:lnTo>
                    <a:pt x="168" y="301"/>
                  </a:lnTo>
                  <a:lnTo>
                    <a:pt x="172" y="299"/>
                  </a:lnTo>
                  <a:lnTo>
                    <a:pt x="174" y="298"/>
                  </a:lnTo>
                  <a:lnTo>
                    <a:pt x="176" y="296"/>
                  </a:lnTo>
                  <a:lnTo>
                    <a:pt x="178" y="294"/>
                  </a:lnTo>
                  <a:lnTo>
                    <a:pt x="179" y="292"/>
                  </a:lnTo>
                  <a:lnTo>
                    <a:pt x="180" y="289"/>
                  </a:lnTo>
                  <a:lnTo>
                    <a:pt x="180" y="287"/>
                  </a:lnTo>
                  <a:lnTo>
                    <a:pt x="180" y="15"/>
                  </a:lnTo>
                  <a:lnTo>
                    <a:pt x="180" y="12"/>
                  </a:lnTo>
                  <a:lnTo>
                    <a:pt x="179" y="9"/>
                  </a:lnTo>
                  <a:lnTo>
                    <a:pt x="178" y="7"/>
                  </a:lnTo>
                  <a:lnTo>
                    <a:pt x="176" y="4"/>
                  </a:lnTo>
                  <a:lnTo>
                    <a:pt x="174" y="2"/>
                  </a:lnTo>
                  <a:lnTo>
                    <a:pt x="172"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70">
              <a:extLst>
                <a:ext uri="{FF2B5EF4-FFF2-40B4-BE49-F238E27FC236}">
                  <a16:creationId xmlns:a16="http://schemas.microsoft.com/office/drawing/2014/main" id="{8BB2EAE5-D34D-4808-BA20-C884B267CD60}"/>
                </a:ext>
              </a:extLst>
            </p:cNvPr>
            <p:cNvSpPr>
              <a:spLocks/>
            </p:cNvSpPr>
            <p:nvPr/>
          </p:nvSpPr>
          <p:spPr bwMode="auto">
            <a:xfrm>
              <a:off x="5527675" y="1527175"/>
              <a:ext cx="225425" cy="104775"/>
            </a:xfrm>
            <a:custGeom>
              <a:avLst/>
              <a:gdLst>
                <a:gd name="T0" fmla="*/ 688 w 708"/>
                <a:gd name="T1" fmla="*/ 110 h 331"/>
                <a:gd name="T2" fmla="*/ 665 w 708"/>
                <a:gd name="T3" fmla="*/ 95 h 331"/>
                <a:gd name="T4" fmla="*/ 644 w 708"/>
                <a:gd name="T5" fmla="*/ 87 h 331"/>
                <a:gd name="T6" fmla="*/ 622 w 708"/>
                <a:gd name="T7" fmla="*/ 85 h 331"/>
                <a:gd name="T8" fmla="*/ 583 w 708"/>
                <a:gd name="T9" fmla="*/ 91 h 331"/>
                <a:gd name="T10" fmla="*/ 502 w 708"/>
                <a:gd name="T11" fmla="*/ 137 h 331"/>
                <a:gd name="T12" fmla="*/ 486 w 708"/>
                <a:gd name="T13" fmla="*/ 162 h 331"/>
                <a:gd name="T14" fmla="*/ 468 w 708"/>
                <a:gd name="T15" fmla="*/ 175 h 331"/>
                <a:gd name="T16" fmla="*/ 445 w 708"/>
                <a:gd name="T17" fmla="*/ 180 h 331"/>
                <a:gd name="T18" fmla="*/ 226 w 708"/>
                <a:gd name="T19" fmla="*/ 180 h 331"/>
                <a:gd name="T20" fmla="*/ 218 w 708"/>
                <a:gd name="T21" fmla="*/ 178 h 331"/>
                <a:gd name="T22" fmla="*/ 213 w 708"/>
                <a:gd name="T23" fmla="*/ 172 h 331"/>
                <a:gd name="T24" fmla="*/ 211 w 708"/>
                <a:gd name="T25" fmla="*/ 162 h 331"/>
                <a:gd name="T26" fmla="*/ 216 w 708"/>
                <a:gd name="T27" fmla="*/ 155 h 331"/>
                <a:gd name="T28" fmla="*/ 223 w 708"/>
                <a:gd name="T29" fmla="*/ 151 h 331"/>
                <a:gd name="T30" fmla="*/ 437 w 708"/>
                <a:gd name="T31" fmla="*/ 150 h 331"/>
                <a:gd name="T32" fmla="*/ 461 w 708"/>
                <a:gd name="T33" fmla="*/ 143 h 331"/>
                <a:gd name="T34" fmla="*/ 475 w 708"/>
                <a:gd name="T35" fmla="*/ 122 h 331"/>
                <a:gd name="T36" fmla="*/ 478 w 708"/>
                <a:gd name="T37" fmla="*/ 102 h 331"/>
                <a:gd name="T38" fmla="*/ 470 w 708"/>
                <a:gd name="T39" fmla="*/ 84 h 331"/>
                <a:gd name="T40" fmla="*/ 451 w 708"/>
                <a:gd name="T41" fmla="*/ 67 h 331"/>
                <a:gd name="T42" fmla="*/ 422 w 708"/>
                <a:gd name="T43" fmla="*/ 60 h 331"/>
                <a:gd name="T44" fmla="*/ 389 w 708"/>
                <a:gd name="T45" fmla="*/ 60 h 331"/>
                <a:gd name="T46" fmla="*/ 365 w 708"/>
                <a:gd name="T47" fmla="*/ 60 h 331"/>
                <a:gd name="T48" fmla="*/ 339 w 708"/>
                <a:gd name="T49" fmla="*/ 60 h 331"/>
                <a:gd name="T50" fmla="*/ 307 w 708"/>
                <a:gd name="T51" fmla="*/ 60 h 331"/>
                <a:gd name="T52" fmla="*/ 246 w 708"/>
                <a:gd name="T53" fmla="*/ 24 h 331"/>
                <a:gd name="T54" fmla="*/ 181 w 708"/>
                <a:gd name="T55" fmla="*/ 3 h 331"/>
                <a:gd name="T56" fmla="*/ 15 w 708"/>
                <a:gd name="T57" fmla="*/ 0 h 331"/>
                <a:gd name="T58" fmla="*/ 8 w 708"/>
                <a:gd name="T59" fmla="*/ 2 h 331"/>
                <a:gd name="T60" fmla="*/ 1 w 708"/>
                <a:gd name="T61" fmla="*/ 10 h 331"/>
                <a:gd name="T62" fmla="*/ 0 w 708"/>
                <a:gd name="T63" fmla="*/ 223 h 331"/>
                <a:gd name="T64" fmla="*/ 7 w 708"/>
                <a:gd name="T65" fmla="*/ 236 h 331"/>
                <a:gd name="T66" fmla="*/ 90 w 708"/>
                <a:gd name="T67" fmla="*/ 265 h 331"/>
                <a:gd name="T68" fmla="*/ 205 w 708"/>
                <a:gd name="T69" fmla="*/ 306 h 331"/>
                <a:gd name="T70" fmla="*/ 281 w 708"/>
                <a:gd name="T71" fmla="*/ 328 h 331"/>
                <a:gd name="T72" fmla="*/ 321 w 708"/>
                <a:gd name="T73" fmla="*/ 331 h 331"/>
                <a:gd name="T74" fmla="*/ 348 w 708"/>
                <a:gd name="T75" fmla="*/ 326 h 331"/>
                <a:gd name="T76" fmla="*/ 408 w 708"/>
                <a:gd name="T77" fmla="*/ 303 h 331"/>
                <a:gd name="T78" fmla="*/ 494 w 708"/>
                <a:gd name="T79" fmla="*/ 258 h 331"/>
                <a:gd name="T80" fmla="*/ 557 w 708"/>
                <a:gd name="T81" fmla="*/ 223 h 331"/>
                <a:gd name="T82" fmla="*/ 636 w 708"/>
                <a:gd name="T83" fmla="*/ 181 h 331"/>
                <a:gd name="T84" fmla="*/ 703 w 708"/>
                <a:gd name="T85" fmla="*/ 147 h 331"/>
                <a:gd name="T86" fmla="*/ 708 w 708"/>
                <a:gd name="T87" fmla="*/ 139 h 331"/>
                <a:gd name="T88" fmla="*/ 706 w 708"/>
                <a:gd name="T89" fmla="*/ 12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8" h="331">
                  <a:moveTo>
                    <a:pt x="704" y="125"/>
                  </a:moveTo>
                  <a:lnTo>
                    <a:pt x="695" y="117"/>
                  </a:lnTo>
                  <a:lnTo>
                    <a:pt x="688" y="110"/>
                  </a:lnTo>
                  <a:lnTo>
                    <a:pt x="680" y="104"/>
                  </a:lnTo>
                  <a:lnTo>
                    <a:pt x="673" y="99"/>
                  </a:lnTo>
                  <a:lnTo>
                    <a:pt x="665" y="95"/>
                  </a:lnTo>
                  <a:lnTo>
                    <a:pt x="658" y="91"/>
                  </a:lnTo>
                  <a:lnTo>
                    <a:pt x="650" y="89"/>
                  </a:lnTo>
                  <a:lnTo>
                    <a:pt x="644" y="87"/>
                  </a:lnTo>
                  <a:lnTo>
                    <a:pt x="636" y="85"/>
                  </a:lnTo>
                  <a:lnTo>
                    <a:pt x="629" y="85"/>
                  </a:lnTo>
                  <a:lnTo>
                    <a:pt x="622" y="85"/>
                  </a:lnTo>
                  <a:lnTo>
                    <a:pt x="615" y="85"/>
                  </a:lnTo>
                  <a:lnTo>
                    <a:pt x="599" y="88"/>
                  </a:lnTo>
                  <a:lnTo>
                    <a:pt x="583" y="91"/>
                  </a:lnTo>
                  <a:lnTo>
                    <a:pt x="507" y="115"/>
                  </a:lnTo>
                  <a:lnTo>
                    <a:pt x="505" y="127"/>
                  </a:lnTo>
                  <a:lnTo>
                    <a:pt x="502" y="137"/>
                  </a:lnTo>
                  <a:lnTo>
                    <a:pt x="497" y="147"/>
                  </a:lnTo>
                  <a:lnTo>
                    <a:pt x="491" y="157"/>
                  </a:lnTo>
                  <a:lnTo>
                    <a:pt x="486" y="162"/>
                  </a:lnTo>
                  <a:lnTo>
                    <a:pt x="480" y="166"/>
                  </a:lnTo>
                  <a:lnTo>
                    <a:pt x="474" y="171"/>
                  </a:lnTo>
                  <a:lnTo>
                    <a:pt x="468" y="175"/>
                  </a:lnTo>
                  <a:lnTo>
                    <a:pt x="460" y="177"/>
                  </a:lnTo>
                  <a:lnTo>
                    <a:pt x="453" y="179"/>
                  </a:lnTo>
                  <a:lnTo>
                    <a:pt x="445" y="180"/>
                  </a:lnTo>
                  <a:lnTo>
                    <a:pt x="437" y="180"/>
                  </a:lnTo>
                  <a:lnTo>
                    <a:pt x="422" y="180"/>
                  </a:lnTo>
                  <a:lnTo>
                    <a:pt x="226" y="180"/>
                  </a:lnTo>
                  <a:lnTo>
                    <a:pt x="223" y="180"/>
                  </a:lnTo>
                  <a:lnTo>
                    <a:pt x="220" y="179"/>
                  </a:lnTo>
                  <a:lnTo>
                    <a:pt x="218" y="178"/>
                  </a:lnTo>
                  <a:lnTo>
                    <a:pt x="216" y="176"/>
                  </a:lnTo>
                  <a:lnTo>
                    <a:pt x="214" y="174"/>
                  </a:lnTo>
                  <a:lnTo>
                    <a:pt x="213" y="172"/>
                  </a:lnTo>
                  <a:lnTo>
                    <a:pt x="211" y="169"/>
                  </a:lnTo>
                  <a:lnTo>
                    <a:pt x="211" y="165"/>
                  </a:lnTo>
                  <a:lnTo>
                    <a:pt x="211" y="162"/>
                  </a:lnTo>
                  <a:lnTo>
                    <a:pt x="213" y="160"/>
                  </a:lnTo>
                  <a:lnTo>
                    <a:pt x="214" y="157"/>
                  </a:lnTo>
                  <a:lnTo>
                    <a:pt x="216" y="155"/>
                  </a:lnTo>
                  <a:lnTo>
                    <a:pt x="218" y="154"/>
                  </a:lnTo>
                  <a:lnTo>
                    <a:pt x="220" y="151"/>
                  </a:lnTo>
                  <a:lnTo>
                    <a:pt x="223" y="151"/>
                  </a:lnTo>
                  <a:lnTo>
                    <a:pt x="226" y="150"/>
                  </a:lnTo>
                  <a:lnTo>
                    <a:pt x="422" y="150"/>
                  </a:lnTo>
                  <a:lnTo>
                    <a:pt x="437" y="150"/>
                  </a:lnTo>
                  <a:lnTo>
                    <a:pt x="446" y="149"/>
                  </a:lnTo>
                  <a:lnTo>
                    <a:pt x="455" y="147"/>
                  </a:lnTo>
                  <a:lnTo>
                    <a:pt x="461" y="143"/>
                  </a:lnTo>
                  <a:lnTo>
                    <a:pt x="468" y="137"/>
                  </a:lnTo>
                  <a:lnTo>
                    <a:pt x="472" y="130"/>
                  </a:lnTo>
                  <a:lnTo>
                    <a:pt x="475" y="122"/>
                  </a:lnTo>
                  <a:lnTo>
                    <a:pt x="477" y="114"/>
                  </a:lnTo>
                  <a:lnTo>
                    <a:pt x="478" y="105"/>
                  </a:lnTo>
                  <a:lnTo>
                    <a:pt x="478" y="102"/>
                  </a:lnTo>
                  <a:lnTo>
                    <a:pt x="478" y="98"/>
                  </a:lnTo>
                  <a:lnTo>
                    <a:pt x="474" y="90"/>
                  </a:lnTo>
                  <a:lnTo>
                    <a:pt x="470" y="84"/>
                  </a:lnTo>
                  <a:lnTo>
                    <a:pt x="465" y="76"/>
                  </a:lnTo>
                  <a:lnTo>
                    <a:pt x="458" y="71"/>
                  </a:lnTo>
                  <a:lnTo>
                    <a:pt x="451" y="67"/>
                  </a:lnTo>
                  <a:lnTo>
                    <a:pt x="442" y="63"/>
                  </a:lnTo>
                  <a:lnTo>
                    <a:pt x="432" y="61"/>
                  </a:lnTo>
                  <a:lnTo>
                    <a:pt x="422" y="60"/>
                  </a:lnTo>
                  <a:lnTo>
                    <a:pt x="410" y="60"/>
                  </a:lnTo>
                  <a:lnTo>
                    <a:pt x="399" y="60"/>
                  </a:lnTo>
                  <a:lnTo>
                    <a:pt x="389" y="60"/>
                  </a:lnTo>
                  <a:lnTo>
                    <a:pt x="381" y="60"/>
                  </a:lnTo>
                  <a:lnTo>
                    <a:pt x="373" y="60"/>
                  </a:lnTo>
                  <a:lnTo>
                    <a:pt x="365" y="60"/>
                  </a:lnTo>
                  <a:lnTo>
                    <a:pt x="356" y="60"/>
                  </a:lnTo>
                  <a:lnTo>
                    <a:pt x="349" y="60"/>
                  </a:lnTo>
                  <a:lnTo>
                    <a:pt x="339" y="60"/>
                  </a:lnTo>
                  <a:lnTo>
                    <a:pt x="330" y="60"/>
                  </a:lnTo>
                  <a:lnTo>
                    <a:pt x="320" y="60"/>
                  </a:lnTo>
                  <a:lnTo>
                    <a:pt x="307" y="60"/>
                  </a:lnTo>
                  <a:lnTo>
                    <a:pt x="288" y="46"/>
                  </a:lnTo>
                  <a:lnTo>
                    <a:pt x="267" y="33"/>
                  </a:lnTo>
                  <a:lnTo>
                    <a:pt x="246" y="24"/>
                  </a:lnTo>
                  <a:lnTo>
                    <a:pt x="225" y="15"/>
                  </a:lnTo>
                  <a:lnTo>
                    <a:pt x="204" y="9"/>
                  </a:lnTo>
                  <a:lnTo>
                    <a:pt x="181" y="3"/>
                  </a:lnTo>
                  <a:lnTo>
                    <a:pt x="159" y="1"/>
                  </a:lnTo>
                  <a:lnTo>
                    <a:pt x="136" y="0"/>
                  </a:lnTo>
                  <a:lnTo>
                    <a:pt x="15" y="0"/>
                  </a:lnTo>
                  <a:lnTo>
                    <a:pt x="13" y="0"/>
                  </a:lnTo>
                  <a:lnTo>
                    <a:pt x="10" y="1"/>
                  </a:lnTo>
                  <a:lnTo>
                    <a:pt x="8" y="2"/>
                  </a:lnTo>
                  <a:lnTo>
                    <a:pt x="4" y="4"/>
                  </a:lnTo>
                  <a:lnTo>
                    <a:pt x="3" y="7"/>
                  </a:lnTo>
                  <a:lnTo>
                    <a:pt x="1" y="10"/>
                  </a:lnTo>
                  <a:lnTo>
                    <a:pt x="1" y="12"/>
                  </a:lnTo>
                  <a:lnTo>
                    <a:pt x="0" y="15"/>
                  </a:lnTo>
                  <a:lnTo>
                    <a:pt x="0" y="223"/>
                  </a:lnTo>
                  <a:lnTo>
                    <a:pt x="1" y="229"/>
                  </a:lnTo>
                  <a:lnTo>
                    <a:pt x="3" y="232"/>
                  </a:lnTo>
                  <a:lnTo>
                    <a:pt x="7" y="236"/>
                  </a:lnTo>
                  <a:lnTo>
                    <a:pt x="11" y="238"/>
                  </a:lnTo>
                  <a:lnTo>
                    <a:pt x="53" y="252"/>
                  </a:lnTo>
                  <a:lnTo>
                    <a:pt x="90" y="265"/>
                  </a:lnTo>
                  <a:lnTo>
                    <a:pt x="123" y="277"/>
                  </a:lnTo>
                  <a:lnTo>
                    <a:pt x="154" y="288"/>
                  </a:lnTo>
                  <a:lnTo>
                    <a:pt x="205" y="306"/>
                  </a:lnTo>
                  <a:lnTo>
                    <a:pt x="247" y="320"/>
                  </a:lnTo>
                  <a:lnTo>
                    <a:pt x="264" y="325"/>
                  </a:lnTo>
                  <a:lnTo>
                    <a:pt x="281" y="328"/>
                  </a:lnTo>
                  <a:lnTo>
                    <a:pt x="296" y="331"/>
                  </a:lnTo>
                  <a:lnTo>
                    <a:pt x="311" y="331"/>
                  </a:lnTo>
                  <a:lnTo>
                    <a:pt x="321" y="331"/>
                  </a:lnTo>
                  <a:lnTo>
                    <a:pt x="329" y="329"/>
                  </a:lnTo>
                  <a:lnTo>
                    <a:pt x="338" y="328"/>
                  </a:lnTo>
                  <a:lnTo>
                    <a:pt x="348" y="326"/>
                  </a:lnTo>
                  <a:lnTo>
                    <a:pt x="366" y="321"/>
                  </a:lnTo>
                  <a:lnTo>
                    <a:pt x="386" y="313"/>
                  </a:lnTo>
                  <a:lnTo>
                    <a:pt x="408" y="303"/>
                  </a:lnTo>
                  <a:lnTo>
                    <a:pt x="433" y="291"/>
                  </a:lnTo>
                  <a:lnTo>
                    <a:pt x="461" y="276"/>
                  </a:lnTo>
                  <a:lnTo>
                    <a:pt x="494" y="258"/>
                  </a:lnTo>
                  <a:lnTo>
                    <a:pt x="513" y="247"/>
                  </a:lnTo>
                  <a:lnTo>
                    <a:pt x="533" y="236"/>
                  </a:lnTo>
                  <a:lnTo>
                    <a:pt x="557" y="223"/>
                  </a:lnTo>
                  <a:lnTo>
                    <a:pt x="581" y="210"/>
                  </a:lnTo>
                  <a:lnTo>
                    <a:pt x="607" y="196"/>
                  </a:lnTo>
                  <a:lnTo>
                    <a:pt x="636" y="181"/>
                  </a:lnTo>
                  <a:lnTo>
                    <a:pt x="667" y="165"/>
                  </a:lnTo>
                  <a:lnTo>
                    <a:pt x="699" y="149"/>
                  </a:lnTo>
                  <a:lnTo>
                    <a:pt x="703" y="147"/>
                  </a:lnTo>
                  <a:lnTo>
                    <a:pt x="705" y="145"/>
                  </a:lnTo>
                  <a:lnTo>
                    <a:pt x="707" y="142"/>
                  </a:lnTo>
                  <a:lnTo>
                    <a:pt x="708" y="139"/>
                  </a:lnTo>
                  <a:lnTo>
                    <a:pt x="708" y="134"/>
                  </a:lnTo>
                  <a:lnTo>
                    <a:pt x="707" y="131"/>
                  </a:lnTo>
                  <a:lnTo>
                    <a:pt x="706" y="128"/>
                  </a:lnTo>
                  <a:lnTo>
                    <a:pt x="704" y="125"/>
                  </a:lnTo>
                  <a:lnTo>
                    <a:pt x="704"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a:extLst>
              <a:ext uri="{FF2B5EF4-FFF2-40B4-BE49-F238E27FC236}">
                <a16:creationId xmlns:a16="http://schemas.microsoft.com/office/drawing/2014/main" id="{4FF238F6-9B4C-4C69-AAB0-EB738F38E158}"/>
              </a:ext>
            </a:extLst>
          </p:cNvPr>
          <p:cNvGrpSpPr/>
          <p:nvPr/>
        </p:nvGrpSpPr>
        <p:grpSpPr>
          <a:xfrm>
            <a:off x="7454536" y="2240145"/>
            <a:ext cx="368186" cy="370278"/>
            <a:chOff x="6450013" y="5349875"/>
            <a:chExt cx="279399" cy="280988"/>
          </a:xfrm>
          <a:solidFill>
            <a:schemeClr val="accent1">
              <a:lumMod val="75000"/>
            </a:schemeClr>
          </a:solidFill>
        </p:grpSpPr>
        <p:sp>
          <p:nvSpPr>
            <p:cNvPr id="85" name="Freeform 3673">
              <a:extLst>
                <a:ext uri="{FF2B5EF4-FFF2-40B4-BE49-F238E27FC236}">
                  <a16:creationId xmlns:a16="http://schemas.microsoft.com/office/drawing/2014/main" id="{9A520C00-24EA-4D08-BAFC-70CB343A59E0}"/>
                </a:ext>
              </a:extLst>
            </p:cNvPr>
            <p:cNvSpPr>
              <a:spLocks/>
            </p:cNvSpPr>
            <p:nvPr/>
          </p:nvSpPr>
          <p:spPr bwMode="auto">
            <a:xfrm>
              <a:off x="6450013" y="5349875"/>
              <a:ext cx="182562" cy="238125"/>
            </a:xfrm>
            <a:custGeom>
              <a:avLst/>
              <a:gdLst>
                <a:gd name="T0" fmla="*/ 379 w 459"/>
                <a:gd name="T1" fmla="*/ 550 h 602"/>
                <a:gd name="T2" fmla="*/ 380 w 459"/>
                <a:gd name="T3" fmla="*/ 519 h 602"/>
                <a:gd name="T4" fmla="*/ 345 w 459"/>
                <a:gd name="T5" fmla="*/ 495 h 602"/>
                <a:gd name="T6" fmla="*/ 397 w 459"/>
                <a:gd name="T7" fmla="*/ 400 h 602"/>
                <a:gd name="T8" fmla="*/ 408 w 459"/>
                <a:gd name="T9" fmla="*/ 395 h 602"/>
                <a:gd name="T10" fmla="*/ 450 w 459"/>
                <a:gd name="T11" fmla="*/ 406 h 602"/>
                <a:gd name="T12" fmla="*/ 412 w 459"/>
                <a:gd name="T13" fmla="*/ 384 h 602"/>
                <a:gd name="T14" fmla="*/ 376 w 459"/>
                <a:gd name="T15" fmla="*/ 370 h 602"/>
                <a:gd name="T16" fmla="*/ 361 w 459"/>
                <a:gd name="T17" fmla="*/ 307 h 602"/>
                <a:gd name="T18" fmla="*/ 379 w 459"/>
                <a:gd name="T19" fmla="*/ 288 h 602"/>
                <a:gd name="T20" fmla="*/ 397 w 459"/>
                <a:gd name="T21" fmla="*/ 252 h 602"/>
                <a:gd name="T22" fmla="*/ 406 w 459"/>
                <a:gd name="T23" fmla="*/ 214 h 602"/>
                <a:gd name="T24" fmla="*/ 415 w 459"/>
                <a:gd name="T25" fmla="*/ 202 h 602"/>
                <a:gd name="T26" fmla="*/ 420 w 459"/>
                <a:gd name="T27" fmla="*/ 183 h 602"/>
                <a:gd name="T28" fmla="*/ 416 w 459"/>
                <a:gd name="T29" fmla="*/ 152 h 602"/>
                <a:gd name="T30" fmla="*/ 412 w 459"/>
                <a:gd name="T31" fmla="*/ 121 h 602"/>
                <a:gd name="T32" fmla="*/ 420 w 459"/>
                <a:gd name="T33" fmla="*/ 78 h 602"/>
                <a:gd name="T34" fmla="*/ 415 w 459"/>
                <a:gd name="T35" fmla="*/ 45 h 602"/>
                <a:gd name="T36" fmla="*/ 403 w 459"/>
                <a:gd name="T37" fmla="*/ 27 h 602"/>
                <a:gd name="T38" fmla="*/ 382 w 459"/>
                <a:gd name="T39" fmla="*/ 15 h 602"/>
                <a:gd name="T40" fmla="*/ 341 w 459"/>
                <a:gd name="T41" fmla="*/ 3 h 602"/>
                <a:gd name="T42" fmla="*/ 291 w 459"/>
                <a:gd name="T43" fmla="*/ 0 h 602"/>
                <a:gd name="T44" fmla="*/ 245 w 459"/>
                <a:gd name="T45" fmla="*/ 9 h 602"/>
                <a:gd name="T46" fmla="*/ 213 w 459"/>
                <a:gd name="T47" fmla="*/ 27 h 602"/>
                <a:gd name="T48" fmla="*/ 201 w 459"/>
                <a:gd name="T49" fmla="*/ 42 h 602"/>
                <a:gd name="T50" fmla="*/ 181 w 459"/>
                <a:gd name="T51" fmla="*/ 44 h 602"/>
                <a:gd name="T52" fmla="*/ 163 w 459"/>
                <a:gd name="T53" fmla="*/ 56 h 602"/>
                <a:gd name="T54" fmla="*/ 155 w 459"/>
                <a:gd name="T55" fmla="*/ 87 h 602"/>
                <a:gd name="T56" fmla="*/ 164 w 459"/>
                <a:gd name="T57" fmla="*/ 138 h 602"/>
                <a:gd name="T58" fmla="*/ 159 w 459"/>
                <a:gd name="T59" fmla="*/ 144 h 602"/>
                <a:gd name="T60" fmla="*/ 150 w 459"/>
                <a:gd name="T61" fmla="*/ 162 h 602"/>
                <a:gd name="T62" fmla="*/ 149 w 459"/>
                <a:gd name="T63" fmla="*/ 184 h 602"/>
                <a:gd name="T64" fmla="*/ 154 w 459"/>
                <a:gd name="T65" fmla="*/ 201 h 602"/>
                <a:gd name="T66" fmla="*/ 163 w 459"/>
                <a:gd name="T67" fmla="*/ 214 h 602"/>
                <a:gd name="T68" fmla="*/ 169 w 459"/>
                <a:gd name="T69" fmla="*/ 237 h 602"/>
                <a:gd name="T70" fmla="*/ 179 w 459"/>
                <a:gd name="T71" fmla="*/ 271 h 602"/>
                <a:gd name="T72" fmla="*/ 203 w 459"/>
                <a:gd name="T73" fmla="*/ 306 h 602"/>
                <a:gd name="T74" fmla="*/ 215 w 459"/>
                <a:gd name="T75" fmla="*/ 364 h 602"/>
                <a:gd name="T76" fmla="*/ 171 w 459"/>
                <a:gd name="T77" fmla="*/ 381 h 602"/>
                <a:gd name="T78" fmla="*/ 106 w 459"/>
                <a:gd name="T79" fmla="*/ 401 h 602"/>
                <a:gd name="T80" fmla="*/ 46 w 459"/>
                <a:gd name="T81" fmla="*/ 428 h 602"/>
                <a:gd name="T82" fmla="*/ 22 w 459"/>
                <a:gd name="T83" fmla="*/ 449 h 602"/>
                <a:gd name="T84" fmla="*/ 10 w 459"/>
                <a:gd name="T85" fmla="*/ 479 h 602"/>
                <a:gd name="T86" fmla="*/ 2 w 459"/>
                <a:gd name="T87" fmla="*/ 540 h 602"/>
                <a:gd name="T88" fmla="*/ 1 w 459"/>
                <a:gd name="T89" fmla="*/ 594 h 602"/>
                <a:gd name="T90" fmla="*/ 11 w 459"/>
                <a:gd name="T91" fmla="*/ 602 h 602"/>
                <a:gd name="T92" fmla="*/ 345 w 459"/>
                <a:gd name="T93" fmla="*/ 589 h 602"/>
                <a:gd name="T94" fmla="*/ 352 w 459"/>
                <a:gd name="T95" fmla="*/ 577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9" h="602">
                  <a:moveTo>
                    <a:pt x="352" y="577"/>
                  </a:moveTo>
                  <a:lnTo>
                    <a:pt x="380" y="560"/>
                  </a:lnTo>
                  <a:lnTo>
                    <a:pt x="379" y="550"/>
                  </a:lnTo>
                  <a:lnTo>
                    <a:pt x="379" y="540"/>
                  </a:lnTo>
                  <a:lnTo>
                    <a:pt x="379" y="530"/>
                  </a:lnTo>
                  <a:lnTo>
                    <a:pt x="380" y="519"/>
                  </a:lnTo>
                  <a:lnTo>
                    <a:pt x="352" y="503"/>
                  </a:lnTo>
                  <a:lnTo>
                    <a:pt x="348" y="499"/>
                  </a:lnTo>
                  <a:lnTo>
                    <a:pt x="345" y="495"/>
                  </a:lnTo>
                  <a:lnTo>
                    <a:pt x="345" y="490"/>
                  </a:lnTo>
                  <a:lnTo>
                    <a:pt x="346" y="486"/>
                  </a:lnTo>
                  <a:lnTo>
                    <a:pt x="397" y="400"/>
                  </a:lnTo>
                  <a:lnTo>
                    <a:pt x="399" y="397"/>
                  </a:lnTo>
                  <a:lnTo>
                    <a:pt x="403" y="395"/>
                  </a:lnTo>
                  <a:lnTo>
                    <a:pt x="408" y="395"/>
                  </a:lnTo>
                  <a:lnTo>
                    <a:pt x="413" y="396"/>
                  </a:lnTo>
                  <a:lnTo>
                    <a:pt x="441" y="413"/>
                  </a:lnTo>
                  <a:lnTo>
                    <a:pt x="450" y="406"/>
                  </a:lnTo>
                  <a:lnTo>
                    <a:pt x="459" y="401"/>
                  </a:lnTo>
                  <a:lnTo>
                    <a:pt x="424" y="388"/>
                  </a:lnTo>
                  <a:lnTo>
                    <a:pt x="412" y="384"/>
                  </a:lnTo>
                  <a:lnTo>
                    <a:pt x="400" y="379"/>
                  </a:lnTo>
                  <a:lnTo>
                    <a:pt x="389" y="375"/>
                  </a:lnTo>
                  <a:lnTo>
                    <a:pt x="376" y="370"/>
                  </a:lnTo>
                  <a:lnTo>
                    <a:pt x="368" y="368"/>
                  </a:lnTo>
                  <a:lnTo>
                    <a:pt x="361" y="364"/>
                  </a:lnTo>
                  <a:lnTo>
                    <a:pt x="361" y="307"/>
                  </a:lnTo>
                  <a:lnTo>
                    <a:pt x="366" y="302"/>
                  </a:lnTo>
                  <a:lnTo>
                    <a:pt x="372" y="297"/>
                  </a:lnTo>
                  <a:lnTo>
                    <a:pt x="379" y="288"/>
                  </a:lnTo>
                  <a:lnTo>
                    <a:pt x="385" y="279"/>
                  </a:lnTo>
                  <a:lnTo>
                    <a:pt x="391" y="266"/>
                  </a:lnTo>
                  <a:lnTo>
                    <a:pt x="397" y="252"/>
                  </a:lnTo>
                  <a:lnTo>
                    <a:pt x="400" y="235"/>
                  </a:lnTo>
                  <a:lnTo>
                    <a:pt x="402" y="216"/>
                  </a:lnTo>
                  <a:lnTo>
                    <a:pt x="406" y="214"/>
                  </a:lnTo>
                  <a:lnTo>
                    <a:pt x="409" y="211"/>
                  </a:lnTo>
                  <a:lnTo>
                    <a:pt x="412" y="207"/>
                  </a:lnTo>
                  <a:lnTo>
                    <a:pt x="415" y="202"/>
                  </a:lnTo>
                  <a:lnTo>
                    <a:pt x="417" y="197"/>
                  </a:lnTo>
                  <a:lnTo>
                    <a:pt x="418" y="191"/>
                  </a:lnTo>
                  <a:lnTo>
                    <a:pt x="420" y="183"/>
                  </a:lnTo>
                  <a:lnTo>
                    <a:pt x="420" y="175"/>
                  </a:lnTo>
                  <a:lnTo>
                    <a:pt x="420" y="164"/>
                  </a:lnTo>
                  <a:lnTo>
                    <a:pt x="416" y="152"/>
                  </a:lnTo>
                  <a:lnTo>
                    <a:pt x="412" y="144"/>
                  </a:lnTo>
                  <a:lnTo>
                    <a:pt x="406" y="137"/>
                  </a:lnTo>
                  <a:lnTo>
                    <a:pt x="412" y="121"/>
                  </a:lnTo>
                  <a:lnTo>
                    <a:pt x="417" y="101"/>
                  </a:lnTo>
                  <a:lnTo>
                    <a:pt x="420" y="89"/>
                  </a:lnTo>
                  <a:lnTo>
                    <a:pt x="420" y="78"/>
                  </a:lnTo>
                  <a:lnTo>
                    <a:pt x="420" y="65"/>
                  </a:lnTo>
                  <a:lnTo>
                    <a:pt x="417" y="53"/>
                  </a:lnTo>
                  <a:lnTo>
                    <a:pt x="415" y="45"/>
                  </a:lnTo>
                  <a:lnTo>
                    <a:pt x="412" y="39"/>
                  </a:lnTo>
                  <a:lnTo>
                    <a:pt x="407" y="34"/>
                  </a:lnTo>
                  <a:lnTo>
                    <a:pt x="403" y="27"/>
                  </a:lnTo>
                  <a:lnTo>
                    <a:pt x="397" y="24"/>
                  </a:lnTo>
                  <a:lnTo>
                    <a:pt x="390" y="18"/>
                  </a:lnTo>
                  <a:lnTo>
                    <a:pt x="382" y="15"/>
                  </a:lnTo>
                  <a:lnTo>
                    <a:pt x="376" y="12"/>
                  </a:lnTo>
                  <a:lnTo>
                    <a:pt x="359" y="7"/>
                  </a:lnTo>
                  <a:lnTo>
                    <a:pt x="341" y="3"/>
                  </a:lnTo>
                  <a:lnTo>
                    <a:pt x="325" y="0"/>
                  </a:lnTo>
                  <a:lnTo>
                    <a:pt x="307" y="0"/>
                  </a:lnTo>
                  <a:lnTo>
                    <a:pt x="291" y="0"/>
                  </a:lnTo>
                  <a:lnTo>
                    <a:pt x="276" y="2"/>
                  </a:lnTo>
                  <a:lnTo>
                    <a:pt x="260" y="6"/>
                  </a:lnTo>
                  <a:lnTo>
                    <a:pt x="245" y="9"/>
                  </a:lnTo>
                  <a:lnTo>
                    <a:pt x="231" y="16"/>
                  </a:lnTo>
                  <a:lnTo>
                    <a:pt x="218" y="22"/>
                  </a:lnTo>
                  <a:lnTo>
                    <a:pt x="213" y="27"/>
                  </a:lnTo>
                  <a:lnTo>
                    <a:pt x="209" y="31"/>
                  </a:lnTo>
                  <a:lnTo>
                    <a:pt x="204" y="36"/>
                  </a:lnTo>
                  <a:lnTo>
                    <a:pt x="201" y="42"/>
                  </a:lnTo>
                  <a:lnTo>
                    <a:pt x="194" y="42"/>
                  </a:lnTo>
                  <a:lnTo>
                    <a:pt x="187" y="43"/>
                  </a:lnTo>
                  <a:lnTo>
                    <a:pt x="181" y="44"/>
                  </a:lnTo>
                  <a:lnTo>
                    <a:pt x="176" y="45"/>
                  </a:lnTo>
                  <a:lnTo>
                    <a:pt x="168" y="51"/>
                  </a:lnTo>
                  <a:lnTo>
                    <a:pt x="163" y="56"/>
                  </a:lnTo>
                  <a:lnTo>
                    <a:pt x="158" y="65"/>
                  </a:lnTo>
                  <a:lnTo>
                    <a:pt x="155" y="75"/>
                  </a:lnTo>
                  <a:lnTo>
                    <a:pt x="155" y="87"/>
                  </a:lnTo>
                  <a:lnTo>
                    <a:pt x="155" y="98"/>
                  </a:lnTo>
                  <a:lnTo>
                    <a:pt x="159" y="120"/>
                  </a:lnTo>
                  <a:lnTo>
                    <a:pt x="164" y="138"/>
                  </a:lnTo>
                  <a:lnTo>
                    <a:pt x="164" y="139"/>
                  </a:lnTo>
                  <a:lnTo>
                    <a:pt x="164" y="139"/>
                  </a:lnTo>
                  <a:lnTo>
                    <a:pt x="159" y="144"/>
                  </a:lnTo>
                  <a:lnTo>
                    <a:pt x="154" y="151"/>
                  </a:lnTo>
                  <a:lnTo>
                    <a:pt x="151" y="156"/>
                  </a:lnTo>
                  <a:lnTo>
                    <a:pt x="150" y="162"/>
                  </a:lnTo>
                  <a:lnTo>
                    <a:pt x="149" y="170"/>
                  </a:lnTo>
                  <a:lnTo>
                    <a:pt x="149" y="176"/>
                  </a:lnTo>
                  <a:lnTo>
                    <a:pt x="149" y="184"/>
                  </a:lnTo>
                  <a:lnTo>
                    <a:pt x="150" y="191"/>
                  </a:lnTo>
                  <a:lnTo>
                    <a:pt x="151" y="196"/>
                  </a:lnTo>
                  <a:lnTo>
                    <a:pt x="154" y="201"/>
                  </a:lnTo>
                  <a:lnTo>
                    <a:pt x="156" y="206"/>
                  </a:lnTo>
                  <a:lnTo>
                    <a:pt x="159" y="210"/>
                  </a:lnTo>
                  <a:lnTo>
                    <a:pt x="163" y="214"/>
                  </a:lnTo>
                  <a:lnTo>
                    <a:pt x="167" y="216"/>
                  </a:lnTo>
                  <a:lnTo>
                    <a:pt x="168" y="227"/>
                  </a:lnTo>
                  <a:lnTo>
                    <a:pt x="169" y="237"/>
                  </a:lnTo>
                  <a:lnTo>
                    <a:pt x="172" y="246"/>
                  </a:lnTo>
                  <a:lnTo>
                    <a:pt x="174" y="255"/>
                  </a:lnTo>
                  <a:lnTo>
                    <a:pt x="179" y="271"/>
                  </a:lnTo>
                  <a:lnTo>
                    <a:pt x="187" y="286"/>
                  </a:lnTo>
                  <a:lnTo>
                    <a:pt x="195" y="297"/>
                  </a:lnTo>
                  <a:lnTo>
                    <a:pt x="203" y="306"/>
                  </a:lnTo>
                  <a:lnTo>
                    <a:pt x="210" y="314"/>
                  </a:lnTo>
                  <a:lnTo>
                    <a:pt x="215" y="319"/>
                  </a:lnTo>
                  <a:lnTo>
                    <a:pt x="215" y="364"/>
                  </a:lnTo>
                  <a:lnTo>
                    <a:pt x="201" y="369"/>
                  </a:lnTo>
                  <a:lnTo>
                    <a:pt x="186" y="375"/>
                  </a:lnTo>
                  <a:lnTo>
                    <a:pt x="171" y="381"/>
                  </a:lnTo>
                  <a:lnTo>
                    <a:pt x="155" y="384"/>
                  </a:lnTo>
                  <a:lnTo>
                    <a:pt x="129" y="393"/>
                  </a:lnTo>
                  <a:lnTo>
                    <a:pt x="106" y="401"/>
                  </a:lnTo>
                  <a:lnTo>
                    <a:pt x="83" y="410"/>
                  </a:lnTo>
                  <a:lnTo>
                    <a:pt x="64" y="419"/>
                  </a:lnTo>
                  <a:lnTo>
                    <a:pt x="46" y="428"/>
                  </a:lnTo>
                  <a:lnTo>
                    <a:pt x="32" y="438"/>
                  </a:lnTo>
                  <a:lnTo>
                    <a:pt x="27" y="444"/>
                  </a:lnTo>
                  <a:lnTo>
                    <a:pt x="22" y="449"/>
                  </a:lnTo>
                  <a:lnTo>
                    <a:pt x="18" y="455"/>
                  </a:lnTo>
                  <a:lnTo>
                    <a:pt x="15" y="460"/>
                  </a:lnTo>
                  <a:lnTo>
                    <a:pt x="10" y="479"/>
                  </a:lnTo>
                  <a:lnTo>
                    <a:pt x="6" y="499"/>
                  </a:lnTo>
                  <a:lnTo>
                    <a:pt x="4" y="521"/>
                  </a:lnTo>
                  <a:lnTo>
                    <a:pt x="2" y="540"/>
                  </a:lnTo>
                  <a:lnTo>
                    <a:pt x="0" y="573"/>
                  </a:lnTo>
                  <a:lnTo>
                    <a:pt x="0" y="589"/>
                  </a:lnTo>
                  <a:lnTo>
                    <a:pt x="1" y="594"/>
                  </a:lnTo>
                  <a:lnTo>
                    <a:pt x="4" y="598"/>
                  </a:lnTo>
                  <a:lnTo>
                    <a:pt x="7" y="600"/>
                  </a:lnTo>
                  <a:lnTo>
                    <a:pt x="11" y="602"/>
                  </a:lnTo>
                  <a:lnTo>
                    <a:pt x="350" y="602"/>
                  </a:lnTo>
                  <a:lnTo>
                    <a:pt x="346" y="594"/>
                  </a:lnTo>
                  <a:lnTo>
                    <a:pt x="345" y="589"/>
                  </a:lnTo>
                  <a:lnTo>
                    <a:pt x="345" y="585"/>
                  </a:lnTo>
                  <a:lnTo>
                    <a:pt x="348" y="581"/>
                  </a:lnTo>
                  <a:lnTo>
                    <a:pt x="352" y="5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674">
              <a:extLst>
                <a:ext uri="{FF2B5EF4-FFF2-40B4-BE49-F238E27FC236}">
                  <a16:creationId xmlns:a16="http://schemas.microsoft.com/office/drawing/2014/main" id="{92549085-FAF5-440C-B998-EA033A3D5F2D}"/>
                </a:ext>
              </a:extLst>
            </p:cNvPr>
            <p:cNvSpPr>
              <a:spLocks noEditPoints="1"/>
            </p:cNvSpPr>
            <p:nvPr/>
          </p:nvSpPr>
          <p:spPr bwMode="auto">
            <a:xfrm>
              <a:off x="6597650" y="5497513"/>
              <a:ext cx="131762" cy="133350"/>
            </a:xfrm>
            <a:custGeom>
              <a:avLst/>
              <a:gdLst>
                <a:gd name="T0" fmla="*/ 151 w 332"/>
                <a:gd name="T1" fmla="*/ 243 h 336"/>
                <a:gd name="T2" fmla="*/ 129 w 332"/>
                <a:gd name="T3" fmla="*/ 235 h 336"/>
                <a:gd name="T4" fmla="*/ 111 w 332"/>
                <a:gd name="T5" fmla="*/ 222 h 336"/>
                <a:gd name="T6" fmla="*/ 97 w 332"/>
                <a:gd name="T7" fmla="*/ 204 h 336"/>
                <a:gd name="T8" fmla="*/ 89 w 332"/>
                <a:gd name="T9" fmla="*/ 182 h 336"/>
                <a:gd name="T10" fmla="*/ 88 w 332"/>
                <a:gd name="T11" fmla="*/ 159 h 336"/>
                <a:gd name="T12" fmla="*/ 94 w 332"/>
                <a:gd name="T13" fmla="*/ 136 h 336"/>
                <a:gd name="T14" fmla="*/ 106 w 332"/>
                <a:gd name="T15" fmla="*/ 117 h 336"/>
                <a:gd name="T16" fmla="*/ 122 w 332"/>
                <a:gd name="T17" fmla="*/ 103 h 336"/>
                <a:gd name="T18" fmla="*/ 143 w 332"/>
                <a:gd name="T19" fmla="*/ 92 h 336"/>
                <a:gd name="T20" fmla="*/ 166 w 332"/>
                <a:gd name="T21" fmla="*/ 89 h 336"/>
                <a:gd name="T22" fmla="*/ 189 w 332"/>
                <a:gd name="T23" fmla="*/ 92 h 336"/>
                <a:gd name="T24" fmla="*/ 210 w 332"/>
                <a:gd name="T25" fmla="*/ 103 h 336"/>
                <a:gd name="T26" fmla="*/ 226 w 332"/>
                <a:gd name="T27" fmla="*/ 117 h 336"/>
                <a:gd name="T28" fmla="*/ 238 w 332"/>
                <a:gd name="T29" fmla="*/ 136 h 336"/>
                <a:gd name="T30" fmla="*/ 243 w 332"/>
                <a:gd name="T31" fmla="*/ 159 h 336"/>
                <a:gd name="T32" fmla="*/ 242 w 332"/>
                <a:gd name="T33" fmla="*/ 182 h 336"/>
                <a:gd name="T34" fmla="*/ 234 w 332"/>
                <a:gd name="T35" fmla="*/ 204 h 336"/>
                <a:gd name="T36" fmla="*/ 221 w 332"/>
                <a:gd name="T37" fmla="*/ 222 h 336"/>
                <a:gd name="T38" fmla="*/ 203 w 332"/>
                <a:gd name="T39" fmla="*/ 235 h 336"/>
                <a:gd name="T40" fmla="*/ 181 w 332"/>
                <a:gd name="T41" fmla="*/ 243 h 336"/>
                <a:gd name="T42" fmla="*/ 306 w 332"/>
                <a:gd name="T43" fmla="*/ 204 h 336"/>
                <a:gd name="T44" fmla="*/ 300 w 332"/>
                <a:gd name="T45" fmla="*/ 195 h 336"/>
                <a:gd name="T46" fmla="*/ 302 w 332"/>
                <a:gd name="T47" fmla="*/ 167 h 336"/>
                <a:gd name="T48" fmla="*/ 300 w 332"/>
                <a:gd name="T49" fmla="*/ 139 h 336"/>
                <a:gd name="T50" fmla="*/ 306 w 332"/>
                <a:gd name="T51" fmla="*/ 130 h 336"/>
                <a:gd name="T52" fmla="*/ 269 w 332"/>
                <a:gd name="T53" fmla="*/ 64 h 336"/>
                <a:gd name="T54" fmla="*/ 257 w 332"/>
                <a:gd name="T55" fmla="*/ 65 h 336"/>
                <a:gd name="T56" fmla="*/ 242 w 332"/>
                <a:gd name="T57" fmla="*/ 53 h 336"/>
                <a:gd name="T58" fmla="*/ 215 w 332"/>
                <a:gd name="T59" fmla="*/ 35 h 336"/>
                <a:gd name="T60" fmla="*/ 207 w 332"/>
                <a:gd name="T61" fmla="*/ 27 h 336"/>
                <a:gd name="T62" fmla="*/ 135 w 332"/>
                <a:gd name="T63" fmla="*/ 0 h 336"/>
                <a:gd name="T64" fmla="*/ 133 w 332"/>
                <a:gd name="T65" fmla="*/ 31 h 336"/>
                <a:gd name="T66" fmla="*/ 113 w 332"/>
                <a:gd name="T67" fmla="*/ 41 h 336"/>
                <a:gd name="T68" fmla="*/ 77 w 332"/>
                <a:gd name="T69" fmla="*/ 63 h 336"/>
                <a:gd name="T70" fmla="*/ 67 w 332"/>
                <a:gd name="T71" fmla="*/ 65 h 336"/>
                <a:gd name="T72" fmla="*/ 0 w 332"/>
                <a:gd name="T73" fmla="*/ 114 h 336"/>
                <a:gd name="T74" fmla="*/ 31 w 332"/>
                <a:gd name="T75" fmla="*/ 135 h 336"/>
                <a:gd name="T76" fmla="*/ 30 w 332"/>
                <a:gd name="T77" fmla="*/ 154 h 336"/>
                <a:gd name="T78" fmla="*/ 31 w 332"/>
                <a:gd name="T79" fmla="*/ 191 h 336"/>
                <a:gd name="T80" fmla="*/ 29 w 332"/>
                <a:gd name="T81" fmla="*/ 202 h 336"/>
                <a:gd name="T82" fmla="*/ 38 w 332"/>
                <a:gd name="T83" fmla="*/ 284 h 336"/>
                <a:gd name="T84" fmla="*/ 71 w 332"/>
                <a:gd name="T85" fmla="*/ 267 h 336"/>
                <a:gd name="T86" fmla="*/ 89 w 332"/>
                <a:gd name="T87" fmla="*/ 279 h 336"/>
                <a:gd name="T88" fmla="*/ 139 w 332"/>
                <a:gd name="T89" fmla="*/ 300 h 336"/>
                <a:gd name="T90" fmla="*/ 146 w 332"/>
                <a:gd name="T91" fmla="*/ 308 h 336"/>
                <a:gd name="T92" fmla="*/ 207 w 332"/>
                <a:gd name="T93" fmla="*/ 336 h 336"/>
                <a:gd name="T94" fmla="*/ 208 w 332"/>
                <a:gd name="T95" fmla="*/ 306 h 336"/>
                <a:gd name="T96" fmla="*/ 223 w 332"/>
                <a:gd name="T97" fmla="*/ 297 h 336"/>
                <a:gd name="T98" fmla="*/ 246 w 332"/>
                <a:gd name="T99" fmla="*/ 279 h 336"/>
                <a:gd name="T100" fmla="*/ 257 w 332"/>
                <a:gd name="T101" fmla="*/ 268 h 336"/>
                <a:gd name="T102" fmla="*/ 269 w 332"/>
                <a:gd name="T103" fmla="*/ 270 h 336"/>
                <a:gd name="T104" fmla="*/ 306 w 332"/>
                <a:gd name="T105" fmla="*/ 20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6">
                  <a:moveTo>
                    <a:pt x="166" y="245"/>
                  </a:moveTo>
                  <a:lnTo>
                    <a:pt x="158" y="244"/>
                  </a:lnTo>
                  <a:lnTo>
                    <a:pt x="151" y="243"/>
                  </a:lnTo>
                  <a:lnTo>
                    <a:pt x="143" y="241"/>
                  </a:lnTo>
                  <a:lnTo>
                    <a:pt x="135" y="239"/>
                  </a:lnTo>
                  <a:lnTo>
                    <a:pt x="129" y="235"/>
                  </a:lnTo>
                  <a:lnTo>
                    <a:pt x="122" y="231"/>
                  </a:lnTo>
                  <a:lnTo>
                    <a:pt x="116" y="227"/>
                  </a:lnTo>
                  <a:lnTo>
                    <a:pt x="111" y="222"/>
                  </a:lnTo>
                  <a:lnTo>
                    <a:pt x="106" y="217"/>
                  </a:lnTo>
                  <a:lnTo>
                    <a:pt x="101" y="211"/>
                  </a:lnTo>
                  <a:lnTo>
                    <a:pt x="97" y="204"/>
                  </a:lnTo>
                  <a:lnTo>
                    <a:pt x="94" y="198"/>
                  </a:lnTo>
                  <a:lnTo>
                    <a:pt x="92" y="190"/>
                  </a:lnTo>
                  <a:lnTo>
                    <a:pt x="89" y="182"/>
                  </a:lnTo>
                  <a:lnTo>
                    <a:pt x="88" y="175"/>
                  </a:lnTo>
                  <a:lnTo>
                    <a:pt x="88" y="167"/>
                  </a:lnTo>
                  <a:lnTo>
                    <a:pt x="88" y="159"/>
                  </a:lnTo>
                  <a:lnTo>
                    <a:pt x="89" y="151"/>
                  </a:lnTo>
                  <a:lnTo>
                    <a:pt x="92" y="144"/>
                  </a:lnTo>
                  <a:lnTo>
                    <a:pt x="94" y="136"/>
                  </a:lnTo>
                  <a:lnTo>
                    <a:pt x="97" y="130"/>
                  </a:lnTo>
                  <a:lnTo>
                    <a:pt x="101" y="123"/>
                  </a:lnTo>
                  <a:lnTo>
                    <a:pt x="106" y="117"/>
                  </a:lnTo>
                  <a:lnTo>
                    <a:pt x="111" y="112"/>
                  </a:lnTo>
                  <a:lnTo>
                    <a:pt x="116" y="106"/>
                  </a:lnTo>
                  <a:lnTo>
                    <a:pt x="122" y="103"/>
                  </a:lnTo>
                  <a:lnTo>
                    <a:pt x="129" y="99"/>
                  </a:lnTo>
                  <a:lnTo>
                    <a:pt x="135" y="95"/>
                  </a:lnTo>
                  <a:lnTo>
                    <a:pt x="143" y="92"/>
                  </a:lnTo>
                  <a:lnTo>
                    <a:pt x="151" y="90"/>
                  </a:lnTo>
                  <a:lnTo>
                    <a:pt x="158" y="90"/>
                  </a:lnTo>
                  <a:lnTo>
                    <a:pt x="166" y="89"/>
                  </a:lnTo>
                  <a:lnTo>
                    <a:pt x="174" y="90"/>
                  </a:lnTo>
                  <a:lnTo>
                    <a:pt x="181" y="90"/>
                  </a:lnTo>
                  <a:lnTo>
                    <a:pt x="189" y="92"/>
                  </a:lnTo>
                  <a:lnTo>
                    <a:pt x="196" y="95"/>
                  </a:lnTo>
                  <a:lnTo>
                    <a:pt x="203" y="99"/>
                  </a:lnTo>
                  <a:lnTo>
                    <a:pt x="210" y="103"/>
                  </a:lnTo>
                  <a:lnTo>
                    <a:pt x="215" y="106"/>
                  </a:lnTo>
                  <a:lnTo>
                    <a:pt x="221" y="112"/>
                  </a:lnTo>
                  <a:lnTo>
                    <a:pt x="226" y="117"/>
                  </a:lnTo>
                  <a:lnTo>
                    <a:pt x="230" y="123"/>
                  </a:lnTo>
                  <a:lnTo>
                    <a:pt x="234" y="130"/>
                  </a:lnTo>
                  <a:lnTo>
                    <a:pt x="238" y="136"/>
                  </a:lnTo>
                  <a:lnTo>
                    <a:pt x="241" y="144"/>
                  </a:lnTo>
                  <a:lnTo>
                    <a:pt x="242" y="151"/>
                  </a:lnTo>
                  <a:lnTo>
                    <a:pt x="243" y="159"/>
                  </a:lnTo>
                  <a:lnTo>
                    <a:pt x="244" y="167"/>
                  </a:lnTo>
                  <a:lnTo>
                    <a:pt x="243" y="175"/>
                  </a:lnTo>
                  <a:lnTo>
                    <a:pt x="242" y="182"/>
                  </a:lnTo>
                  <a:lnTo>
                    <a:pt x="241" y="190"/>
                  </a:lnTo>
                  <a:lnTo>
                    <a:pt x="238" y="198"/>
                  </a:lnTo>
                  <a:lnTo>
                    <a:pt x="234" y="204"/>
                  </a:lnTo>
                  <a:lnTo>
                    <a:pt x="230" y="211"/>
                  </a:lnTo>
                  <a:lnTo>
                    <a:pt x="226" y="217"/>
                  </a:lnTo>
                  <a:lnTo>
                    <a:pt x="221" y="222"/>
                  </a:lnTo>
                  <a:lnTo>
                    <a:pt x="215" y="227"/>
                  </a:lnTo>
                  <a:lnTo>
                    <a:pt x="210" y="231"/>
                  </a:lnTo>
                  <a:lnTo>
                    <a:pt x="203" y="235"/>
                  </a:lnTo>
                  <a:lnTo>
                    <a:pt x="196" y="239"/>
                  </a:lnTo>
                  <a:lnTo>
                    <a:pt x="189" y="241"/>
                  </a:lnTo>
                  <a:lnTo>
                    <a:pt x="181" y="243"/>
                  </a:lnTo>
                  <a:lnTo>
                    <a:pt x="174" y="244"/>
                  </a:lnTo>
                  <a:lnTo>
                    <a:pt x="166" y="245"/>
                  </a:lnTo>
                  <a:close/>
                  <a:moveTo>
                    <a:pt x="306" y="204"/>
                  </a:moveTo>
                  <a:lnTo>
                    <a:pt x="302" y="202"/>
                  </a:lnTo>
                  <a:lnTo>
                    <a:pt x="301" y="199"/>
                  </a:lnTo>
                  <a:lnTo>
                    <a:pt x="300" y="195"/>
                  </a:lnTo>
                  <a:lnTo>
                    <a:pt x="300" y="191"/>
                  </a:lnTo>
                  <a:lnTo>
                    <a:pt x="302" y="180"/>
                  </a:lnTo>
                  <a:lnTo>
                    <a:pt x="302" y="167"/>
                  </a:lnTo>
                  <a:lnTo>
                    <a:pt x="302" y="154"/>
                  </a:lnTo>
                  <a:lnTo>
                    <a:pt x="300" y="142"/>
                  </a:lnTo>
                  <a:lnTo>
                    <a:pt x="300" y="139"/>
                  </a:lnTo>
                  <a:lnTo>
                    <a:pt x="301" y="135"/>
                  </a:lnTo>
                  <a:lnTo>
                    <a:pt x="302" y="132"/>
                  </a:lnTo>
                  <a:lnTo>
                    <a:pt x="306" y="130"/>
                  </a:lnTo>
                  <a:lnTo>
                    <a:pt x="332" y="114"/>
                  </a:lnTo>
                  <a:lnTo>
                    <a:pt x="293" y="50"/>
                  </a:lnTo>
                  <a:lnTo>
                    <a:pt x="269" y="64"/>
                  </a:lnTo>
                  <a:lnTo>
                    <a:pt x="265" y="65"/>
                  </a:lnTo>
                  <a:lnTo>
                    <a:pt x="261" y="65"/>
                  </a:lnTo>
                  <a:lnTo>
                    <a:pt x="257" y="65"/>
                  </a:lnTo>
                  <a:lnTo>
                    <a:pt x="255" y="63"/>
                  </a:lnTo>
                  <a:lnTo>
                    <a:pt x="251" y="59"/>
                  </a:lnTo>
                  <a:lnTo>
                    <a:pt x="242" y="53"/>
                  </a:lnTo>
                  <a:lnTo>
                    <a:pt x="233" y="45"/>
                  </a:lnTo>
                  <a:lnTo>
                    <a:pt x="224" y="40"/>
                  </a:lnTo>
                  <a:lnTo>
                    <a:pt x="215" y="35"/>
                  </a:lnTo>
                  <a:lnTo>
                    <a:pt x="211" y="33"/>
                  </a:lnTo>
                  <a:lnTo>
                    <a:pt x="208" y="31"/>
                  </a:lnTo>
                  <a:lnTo>
                    <a:pt x="207" y="27"/>
                  </a:lnTo>
                  <a:lnTo>
                    <a:pt x="207" y="24"/>
                  </a:lnTo>
                  <a:lnTo>
                    <a:pt x="207" y="0"/>
                  </a:lnTo>
                  <a:lnTo>
                    <a:pt x="135" y="0"/>
                  </a:lnTo>
                  <a:lnTo>
                    <a:pt x="135" y="24"/>
                  </a:lnTo>
                  <a:lnTo>
                    <a:pt x="134" y="27"/>
                  </a:lnTo>
                  <a:lnTo>
                    <a:pt x="133" y="31"/>
                  </a:lnTo>
                  <a:lnTo>
                    <a:pt x="130" y="33"/>
                  </a:lnTo>
                  <a:lnTo>
                    <a:pt x="126" y="35"/>
                  </a:lnTo>
                  <a:lnTo>
                    <a:pt x="113" y="41"/>
                  </a:lnTo>
                  <a:lnTo>
                    <a:pt x="101" y="47"/>
                  </a:lnTo>
                  <a:lnTo>
                    <a:pt x="88" y="55"/>
                  </a:lnTo>
                  <a:lnTo>
                    <a:pt x="77" y="63"/>
                  </a:lnTo>
                  <a:lnTo>
                    <a:pt x="75" y="65"/>
                  </a:lnTo>
                  <a:lnTo>
                    <a:pt x="71" y="65"/>
                  </a:lnTo>
                  <a:lnTo>
                    <a:pt x="67" y="65"/>
                  </a:lnTo>
                  <a:lnTo>
                    <a:pt x="63" y="64"/>
                  </a:lnTo>
                  <a:lnTo>
                    <a:pt x="38" y="50"/>
                  </a:lnTo>
                  <a:lnTo>
                    <a:pt x="0" y="114"/>
                  </a:lnTo>
                  <a:lnTo>
                    <a:pt x="26" y="130"/>
                  </a:lnTo>
                  <a:lnTo>
                    <a:pt x="29" y="132"/>
                  </a:lnTo>
                  <a:lnTo>
                    <a:pt x="31" y="135"/>
                  </a:lnTo>
                  <a:lnTo>
                    <a:pt x="33" y="139"/>
                  </a:lnTo>
                  <a:lnTo>
                    <a:pt x="31" y="142"/>
                  </a:lnTo>
                  <a:lnTo>
                    <a:pt x="30" y="154"/>
                  </a:lnTo>
                  <a:lnTo>
                    <a:pt x="30" y="167"/>
                  </a:lnTo>
                  <a:lnTo>
                    <a:pt x="30" y="178"/>
                  </a:lnTo>
                  <a:lnTo>
                    <a:pt x="31" y="191"/>
                  </a:lnTo>
                  <a:lnTo>
                    <a:pt x="33" y="195"/>
                  </a:lnTo>
                  <a:lnTo>
                    <a:pt x="31" y="199"/>
                  </a:lnTo>
                  <a:lnTo>
                    <a:pt x="29" y="202"/>
                  </a:lnTo>
                  <a:lnTo>
                    <a:pt x="26" y="204"/>
                  </a:lnTo>
                  <a:lnTo>
                    <a:pt x="0" y="220"/>
                  </a:lnTo>
                  <a:lnTo>
                    <a:pt x="38" y="284"/>
                  </a:lnTo>
                  <a:lnTo>
                    <a:pt x="63" y="270"/>
                  </a:lnTo>
                  <a:lnTo>
                    <a:pt x="67" y="268"/>
                  </a:lnTo>
                  <a:lnTo>
                    <a:pt x="71" y="267"/>
                  </a:lnTo>
                  <a:lnTo>
                    <a:pt x="75" y="268"/>
                  </a:lnTo>
                  <a:lnTo>
                    <a:pt x="77" y="271"/>
                  </a:lnTo>
                  <a:lnTo>
                    <a:pt x="89" y="279"/>
                  </a:lnTo>
                  <a:lnTo>
                    <a:pt x="106" y="286"/>
                  </a:lnTo>
                  <a:lnTo>
                    <a:pt x="124" y="295"/>
                  </a:lnTo>
                  <a:lnTo>
                    <a:pt x="139" y="300"/>
                  </a:lnTo>
                  <a:lnTo>
                    <a:pt x="142" y="303"/>
                  </a:lnTo>
                  <a:lnTo>
                    <a:pt x="144" y="306"/>
                  </a:lnTo>
                  <a:lnTo>
                    <a:pt x="146" y="308"/>
                  </a:lnTo>
                  <a:lnTo>
                    <a:pt x="147" y="312"/>
                  </a:lnTo>
                  <a:lnTo>
                    <a:pt x="147" y="336"/>
                  </a:lnTo>
                  <a:lnTo>
                    <a:pt x="207" y="336"/>
                  </a:lnTo>
                  <a:lnTo>
                    <a:pt x="207" y="312"/>
                  </a:lnTo>
                  <a:lnTo>
                    <a:pt x="207" y="308"/>
                  </a:lnTo>
                  <a:lnTo>
                    <a:pt x="208" y="306"/>
                  </a:lnTo>
                  <a:lnTo>
                    <a:pt x="211" y="303"/>
                  </a:lnTo>
                  <a:lnTo>
                    <a:pt x="215" y="300"/>
                  </a:lnTo>
                  <a:lnTo>
                    <a:pt x="223" y="297"/>
                  </a:lnTo>
                  <a:lnTo>
                    <a:pt x="230" y="291"/>
                  </a:lnTo>
                  <a:lnTo>
                    <a:pt x="238" y="285"/>
                  </a:lnTo>
                  <a:lnTo>
                    <a:pt x="246" y="279"/>
                  </a:lnTo>
                  <a:lnTo>
                    <a:pt x="250" y="275"/>
                  </a:lnTo>
                  <a:lnTo>
                    <a:pt x="255" y="271"/>
                  </a:lnTo>
                  <a:lnTo>
                    <a:pt x="257" y="268"/>
                  </a:lnTo>
                  <a:lnTo>
                    <a:pt x="261" y="267"/>
                  </a:lnTo>
                  <a:lnTo>
                    <a:pt x="265" y="268"/>
                  </a:lnTo>
                  <a:lnTo>
                    <a:pt x="269" y="270"/>
                  </a:lnTo>
                  <a:lnTo>
                    <a:pt x="295" y="284"/>
                  </a:lnTo>
                  <a:lnTo>
                    <a:pt x="332" y="220"/>
                  </a:lnTo>
                  <a:lnTo>
                    <a:pt x="306"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7" name="Group 86">
            <a:extLst>
              <a:ext uri="{FF2B5EF4-FFF2-40B4-BE49-F238E27FC236}">
                <a16:creationId xmlns:a16="http://schemas.microsoft.com/office/drawing/2014/main" id="{E5B2DDC0-FC5B-488E-82A5-29C43793487D}"/>
              </a:ext>
            </a:extLst>
          </p:cNvPr>
          <p:cNvGrpSpPr/>
          <p:nvPr/>
        </p:nvGrpSpPr>
        <p:grpSpPr>
          <a:xfrm>
            <a:off x="7500453" y="4823605"/>
            <a:ext cx="382448" cy="382448"/>
            <a:chOff x="7021513" y="5349875"/>
            <a:chExt cx="287337" cy="287338"/>
          </a:xfrm>
          <a:solidFill>
            <a:schemeClr val="accent3">
              <a:lumMod val="40000"/>
              <a:lumOff val="60000"/>
            </a:schemeClr>
          </a:solidFill>
        </p:grpSpPr>
        <p:sp>
          <p:nvSpPr>
            <p:cNvPr id="88" name="Freeform 3675">
              <a:extLst>
                <a:ext uri="{FF2B5EF4-FFF2-40B4-BE49-F238E27FC236}">
                  <a16:creationId xmlns:a16="http://schemas.microsoft.com/office/drawing/2014/main" id="{8F0CEDFE-5EE9-4674-8AC1-D7796A5065CF}"/>
                </a:ext>
              </a:extLst>
            </p:cNvPr>
            <p:cNvSpPr>
              <a:spLocks/>
            </p:cNvSpPr>
            <p:nvPr/>
          </p:nvSpPr>
          <p:spPr bwMode="auto">
            <a:xfrm>
              <a:off x="7021513" y="5349875"/>
              <a:ext cx="180975" cy="238125"/>
            </a:xfrm>
            <a:custGeom>
              <a:avLst/>
              <a:gdLst>
                <a:gd name="T0" fmla="*/ 412 w 456"/>
                <a:gd name="T1" fmla="*/ 384 h 602"/>
                <a:gd name="T2" fmla="*/ 376 w 456"/>
                <a:gd name="T3" fmla="*/ 370 h 602"/>
                <a:gd name="T4" fmla="*/ 361 w 456"/>
                <a:gd name="T5" fmla="*/ 307 h 602"/>
                <a:gd name="T6" fmla="*/ 379 w 456"/>
                <a:gd name="T7" fmla="*/ 288 h 602"/>
                <a:gd name="T8" fmla="*/ 397 w 456"/>
                <a:gd name="T9" fmla="*/ 252 h 602"/>
                <a:gd name="T10" fmla="*/ 406 w 456"/>
                <a:gd name="T11" fmla="*/ 214 h 602"/>
                <a:gd name="T12" fmla="*/ 415 w 456"/>
                <a:gd name="T13" fmla="*/ 202 h 602"/>
                <a:gd name="T14" fmla="*/ 420 w 456"/>
                <a:gd name="T15" fmla="*/ 183 h 602"/>
                <a:gd name="T16" fmla="*/ 416 w 456"/>
                <a:gd name="T17" fmla="*/ 152 h 602"/>
                <a:gd name="T18" fmla="*/ 412 w 456"/>
                <a:gd name="T19" fmla="*/ 121 h 602"/>
                <a:gd name="T20" fmla="*/ 420 w 456"/>
                <a:gd name="T21" fmla="*/ 78 h 602"/>
                <a:gd name="T22" fmla="*/ 415 w 456"/>
                <a:gd name="T23" fmla="*/ 45 h 602"/>
                <a:gd name="T24" fmla="*/ 402 w 456"/>
                <a:gd name="T25" fmla="*/ 27 h 602"/>
                <a:gd name="T26" fmla="*/ 383 w 456"/>
                <a:gd name="T27" fmla="*/ 15 h 602"/>
                <a:gd name="T28" fmla="*/ 342 w 456"/>
                <a:gd name="T29" fmla="*/ 3 h 602"/>
                <a:gd name="T30" fmla="*/ 291 w 456"/>
                <a:gd name="T31" fmla="*/ 0 h 602"/>
                <a:gd name="T32" fmla="*/ 245 w 456"/>
                <a:gd name="T33" fmla="*/ 9 h 602"/>
                <a:gd name="T34" fmla="*/ 213 w 456"/>
                <a:gd name="T35" fmla="*/ 27 h 602"/>
                <a:gd name="T36" fmla="*/ 202 w 456"/>
                <a:gd name="T37" fmla="*/ 42 h 602"/>
                <a:gd name="T38" fmla="*/ 181 w 456"/>
                <a:gd name="T39" fmla="*/ 44 h 602"/>
                <a:gd name="T40" fmla="*/ 163 w 456"/>
                <a:gd name="T41" fmla="*/ 56 h 602"/>
                <a:gd name="T42" fmla="*/ 154 w 456"/>
                <a:gd name="T43" fmla="*/ 87 h 602"/>
                <a:gd name="T44" fmla="*/ 164 w 456"/>
                <a:gd name="T45" fmla="*/ 138 h 602"/>
                <a:gd name="T46" fmla="*/ 159 w 456"/>
                <a:gd name="T47" fmla="*/ 144 h 602"/>
                <a:gd name="T48" fmla="*/ 150 w 456"/>
                <a:gd name="T49" fmla="*/ 162 h 602"/>
                <a:gd name="T50" fmla="*/ 149 w 456"/>
                <a:gd name="T51" fmla="*/ 184 h 602"/>
                <a:gd name="T52" fmla="*/ 154 w 456"/>
                <a:gd name="T53" fmla="*/ 201 h 602"/>
                <a:gd name="T54" fmla="*/ 163 w 456"/>
                <a:gd name="T55" fmla="*/ 214 h 602"/>
                <a:gd name="T56" fmla="*/ 169 w 456"/>
                <a:gd name="T57" fmla="*/ 237 h 602"/>
                <a:gd name="T58" fmla="*/ 180 w 456"/>
                <a:gd name="T59" fmla="*/ 271 h 602"/>
                <a:gd name="T60" fmla="*/ 203 w 456"/>
                <a:gd name="T61" fmla="*/ 306 h 602"/>
                <a:gd name="T62" fmla="*/ 216 w 456"/>
                <a:gd name="T63" fmla="*/ 364 h 602"/>
                <a:gd name="T64" fmla="*/ 171 w 456"/>
                <a:gd name="T65" fmla="*/ 381 h 602"/>
                <a:gd name="T66" fmla="*/ 107 w 456"/>
                <a:gd name="T67" fmla="*/ 401 h 602"/>
                <a:gd name="T68" fmla="*/ 46 w 456"/>
                <a:gd name="T69" fmla="*/ 428 h 602"/>
                <a:gd name="T70" fmla="*/ 22 w 456"/>
                <a:gd name="T71" fmla="*/ 449 h 602"/>
                <a:gd name="T72" fmla="*/ 10 w 456"/>
                <a:gd name="T73" fmla="*/ 479 h 602"/>
                <a:gd name="T74" fmla="*/ 2 w 456"/>
                <a:gd name="T75" fmla="*/ 540 h 602"/>
                <a:gd name="T76" fmla="*/ 1 w 456"/>
                <a:gd name="T77" fmla="*/ 594 h 602"/>
                <a:gd name="T78" fmla="*/ 11 w 456"/>
                <a:gd name="T79" fmla="*/ 602 h 602"/>
                <a:gd name="T80" fmla="*/ 374 w 456"/>
                <a:gd name="T81" fmla="*/ 559 h 602"/>
                <a:gd name="T82" fmla="*/ 366 w 456"/>
                <a:gd name="T83" fmla="*/ 528 h 602"/>
                <a:gd name="T84" fmla="*/ 367 w 456"/>
                <a:gd name="T85" fmla="*/ 494 h 602"/>
                <a:gd name="T86" fmla="*/ 377 w 456"/>
                <a:gd name="T87" fmla="*/ 463 h 602"/>
                <a:gd name="T88" fmla="*/ 393 w 456"/>
                <a:gd name="T89" fmla="*/ 437 h 602"/>
                <a:gd name="T90" fmla="*/ 413 w 456"/>
                <a:gd name="T91" fmla="*/ 418 h 602"/>
                <a:gd name="T92" fmla="*/ 438 w 456"/>
                <a:gd name="T93" fmla="*/ 40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6" h="602">
                  <a:moveTo>
                    <a:pt x="456" y="399"/>
                  </a:moveTo>
                  <a:lnTo>
                    <a:pt x="424" y="388"/>
                  </a:lnTo>
                  <a:lnTo>
                    <a:pt x="412" y="384"/>
                  </a:lnTo>
                  <a:lnTo>
                    <a:pt x="401" y="379"/>
                  </a:lnTo>
                  <a:lnTo>
                    <a:pt x="389" y="375"/>
                  </a:lnTo>
                  <a:lnTo>
                    <a:pt x="376" y="370"/>
                  </a:lnTo>
                  <a:lnTo>
                    <a:pt x="368" y="368"/>
                  </a:lnTo>
                  <a:lnTo>
                    <a:pt x="361" y="364"/>
                  </a:lnTo>
                  <a:lnTo>
                    <a:pt x="361" y="307"/>
                  </a:lnTo>
                  <a:lnTo>
                    <a:pt x="366" y="302"/>
                  </a:lnTo>
                  <a:lnTo>
                    <a:pt x="372" y="297"/>
                  </a:lnTo>
                  <a:lnTo>
                    <a:pt x="379" y="288"/>
                  </a:lnTo>
                  <a:lnTo>
                    <a:pt x="385" y="279"/>
                  </a:lnTo>
                  <a:lnTo>
                    <a:pt x="392" y="266"/>
                  </a:lnTo>
                  <a:lnTo>
                    <a:pt x="397" y="252"/>
                  </a:lnTo>
                  <a:lnTo>
                    <a:pt x="401" y="235"/>
                  </a:lnTo>
                  <a:lnTo>
                    <a:pt x="402" y="216"/>
                  </a:lnTo>
                  <a:lnTo>
                    <a:pt x="406" y="214"/>
                  </a:lnTo>
                  <a:lnTo>
                    <a:pt x="410" y="211"/>
                  </a:lnTo>
                  <a:lnTo>
                    <a:pt x="412" y="207"/>
                  </a:lnTo>
                  <a:lnTo>
                    <a:pt x="415" y="202"/>
                  </a:lnTo>
                  <a:lnTo>
                    <a:pt x="417" y="197"/>
                  </a:lnTo>
                  <a:lnTo>
                    <a:pt x="419" y="191"/>
                  </a:lnTo>
                  <a:lnTo>
                    <a:pt x="420" y="183"/>
                  </a:lnTo>
                  <a:lnTo>
                    <a:pt x="420" y="175"/>
                  </a:lnTo>
                  <a:lnTo>
                    <a:pt x="420" y="164"/>
                  </a:lnTo>
                  <a:lnTo>
                    <a:pt x="416" y="152"/>
                  </a:lnTo>
                  <a:lnTo>
                    <a:pt x="412" y="144"/>
                  </a:lnTo>
                  <a:lnTo>
                    <a:pt x="406" y="137"/>
                  </a:lnTo>
                  <a:lnTo>
                    <a:pt x="412" y="121"/>
                  </a:lnTo>
                  <a:lnTo>
                    <a:pt x="417" y="101"/>
                  </a:lnTo>
                  <a:lnTo>
                    <a:pt x="420" y="89"/>
                  </a:lnTo>
                  <a:lnTo>
                    <a:pt x="420" y="78"/>
                  </a:lnTo>
                  <a:lnTo>
                    <a:pt x="420" y="65"/>
                  </a:lnTo>
                  <a:lnTo>
                    <a:pt x="417" y="53"/>
                  </a:lnTo>
                  <a:lnTo>
                    <a:pt x="415" y="45"/>
                  </a:lnTo>
                  <a:lnTo>
                    <a:pt x="412" y="39"/>
                  </a:lnTo>
                  <a:lnTo>
                    <a:pt x="407" y="34"/>
                  </a:lnTo>
                  <a:lnTo>
                    <a:pt x="402" y="27"/>
                  </a:lnTo>
                  <a:lnTo>
                    <a:pt x="397" y="24"/>
                  </a:lnTo>
                  <a:lnTo>
                    <a:pt x="390" y="18"/>
                  </a:lnTo>
                  <a:lnTo>
                    <a:pt x="383" y="15"/>
                  </a:lnTo>
                  <a:lnTo>
                    <a:pt x="376" y="12"/>
                  </a:lnTo>
                  <a:lnTo>
                    <a:pt x="359" y="7"/>
                  </a:lnTo>
                  <a:lnTo>
                    <a:pt x="342" y="3"/>
                  </a:lnTo>
                  <a:lnTo>
                    <a:pt x="325" y="0"/>
                  </a:lnTo>
                  <a:lnTo>
                    <a:pt x="307" y="0"/>
                  </a:lnTo>
                  <a:lnTo>
                    <a:pt x="291" y="0"/>
                  </a:lnTo>
                  <a:lnTo>
                    <a:pt x="276" y="2"/>
                  </a:lnTo>
                  <a:lnTo>
                    <a:pt x="261" y="6"/>
                  </a:lnTo>
                  <a:lnTo>
                    <a:pt x="245" y="9"/>
                  </a:lnTo>
                  <a:lnTo>
                    <a:pt x="231" y="16"/>
                  </a:lnTo>
                  <a:lnTo>
                    <a:pt x="218" y="22"/>
                  </a:lnTo>
                  <a:lnTo>
                    <a:pt x="213" y="27"/>
                  </a:lnTo>
                  <a:lnTo>
                    <a:pt x="209" y="31"/>
                  </a:lnTo>
                  <a:lnTo>
                    <a:pt x="204" y="36"/>
                  </a:lnTo>
                  <a:lnTo>
                    <a:pt x="202" y="42"/>
                  </a:lnTo>
                  <a:lnTo>
                    <a:pt x="194" y="42"/>
                  </a:lnTo>
                  <a:lnTo>
                    <a:pt x="187" y="43"/>
                  </a:lnTo>
                  <a:lnTo>
                    <a:pt x="181" y="44"/>
                  </a:lnTo>
                  <a:lnTo>
                    <a:pt x="176" y="45"/>
                  </a:lnTo>
                  <a:lnTo>
                    <a:pt x="168" y="51"/>
                  </a:lnTo>
                  <a:lnTo>
                    <a:pt x="163" y="56"/>
                  </a:lnTo>
                  <a:lnTo>
                    <a:pt x="158" y="65"/>
                  </a:lnTo>
                  <a:lnTo>
                    <a:pt x="155" y="75"/>
                  </a:lnTo>
                  <a:lnTo>
                    <a:pt x="154" y="87"/>
                  </a:lnTo>
                  <a:lnTo>
                    <a:pt x="155" y="98"/>
                  </a:lnTo>
                  <a:lnTo>
                    <a:pt x="159" y="120"/>
                  </a:lnTo>
                  <a:lnTo>
                    <a:pt x="164" y="138"/>
                  </a:lnTo>
                  <a:lnTo>
                    <a:pt x="164" y="139"/>
                  </a:lnTo>
                  <a:lnTo>
                    <a:pt x="164" y="139"/>
                  </a:lnTo>
                  <a:lnTo>
                    <a:pt x="159" y="144"/>
                  </a:lnTo>
                  <a:lnTo>
                    <a:pt x="154" y="151"/>
                  </a:lnTo>
                  <a:lnTo>
                    <a:pt x="151" y="156"/>
                  </a:lnTo>
                  <a:lnTo>
                    <a:pt x="150" y="162"/>
                  </a:lnTo>
                  <a:lnTo>
                    <a:pt x="149" y="170"/>
                  </a:lnTo>
                  <a:lnTo>
                    <a:pt x="149" y="176"/>
                  </a:lnTo>
                  <a:lnTo>
                    <a:pt x="149" y="184"/>
                  </a:lnTo>
                  <a:lnTo>
                    <a:pt x="150" y="191"/>
                  </a:lnTo>
                  <a:lnTo>
                    <a:pt x="151" y="196"/>
                  </a:lnTo>
                  <a:lnTo>
                    <a:pt x="154" y="201"/>
                  </a:lnTo>
                  <a:lnTo>
                    <a:pt x="157" y="206"/>
                  </a:lnTo>
                  <a:lnTo>
                    <a:pt x="159" y="210"/>
                  </a:lnTo>
                  <a:lnTo>
                    <a:pt x="163" y="214"/>
                  </a:lnTo>
                  <a:lnTo>
                    <a:pt x="167" y="216"/>
                  </a:lnTo>
                  <a:lnTo>
                    <a:pt x="168" y="227"/>
                  </a:lnTo>
                  <a:lnTo>
                    <a:pt x="169" y="237"/>
                  </a:lnTo>
                  <a:lnTo>
                    <a:pt x="171" y="246"/>
                  </a:lnTo>
                  <a:lnTo>
                    <a:pt x="173" y="255"/>
                  </a:lnTo>
                  <a:lnTo>
                    <a:pt x="180" y="271"/>
                  </a:lnTo>
                  <a:lnTo>
                    <a:pt x="187" y="286"/>
                  </a:lnTo>
                  <a:lnTo>
                    <a:pt x="195" y="297"/>
                  </a:lnTo>
                  <a:lnTo>
                    <a:pt x="203" y="306"/>
                  </a:lnTo>
                  <a:lnTo>
                    <a:pt x="211" y="314"/>
                  </a:lnTo>
                  <a:lnTo>
                    <a:pt x="216" y="319"/>
                  </a:lnTo>
                  <a:lnTo>
                    <a:pt x="216" y="364"/>
                  </a:lnTo>
                  <a:lnTo>
                    <a:pt x="202" y="369"/>
                  </a:lnTo>
                  <a:lnTo>
                    <a:pt x="186" y="375"/>
                  </a:lnTo>
                  <a:lnTo>
                    <a:pt x="171" y="381"/>
                  </a:lnTo>
                  <a:lnTo>
                    <a:pt x="155" y="384"/>
                  </a:lnTo>
                  <a:lnTo>
                    <a:pt x="130" y="393"/>
                  </a:lnTo>
                  <a:lnTo>
                    <a:pt x="107" y="401"/>
                  </a:lnTo>
                  <a:lnTo>
                    <a:pt x="83" y="410"/>
                  </a:lnTo>
                  <a:lnTo>
                    <a:pt x="64" y="419"/>
                  </a:lnTo>
                  <a:lnTo>
                    <a:pt x="46" y="428"/>
                  </a:lnTo>
                  <a:lnTo>
                    <a:pt x="32" y="438"/>
                  </a:lnTo>
                  <a:lnTo>
                    <a:pt x="27" y="444"/>
                  </a:lnTo>
                  <a:lnTo>
                    <a:pt x="22" y="449"/>
                  </a:lnTo>
                  <a:lnTo>
                    <a:pt x="18" y="455"/>
                  </a:lnTo>
                  <a:lnTo>
                    <a:pt x="15" y="460"/>
                  </a:lnTo>
                  <a:lnTo>
                    <a:pt x="10" y="479"/>
                  </a:lnTo>
                  <a:lnTo>
                    <a:pt x="6" y="499"/>
                  </a:lnTo>
                  <a:lnTo>
                    <a:pt x="4" y="521"/>
                  </a:lnTo>
                  <a:lnTo>
                    <a:pt x="2" y="540"/>
                  </a:lnTo>
                  <a:lnTo>
                    <a:pt x="0" y="573"/>
                  </a:lnTo>
                  <a:lnTo>
                    <a:pt x="0" y="589"/>
                  </a:lnTo>
                  <a:lnTo>
                    <a:pt x="1" y="594"/>
                  </a:lnTo>
                  <a:lnTo>
                    <a:pt x="4" y="598"/>
                  </a:lnTo>
                  <a:lnTo>
                    <a:pt x="8" y="600"/>
                  </a:lnTo>
                  <a:lnTo>
                    <a:pt x="11" y="602"/>
                  </a:lnTo>
                  <a:lnTo>
                    <a:pt x="395" y="602"/>
                  </a:lnTo>
                  <a:lnTo>
                    <a:pt x="383" y="581"/>
                  </a:lnTo>
                  <a:lnTo>
                    <a:pt x="374" y="559"/>
                  </a:lnTo>
                  <a:lnTo>
                    <a:pt x="371" y="549"/>
                  </a:lnTo>
                  <a:lnTo>
                    <a:pt x="368" y="539"/>
                  </a:lnTo>
                  <a:lnTo>
                    <a:pt x="366" y="528"/>
                  </a:lnTo>
                  <a:lnTo>
                    <a:pt x="366" y="518"/>
                  </a:lnTo>
                  <a:lnTo>
                    <a:pt x="366" y="505"/>
                  </a:lnTo>
                  <a:lnTo>
                    <a:pt x="367" y="494"/>
                  </a:lnTo>
                  <a:lnTo>
                    <a:pt x="370" y="483"/>
                  </a:lnTo>
                  <a:lnTo>
                    <a:pt x="374" y="473"/>
                  </a:lnTo>
                  <a:lnTo>
                    <a:pt x="377" y="463"/>
                  </a:lnTo>
                  <a:lnTo>
                    <a:pt x="381" y="454"/>
                  </a:lnTo>
                  <a:lnTo>
                    <a:pt x="388" y="445"/>
                  </a:lnTo>
                  <a:lnTo>
                    <a:pt x="393" y="437"/>
                  </a:lnTo>
                  <a:lnTo>
                    <a:pt x="399" y="431"/>
                  </a:lnTo>
                  <a:lnTo>
                    <a:pt x="407" y="424"/>
                  </a:lnTo>
                  <a:lnTo>
                    <a:pt x="413" y="418"/>
                  </a:lnTo>
                  <a:lnTo>
                    <a:pt x="422" y="413"/>
                  </a:lnTo>
                  <a:lnTo>
                    <a:pt x="430" y="409"/>
                  </a:lnTo>
                  <a:lnTo>
                    <a:pt x="438" y="405"/>
                  </a:lnTo>
                  <a:lnTo>
                    <a:pt x="447" y="401"/>
                  </a:lnTo>
                  <a:lnTo>
                    <a:pt x="456"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676">
              <a:extLst>
                <a:ext uri="{FF2B5EF4-FFF2-40B4-BE49-F238E27FC236}">
                  <a16:creationId xmlns:a16="http://schemas.microsoft.com/office/drawing/2014/main" id="{4E78BD5B-DFBA-44E1-A4D6-EAA48F466D6A}"/>
                </a:ext>
              </a:extLst>
            </p:cNvPr>
            <p:cNvSpPr>
              <a:spLocks/>
            </p:cNvSpPr>
            <p:nvPr/>
          </p:nvSpPr>
          <p:spPr bwMode="auto">
            <a:xfrm>
              <a:off x="7177088" y="5516563"/>
              <a:ext cx="131762" cy="120650"/>
            </a:xfrm>
            <a:custGeom>
              <a:avLst/>
              <a:gdLst>
                <a:gd name="T0" fmla="*/ 238 w 330"/>
                <a:gd name="T1" fmla="*/ 0 h 304"/>
                <a:gd name="T2" fmla="*/ 233 w 330"/>
                <a:gd name="T3" fmla="*/ 2 h 304"/>
                <a:gd name="T4" fmla="*/ 228 w 330"/>
                <a:gd name="T5" fmla="*/ 2 h 304"/>
                <a:gd name="T6" fmla="*/ 221 w 330"/>
                <a:gd name="T7" fmla="*/ 4 h 304"/>
                <a:gd name="T8" fmla="*/ 217 w 330"/>
                <a:gd name="T9" fmla="*/ 6 h 304"/>
                <a:gd name="T10" fmla="*/ 211 w 330"/>
                <a:gd name="T11" fmla="*/ 7 h 304"/>
                <a:gd name="T12" fmla="*/ 206 w 330"/>
                <a:gd name="T13" fmla="*/ 9 h 304"/>
                <a:gd name="T14" fmla="*/ 202 w 330"/>
                <a:gd name="T15" fmla="*/ 13 h 304"/>
                <a:gd name="T16" fmla="*/ 197 w 330"/>
                <a:gd name="T17" fmla="*/ 16 h 304"/>
                <a:gd name="T18" fmla="*/ 192 w 330"/>
                <a:gd name="T19" fmla="*/ 20 h 304"/>
                <a:gd name="T20" fmla="*/ 184 w 330"/>
                <a:gd name="T21" fmla="*/ 26 h 304"/>
                <a:gd name="T22" fmla="*/ 171 w 330"/>
                <a:gd name="T23" fmla="*/ 43 h 304"/>
                <a:gd name="T24" fmla="*/ 160 w 330"/>
                <a:gd name="T25" fmla="*/ 43 h 304"/>
                <a:gd name="T26" fmla="*/ 147 w 330"/>
                <a:gd name="T27" fmla="*/ 26 h 304"/>
                <a:gd name="T28" fmla="*/ 127 w 330"/>
                <a:gd name="T29" fmla="*/ 12 h 304"/>
                <a:gd name="T30" fmla="*/ 102 w 330"/>
                <a:gd name="T31" fmla="*/ 2 h 304"/>
                <a:gd name="T32" fmla="*/ 77 w 330"/>
                <a:gd name="T33" fmla="*/ 2 h 304"/>
                <a:gd name="T34" fmla="*/ 56 w 330"/>
                <a:gd name="T35" fmla="*/ 8 h 304"/>
                <a:gd name="T36" fmla="*/ 35 w 330"/>
                <a:gd name="T37" fmla="*/ 20 h 304"/>
                <a:gd name="T38" fmla="*/ 18 w 330"/>
                <a:gd name="T39" fmla="*/ 38 h 304"/>
                <a:gd name="T40" fmla="*/ 7 w 330"/>
                <a:gd name="T41" fmla="*/ 59 h 304"/>
                <a:gd name="T42" fmla="*/ 0 w 330"/>
                <a:gd name="T43" fmla="*/ 84 h 304"/>
                <a:gd name="T44" fmla="*/ 0 w 330"/>
                <a:gd name="T45" fmla="*/ 110 h 304"/>
                <a:gd name="T46" fmla="*/ 7 w 330"/>
                <a:gd name="T47" fmla="*/ 133 h 304"/>
                <a:gd name="T48" fmla="*/ 18 w 330"/>
                <a:gd name="T49" fmla="*/ 157 h 304"/>
                <a:gd name="T50" fmla="*/ 35 w 330"/>
                <a:gd name="T51" fmla="*/ 182 h 304"/>
                <a:gd name="T52" fmla="*/ 45 w 330"/>
                <a:gd name="T53" fmla="*/ 196 h 304"/>
                <a:gd name="T54" fmla="*/ 50 w 330"/>
                <a:gd name="T55" fmla="*/ 201 h 304"/>
                <a:gd name="T56" fmla="*/ 67 w 330"/>
                <a:gd name="T57" fmla="*/ 220 h 304"/>
                <a:gd name="T58" fmla="*/ 97 w 330"/>
                <a:gd name="T59" fmla="*/ 250 h 304"/>
                <a:gd name="T60" fmla="*/ 135 w 330"/>
                <a:gd name="T61" fmla="*/ 283 h 304"/>
                <a:gd name="T62" fmla="*/ 156 w 330"/>
                <a:gd name="T63" fmla="*/ 300 h 304"/>
                <a:gd name="T64" fmla="*/ 158 w 330"/>
                <a:gd name="T65" fmla="*/ 301 h 304"/>
                <a:gd name="T66" fmla="*/ 162 w 330"/>
                <a:gd name="T67" fmla="*/ 304 h 304"/>
                <a:gd name="T68" fmla="*/ 169 w 330"/>
                <a:gd name="T69" fmla="*/ 304 h 304"/>
                <a:gd name="T70" fmla="*/ 172 w 330"/>
                <a:gd name="T71" fmla="*/ 301 h 304"/>
                <a:gd name="T72" fmla="*/ 175 w 330"/>
                <a:gd name="T73" fmla="*/ 300 h 304"/>
                <a:gd name="T74" fmla="*/ 196 w 330"/>
                <a:gd name="T75" fmla="*/ 283 h 304"/>
                <a:gd name="T76" fmla="*/ 234 w 330"/>
                <a:gd name="T77" fmla="*/ 250 h 304"/>
                <a:gd name="T78" fmla="*/ 264 w 330"/>
                <a:gd name="T79" fmla="*/ 220 h 304"/>
                <a:gd name="T80" fmla="*/ 280 w 330"/>
                <a:gd name="T81" fmla="*/ 201 h 304"/>
                <a:gd name="T82" fmla="*/ 285 w 330"/>
                <a:gd name="T83" fmla="*/ 196 h 304"/>
                <a:gd name="T84" fmla="*/ 302 w 330"/>
                <a:gd name="T85" fmla="*/ 174 h 304"/>
                <a:gd name="T86" fmla="*/ 320 w 330"/>
                <a:gd name="T87" fmla="*/ 142 h 304"/>
                <a:gd name="T88" fmla="*/ 328 w 330"/>
                <a:gd name="T89" fmla="*/ 121 h 304"/>
                <a:gd name="T90" fmla="*/ 329 w 330"/>
                <a:gd name="T91" fmla="*/ 111 h 304"/>
                <a:gd name="T92" fmla="*/ 330 w 330"/>
                <a:gd name="T93" fmla="*/ 103 h 304"/>
                <a:gd name="T94" fmla="*/ 330 w 330"/>
                <a:gd name="T95" fmla="*/ 86 h 304"/>
                <a:gd name="T96" fmla="*/ 327 w 330"/>
                <a:gd name="T97" fmla="*/ 66 h 304"/>
                <a:gd name="T98" fmla="*/ 319 w 330"/>
                <a:gd name="T99" fmla="*/ 48 h 304"/>
                <a:gd name="T100" fmla="*/ 309 w 330"/>
                <a:gd name="T101" fmla="*/ 33 h 304"/>
                <a:gd name="T102" fmla="*/ 297 w 330"/>
                <a:gd name="T103" fmla="*/ 21 h 304"/>
                <a:gd name="T104" fmla="*/ 283 w 330"/>
                <a:gd name="T105" fmla="*/ 11 h 304"/>
                <a:gd name="T106" fmla="*/ 267 w 330"/>
                <a:gd name="T107" fmla="*/ 4 h 304"/>
                <a:gd name="T108" fmla="*/ 251 w 330"/>
                <a:gd name="T109" fmla="*/ 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0" h="304">
                  <a:moveTo>
                    <a:pt x="243" y="0"/>
                  </a:moveTo>
                  <a:lnTo>
                    <a:pt x="238" y="0"/>
                  </a:lnTo>
                  <a:lnTo>
                    <a:pt x="233" y="2"/>
                  </a:lnTo>
                  <a:lnTo>
                    <a:pt x="233" y="2"/>
                  </a:lnTo>
                  <a:lnTo>
                    <a:pt x="233" y="2"/>
                  </a:lnTo>
                  <a:lnTo>
                    <a:pt x="228" y="2"/>
                  </a:lnTo>
                  <a:lnTo>
                    <a:pt x="222" y="3"/>
                  </a:lnTo>
                  <a:lnTo>
                    <a:pt x="221" y="4"/>
                  </a:lnTo>
                  <a:lnTo>
                    <a:pt x="221" y="4"/>
                  </a:lnTo>
                  <a:lnTo>
                    <a:pt x="217" y="6"/>
                  </a:lnTo>
                  <a:lnTo>
                    <a:pt x="212" y="7"/>
                  </a:lnTo>
                  <a:lnTo>
                    <a:pt x="211" y="7"/>
                  </a:lnTo>
                  <a:lnTo>
                    <a:pt x="211" y="8"/>
                  </a:lnTo>
                  <a:lnTo>
                    <a:pt x="206" y="9"/>
                  </a:lnTo>
                  <a:lnTo>
                    <a:pt x="202" y="12"/>
                  </a:lnTo>
                  <a:lnTo>
                    <a:pt x="202" y="13"/>
                  </a:lnTo>
                  <a:lnTo>
                    <a:pt x="201" y="13"/>
                  </a:lnTo>
                  <a:lnTo>
                    <a:pt x="197" y="16"/>
                  </a:lnTo>
                  <a:lnTo>
                    <a:pt x="192" y="18"/>
                  </a:lnTo>
                  <a:lnTo>
                    <a:pt x="192" y="20"/>
                  </a:lnTo>
                  <a:lnTo>
                    <a:pt x="190" y="20"/>
                  </a:lnTo>
                  <a:lnTo>
                    <a:pt x="184" y="26"/>
                  </a:lnTo>
                  <a:lnTo>
                    <a:pt x="178" y="34"/>
                  </a:lnTo>
                  <a:lnTo>
                    <a:pt x="171" y="43"/>
                  </a:lnTo>
                  <a:lnTo>
                    <a:pt x="166" y="53"/>
                  </a:lnTo>
                  <a:lnTo>
                    <a:pt x="160" y="43"/>
                  </a:lnTo>
                  <a:lnTo>
                    <a:pt x="153" y="34"/>
                  </a:lnTo>
                  <a:lnTo>
                    <a:pt x="147" y="26"/>
                  </a:lnTo>
                  <a:lnTo>
                    <a:pt x="140" y="20"/>
                  </a:lnTo>
                  <a:lnTo>
                    <a:pt x="127" y="12"/>
                  </a:lnTo>
                  <a:lnTo>
                    <a:pt x="116" y="6"/>
                  </a:lnTo>
                  <a:lnTo>
                    <a:pt x="102" y="2"/>
                  </a:lnTo>
                  <a:lnTo>
                    <a:pt x="88" y="0"/>
                  </a:lnTo>
                  <a:lnTo>
                    <a:pt x="77" y="2"/>
                  </a:lnTo>
                  <a:lnTo>
                    <a:pt x="66" y="4"/>
                  </a:lnTo>
                  <a:lnTo>
                    <a:pt x="56" y="8"/>
                  </a:lnTo>
                  <a:lnTo>
                    <a:pt x="45" y="13"/>
                  </a:lnTo>
                  <a:lnTo>
                    <a:pt x="35" y="20"/>
                  </a:lnTo>
                  <a:lnTo>
                    <a:pt x="26" y="27"/>
                  </a:lnTo>
                  <a:lnTo>
                    <a:pt x="18" y="38"/>
                  </a:lnTo>
                  <a:lnTo>
                    <a:pt x="12" y="48"/>
                  </a:lnTo>
                  <a:lnTo>
                    <a:pt x="7" y="59"/>
                  </a:lnTo>
                  <a:lnTo>
                    <a:pt x="3" y="71"/>
                  </a:lnTo>
                  <a:lnTo>
                    <a:pt x="0" y="84"/>
                  </a:lnTo>
                  <a:lnTo>
                    <a:pt x="0" y="98"/>
                  </a:lnTo>
                  <a:lnTo>
                    <a:pt x="0" y="110"/>
                  </a:lnTo>
                  <a:lnTo>
                    <a:pt x="3" y="121"/>
                  </a:lnTo>
                  <a:lnTo>
                    <a:pt x="7" y="133"/>
                  </a:lnTo>
                  <a:lnTo>
                    <a:pt x="12" y="146"/>
                  </a:lnTo>
                  <a:lnTo>
                    <a:pt x="18" y="157"/>
                  </a:lnTo>
                  <a:lnTo>
                    <a:pt x="26" y="170"/>
                  </a:lnTo>
                  <a:lnTo>
                    <a:pt x="35" y="182"/>
                  </a:lnTo>
                  <a:lnTo>
                    <a:pt x="44" y="194"/>
                  </a:lnTo>
                  <a:lnTo>
                    <a:pt x="45" y="196"/>
                  </a:lnTo>
                  <a:lnTo>
                    <a:pt x="47" y="198"/>
                  </a:lnTo>
                  <a:lnTo>
                    <a:pt x="50" y="201"/>
                  </a:lnTo>
                  <a:lnTo>
                    <a:pt x="53" y="205"/>
                  </a:lnTo>
                  <a:lnTo>
                    <a:pt x="67" y="220"/>
                  </a:lnTo>
                  <a:lnTo>
                    <a:pt x="81" y="235"/>
                  </a:lnTo>
                  <a:lnTo>
                    <a:pt x="97" y="250"/>
                  </a:lnTo>
                  <a:lnTo>
                    <a:pt x="111" y="262"/>
                  </a:lnTo>
                  <a:lnTo>
                    <a:pt x="135" y="283"/>
                  </a:lnTo>
                  <a:lnTo>
                    <a:pt x="152" y="297"/>
                  </a:lnTo>
                  <a:lnTo>
                    <a:pt x="156" y="300"/>
                  </a:lnTo>
                  <a:lnTo>
                    <a:pt x="158" y="301"/>
                  </a:lnTo>
                  <a:lnTo>
                    <a:pt x="158" y="301"/>
                  </a:lnTo>
                  <a:lnTo>
                    <a:pt x="158" y="301"/>
                  </a:lnTo>
                  <a:lnTo>
                    <a:pt x="162" y="304"/>
                  </a:lnTo>
                  <a:lnTo>
                    <a:pt x="166" y="304"/>
                  </a:lnTo>
                  <a:lnTo>
                    <a:pt x="169" y="304"/>
                  </a:lnTo>
                  <a:lnTo>
                    <a:pt x="172" y="301"/>
                  </a:lnTo>
                  <a:lnTo>
                    <a:pt x="172" y="301"/>
                  </a:lnTo>
                  <a:lnTo>
                    <a:pt x="172" y="301"/>
                  </a:lnTo>
                  <a:lnTo>
                    <a:pt x="175" y="300"/>
                  </a:lnTo>
                  <a:lnTo>
                    <a:pt x="179" y="297"/>
                  </a:lnTo>
                  <a:lnTo>
                    <a:pt x="196" y="283"/>
                  </a:lnTo>
                  <a:lnTo>
                    <a:pt x="220" y="262"/>
                  </a:lnTo>
                  <a:lnTo>
                    <a:pt x="234" y="250"/>
                  </a:lnTo>
                  <a:lnTo>
                    <a:pt x="249" y="235"/>
                  </a:lnTo>
                  <a:lnTo>
                    <a:pt x="264" y="220"/>
                  </a:lnTo>
                  <a:lnTo>
                    <a:pt x="278" y="205"/>
                  </a:lnTo>
                  <a:lnTo>
                    <a:pt x="280" y="201"/>
                  </a:lnTo>
                  <a:lnTo>
                    <a:pt x="284" y="198"/>
                  </a:lnTo>
                  <a:lnTo>
                    <a:pt x="285" y="196"/>
                  </a:lnTo>
                  <a:lnTo>
                    <a:pt x="287" y="194"/>
                  </a:lnTo>
                  <a:lnTo>
                    <a:pt x="302" y="174"/>
                  </a:lnTo>
                  <a:lnTo>
                    <a:pt x="315" y="152"/>
                  </a:lnTo>
                  <a:lnTo>
                    <a:pt x="320" y="142"/>
                  </a:lnTo>
                  <a:lnTo>
                    <a:pt x="324" y="131"/>
                  </a:lnTo>
                  <a:lnTo>
                    <a:pt x="328" y="121"/>
                  </a:lnTo>
                  <a:lnTo>
                    <a:pt x="329" y="112"/>
                  </a:lnTo>
                  <a:lnTo>
                    <a:pt x="329" y="111"/>
                  </a:lnTo>
                  <a:lnTo>
                    <a:pt x="330" y="110"/>
                  </a:lnTo>
                  <a:lnTo>
                    <a:pt x="330" y="103"/>
                  </a:lnTo>
                  <a:lnTo>
                    <a:pt x="330" y="98"/>
                  </a:lnTo>
                  <a:lnTo>
                    <a:pt x="330" y="86"/>
                  </a:lnTo>
                  <a:lnTo>
                    <a:pt x="329" y="76"/>
                  </a:lnTo>
                  <a:lnTo>
                    <a:pt x="327" y="66"/>
                  </a:lnTo>
                  <a:lnTo>
                    <a:pt x="323" y="57"/>
                  </a:lnTo>
                  <a:lnTo>
                    <a:pt x="319" y="48"/>
                  </a:lnTo>
                  <a:lnTo>
                    <a:pt x="315" y="40"/>
                  </a:lnTo>
                  <a:lnTo>
                    <a:pt x="309" y="33"/>
                  </a:lnTo>
                  <a:lnTo>
                    <a:pt x="303" y="26"/>
                  </a:lnTo>
                  <a:lnTo>
                    <a:pt x="297" y="21"/>
                  </a:lnTo>
                  <a:lnTo>
                    <a:pt x="289" y="16"/>
                  </a:lnTo>
                  <a:lnTo>
                    <a:pt x="283" y="11"/>
                  </a:lnTo>
                  <a:lnTo>
                    <a:pt x="275" y="7"/>
                  </a:lnTo>
                  <a:lnTo>
                    <a:pt x="267" y="4"/>
                  </a:lnTo>
                  <a:lnTo>
                    <a:pt x="258" y="3"/>
                  </a:lnTo>
                  <a:lnTo>
                    <a:pt x="251" y="2"/>
                  </a:lnTo>
                  <a:lnTo>
                    <a:pt x="2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C943E2EC-A612-4CED-BCD0-30DD7A63195C}"/>
              </a:ext>
            </a:extLst>
          </p:cNvPr>
          <p:cNvGrpSpPr/>
          <p:nvPr/>
        </p:nvGrpSpPr>
        <p:grpSpPr>
          <a:xfrm>
            <a:off x="10534646" y="2237082"/>
            <a:ext cx="378496" cy="376406"/>
            <a:chOff x="7021513" y="7067550"/>
            <a:chExt cx="287337" cy="285751"/>
          </a:xfrm>
          <a:solidFill>
            <a:schemeClr val="accent1"/>
          </a:solidFill>
        </p:grpSpPr>
        <p:sp>
          <p:nvSpPr>
            <p:cNvPr id="91" name="Freeform 3732">
              <a:extLst>
                <a:ext uri="{FF2B5EF4-FFF2-40B4-BE49-F238E27FC236}">
                  <a16:creationId xmlns:a16="http://schemas.microsoft.com/office/drawing/2014/main" id="{38D354EC-8149-4694-9F77-62B0A9E6DCBB}"/>
                </a:ext>
              </a:extLst>
            </p:cNvPr>
            <p:cNvSpPr>
              <a:spLocks/>
            </p:cNvSpPr>
            <p:nvPr/>
          </p:nvSpPr>
          <p:spPr bwMode="auto">
            <a:xfrm>
              <a:off x="7170738" y="7292975"/>
              <a:ext cx="30162" cy="55563"/>
            </a:xfrm>
            <a:custGeom>
              <a:avLst/>
              <a:gdLst>
                <a:gd name="T0" fmla="*/ 35 w 76"/>
                <a:gd name="T1" fmla="*/ 0 h 141"/>
                <a:gd name="T2" fmla="*/ 0 w 76"/>
                <a:gd name="T3" fmla="*/ 35 h 141"/>
                <a:gd name="T4" fmla="*/ 40 w 76"/>
                <a:gd name="T5" fmla="*/ 141 h 141"/>
                <a:gd name="T6" fmla="*/ 76 w 76"/>
                <a:gd name="T7" fmla="*/ 35 h 141"/>
                <a:gd name="T8" fmla="*/ 35 w 76"/>
                <a:gd name="T9" fmla="*/ 0 h 141"/>
              </a:gdLst>
              <a:ahLst/>
              <a:cxnLst>
                <a:cxn ang="0">
                  <a:pos x="T0" y="T1"/>
                </a:cxn>
                <a:cxn ang="0">
                  <a:pos x="T2" y="T3"/>
                </a:cxn>
                <a:cxn ang="0">
                  <a:pos x="T4" y="T5"/>
                </a:cxn>
                <a:cxn ang="0">
                  <a:pos x="T6" y="T7"/>
                </a:cxn>
                <a:cxn ang="0">
                  <a:pos x="T8" y="T9"/>
                </a:cxn>
              </a:cxnLst>
              <a:rect l="0" t="0" r="r" b="b"/>
              <a:pathLst>
                <a:path w="76" h="141">
                  <a:moveTo>
                    <a:pt x="35" y="0"/>
                  </a:moveTo>
                  <a:lnTo>
                    <a:pt x="0" y="35"/>
                  </a:lnTo>
                  <a:lnTo>
                    <a:pt x="40" y="141"/>
                  </a:lnTo>
                  <a:lnTo>
                    <a:pt x="76" y="35"/>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733">
              <a:extLst>
                <a:ext uri="{FF2B5EF4-FFF2-40B4-BE49-F238E27FC236}">
                  <a16:creationId xmlns:a16="http://schemas.microsoft.com/office/drawing/2014/main" id="{CC8D18A7-DF9B-4491-8A23-F0B717E095BF}"/>
                </a:ext>
              </a:extLst>
            </p:cNvPr>
            <p:cNvSpPr>
              <a:spLocks noEditPoints="1"/>
            </p:cNvSpPr>
            <p:nvPr/>
          </p:nvSpPr>
          <p:spPr bwMode="auto">
            <a:xfrm>
              <a:off x="7196138" y="7262813"/>
              <a:ext cx="112712" cy="90488"/>
            </a:xfrm>
            <a:custGeom>
              <a:avLst/>
              <a:gdLst>
                <a:gd name="T0" fmla="*/ 181 w 283"/>
                <a:gd name="T1" fmla="*/ 155 h 229"/>
                <a:gd name="T2" fmla="*/ 105 w 283"/>
                <a:gd name="T3" fmla="*/ 155 h 229"/>
                <a:gd name="T4" fmla="*/ 101 w 283"/>
                <a:gd name="T5" fmla="*/ 154 h 229"/>
                <a:gd name="T6" fmla="*/ 97 w 283"/>
                <a:gd name="T7" fmla="*/ 152 h 229"/>
                <a:gd name="T8" fmla="*/ 95 w 283"/>
                <a:gd name="T9" fmla="*/ 148 h 229"/>
                <a:gd name="T10" fmla="*/ 93 w 283"/>
                <a:gd name="T11" fmla="*/ 143 h 229"/>
                <a:gd name="T12" fmla="*/ 95 w 283"/>
                <a:gd name="T13" fmla="*/ 139 h 229"/>
                <a:gd name="T14" fmla="*/ 97 w 283"/>
                <a:gd name="T15" fmla="*/ 135 h 229"/>
                <a:gd name="T16" fmla="*/ 101 w 283"/>
                <a:gd name="T17" fmla="*/ 132 h 229"/>
                <a:gd name="T18" fmla="*/ 105 w 283"/>
                <a:gd name="T19" fmla="*/ 131 h 229"/>
                <a:gd name="T20" fmla="*/ 181 w 283"/>
                <a:gd name="T21" fmla="*/ 131 h 229"/>
                <a:gd name="T22" fmla="*/ 186 w 283"/>
                <a:gd name="T23" fmla="*/ 132 h 229"/>
                <a:gd name="T24" fmla="*/ 190 w 283"/>
                <a:gd name="T25" fmla="*/ 135 h 229"/>
                <a:gd name="T26" fmla="*/ 192 w 283"/>
                <a:gd name="T27" fmla="*/ 139 h 229"/>
                <a:gd name="T28" fmla="*/ 193 w 283"/>
                <a:gd name="T29" fmla="*/ 143 h 229"/>
                <a:gd name="T30" fmla="*/ 192 w 283"/>
                <a:gd name="T31" fmla="*/ 148 h 229"/>
                <a:gd name="T32" fmla="*/ 190 w 283"/>
                <a:gd name="T33" fmla="*/ 152 h 229"/>
                <a:gd name="T34" fmla="*/ 186 w 283"/>
                <a:gd name="T35" fmla="*/ 154 h 229"/>
                <a:gd name="T36" fmla="*/ 181 w 283"/>
                <a:gd name="T37" fmla="*/ 155 h 229"/>
                <a:gd name="T38" fmla="*/ 253 w 283"/>
                <a:gd name="T39" fmla="*/ 105 h 229"/>
                <a:gd name="T40" fmla="*/ 250 w 283"/>
                <a:gd name="T41" fmla="*/ 96 h 229"/>
                <a:gd name="T42" fmla="*/ 246 w 283"/>
                <a:gd name="T43" fmla="*/ 89 h 229"/>
                <a:gd name="T44" fmla="*/ 240 w 283"/>
                <a:gd name="T45" fmla="*/ 81 h 229"/>
                <a:gd name="T46" fmla="*/ 233 w 283"/>
                <a:gd name="T47" fmla="*/ 74 h 229"/>
                <a:gd name="T48" fmla="*/ 226 w 283"/>
                <a:gd name="T49" fmla="*/ 68 h 229"/>
                <a:gd name="T50" fmla="*/ 218 w 283"/>
                <a:gd name="T51" fmla="*/ 62 h 229"/>
                <a:gd name="T52" fmla="*/ 208 w 283"/>
                <a:gd name="T53" fmla="*/ 55 h 229"/>
                <a:gd name="T54" fmla="*/ 196 w 283"/>
                <a:gd name="T55" fmla="*/ 49 h 229"/>
                <a:gd name="T56" fmla="*/ 172 w 283"/>
                <a:gd name="T57" fmla="*/ 36 h 229"/>
                <a:gd name="T58" fmla="*/ 145 w 283"/>
                <a:gd name="T59" fmla="*/ 24 h 229"/>
                <a:gd name="T60" fmla="*/ 114 w 283"/>
                <a:gd name="T61" fmla="*/ 13 h 229"/>
                <a:gd name="T62" fmla="*/ 79 w 283"/>
                <a:gd name="T63" fmla="*/ 0 h 229"/>
                <a:gd name="T64" fmla="*/ 39 w 283"/>
                <a:gd name="T65" fmla="*/ 113 h 229"/>
                <a:gd name="T66" fmla="*/ 39 w 283"/>
                <a:gd name="T67" fmla="*/ 113 h 229"/>
                <a:gd name="T68" fmla="*/ 38 w 283"/>
                <a:gd name="T69" fmla="*/ 113 h 229"/>
                <a:gd name="T70" fmla="*/ 0 w 283"/>
                <a:gd name="T71" fmla="*/ 229 h 229"/>
                <a:gd name="T72" fmla="*/ 272 w 283"/>
                <a:gd name="T73" fmla="*/ 229 h 229"/>
                <a:gd name="T74" fmla="*/ 277 w 283"/>
                <a:gd name="T75" fmla="*/ 227 h 229"/>
                <a:gd name="T76" fmla="*/ 281 w 283"/>
                <a:gd name="T77" fmla="*/ 225 h 229"/>
                <a:gd name="T78" fmla="*/ 283 w 283"/>
                <a:gd name="T79" fmla="*/ 221 h 229"/>
                <a:gd name="T80" fmla="*/ 283 w 283"/>
                <a:gd name="T81" fmla="*/ 217 h 229"/>
                <a:gd name="T82" fmla="*/ 283 w 283"/>
                <a:gd name="T83" fmla="*/ 207 h 229"/>
                <a:gd name="T84" fmla="*/ 280 w 283"/>
                <a:gd name="T85" fmla="*/ 184 h 229"/>
                <a:gd name="T86" fmla="*/ 276 w 283"/>
                <a:gd name="T87" fmla="*/ 167 h 229"/>
                <a:gd name="T88" fmla="*/ 271 w 283"/>
                <a:gd name="T89" fmla="*/ 148 h 229"/>
                <a:gd name="T90" fmla="*/ 263 w 283"/>
                <a:gd name="T91" fmla="*/ 127 h 229"/>
                <a:gd name="T92" fmla="*/ 253 w 283"/>
                <a:gd name="T93" fmla="*/ 10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229">
                  <a:moveTo>
                    <a:pt x="181" y="155"/>
                  </a:moveTo>
                  <a:lnTo>
                    <a:pt x="105" y="155"/>
                  </a:lnTo>
                  <a:lnTo>
                    <a:pt x="101" y="154"/>
                  </a:lnTo>
                  <a:lnTo>
                    <a:pt x="97" y="152"/>
                  </a:lnTo>
                  <a:lnTo>
                    <a:pt x="95" y="148"/>
                  </a:lnTo>
                  <a:lnTo>
                    <a:pt x="93" y="143"/>
                  </a:lnTo>
                  <a:lnTo>
                    <a:pt x="95" y="139"/>
                  </a:lnTo>
                  <a:lnTo>
                    <a:pt x="97" y="135"/>
                  </a:lnTo>
                  <a:lnTo>
                    <a:pt x="101" y="132"/>
                  </a:lnTo>
                  <a:lnTo>
                    <a:pt x="105" y="131"/>
                  </a:lnTo>
                  <a:lnTo>
                    <a:pt x="181" y="131"/>
                  </a:lnTo>
                  <a:lnTo>
                    <a:pt x="186" y="132"/>
                  </a:lnTo>
                  <a:lnTo>
                    <a:pt x="190" y="135"/>
                  </a:lnTo>
                  <a:lnTo>
                    <a:pt x="192" y="139"/>
                  </a:lnTo>
                  <a:lnTo>
                    <a:pt x="193" y="143"/>
                  </a:lnTo>
                  <a:lnTo>
                    <a:pt x="192" y="148"/>
                  </a:lnTo>
                  <a:lnTo>
                    <a:pt x="190" y="152"/>
                  </a:lnTo>
                  <a:lnTo>
                    <a:pt x="186" y="154"/>
                  </a:lnTo>
                  <a:lnTo>
                    <a:pt x="181" y="155"/>
                  </a:lnTo>
                  <a:close/>
                  <a:moveTo>
                    <a:pt x="253" y="105"/>
                  </a:moveTo>
                  <a:lnTo>
                    <a:pt x="250" y="96"/>
                  </a:lnTo>
                  <a:lnTo>
                    <a:pt x="246" y="89"/>
                  </a:lnTo>
                  <a:lnTo>
                    <a:pt x="240" y="81"/>
                  </a:lnTo>
                  <a:lnTo>
                    <a:pt x="233" y="74"/>
                  </a:lnTo>
                  <a:lnTo>
                    <a:pt x="226" y="68"/>
                  </a:lnTo>
                  <a:lnTo>
                    <a:pt x="218" y="62"/>
                  </a:lnTo>
                  <a:lnTo>
                    <a:pt x="208" y="55"/>
                  </a:lnTo>
                  <a:lnTo>
                    <a:pt x="196" y="49"/>
                  </a:lnTo>
                  <a:lnTo>
                    <a:pt x="172" y="36"/>
                  </a:lnTo>
                  <a:lnTo>
                    <a:pt x="145" y="24"/>
                  </a:lnTo>
                  <a:lnTo>
                    <a:pt x="114" y="13"/>
                  </a:lnTo>
                  <a:lnTo>
                    <a:pt x="79" y="0"/>
                  </a:lnTo>
                  <a:lnTo>
                    <a:pt x="39" y="113"/>
                  </a:lnTo>
                  <a:lnTo>
                    <a:pt x="39" y="113"/>
                  </a:lnTo>
                  <a:lnTo>
                    <a:pt x="38" y="113"/>
                  </a:lnTo>
                  <a:lnTo>
                    <a:pt x="0" y="229"/>
                  </a:lnTo>
                  <a:lnTo>
                    <a:pt x="272" y="229"/>
                  </a:lnTo>
                  <a:lnTo>
                    <a:pt x="277" y="227"/>
                  </a:lnTo>
                  <a:lnTo>
                    <a:pt x="281" y="225"/>
                  </a:lnTo>
                  <a:lnTo>
                    <a:pt x="283" y="221"/>
                  </a:lnTo>
                  <a:lnTo>
                    <a:pt x="283" y="217"/>
                  </a:lnTo>
                  <a:lnTo>
                    <a:pt x="283" y="207"/>
                  </a:lnTo>
                  <a:lnTo>
                    <a:pt x="280" y="184"/>
                  </a:lnTo>
                  <a:lnTo>
                    <a:pt x="276" y="167"/>
                  </a:lnTo>
                  <a:lnTo>
                    <a:pt x="271" y="148"/>
                  </a:lnTo>
                  <a:lnTo>
                    <a:pt x="263" y="127"/>
                  </a:lnTo>
                  <a:lnTo>
                    <a:pt x="253"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734">
              <a:extLst>
                <a:ext uri="{FF2B5EF4-FFF2-40B4-BE49-F238E27FC236}">
                  <a16:creationId xmlns:a16="http://schemas.microsoft.com/office/drawing/2014/main" id="{50DEF239-0A27-40E6-955F-EBFE927DEA1C}"/>
                </a:ext>
              </a:extLst>
            </p:cNvPr>
            <p:cNvSpPr>
              <a:spLocks/>
            </p:cNvSpPr>
            <p:nvPr/>
          </p:nvSpPr>
          <p:spPr bwMode="auto">
            <a:xfrm>
              <a:off x="7129463" y="7292975"/>
              <a:ext cx="30162" cy="55563"/>
            </a:xfrm>
            <a:custGeom>
              <a:avLst/>
              <a:gdLst>
                <a:gd name="T0" fmla="*/ 0 w 76"/>
                <a:gd name="T1" fmla="*/ 37 h 141"/>
                <a:gd name="T2" fmla="*/ 35 w 76"/>
                <a:gd name="T3" fmla="*/ 141 h 141"/>
                <a:gd name="T4" fmla="*/ 76 w 76"/>
                <a:gd name="T5" fmla="*/ 35 h 141"/>
                <a:gd name="T6" fmla="*/ 41 w 76"/>
                <a:gd name="T7" fmla="*/ 0 h 141"/>
                <a:gd name="T8" fmla="*/ 0 w 76"/>
                <a:gd name="T9" fmla="*/ 37 h 141"/>
              </a:gdLst>
              <a:ahLst/>
              <a:cxnLst>
                <a:cxn ang="0">
                  <a:pos x="T0" y="T1"/>
                </a:cxn>
                <a:cxn ang="0">
                  <a:pos x="T2" y="T3"/>
                </a:cxn>
                <a:cxn ang="0">
                  <a:pos x="T4" y="T5"/>
                </a:cxn>
                <a:cxn ang="0">
                  <a:pos x="T6" y="T7"/>
                </a:cxn>
                <a:cxn ang="0">
                  <a:pos x="T8" y="T9"/>
                </a:cxn>
              </a:cxnLst>
              <a:rect l="0" t="0" r="r" b="b"/>
              <a:pathLst>
                <a:path w="76" h="141">
                  <a:moveTo>
                    <a:pt x="0" y="37"/>
                  </a:moveTo>
                  <a:lnTo>
                    <a:pt x="35" y="141"/>
                  </a:lnTo>
                  <a:lnTo>
                    <a:pt x="76" y="35"/>
                  </a:lnTo>
                  <a:lnTo>
                    <a:pt x="41" y="0"/>
                  </a:lnTo>
                  <a:lnTo>
                    <a:pt x="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735">
              <a:extLst>
                <a:ext uri="{FF2B5EF4-FFF2-40B4-BE49-F238E27FC236}">
                  <a16:creationId xmlns:a16="http://schemas.microsoft.com/office/drawing/2014/main" id="{3E2F0A46-D02E-495B-856D-97B9289FA36D}"/>
                </a:ext>
              </a:extLst>
            </p:cNvPr>
            <p:cNvSpPr>
              <a:spLocks/>
            </p:cNvSpPr>
            <p:nvPr/>
          </p:nvSpPr>
          <p:spPr bwMode="auto">
            <a:xfrm>
              <a:off x="7113588" y="7256463"/>
              <a:ext cx="42862" cy="41275"/>
            </a:xfrm>
            <a:custGeom>
              <a:avLst/>
              <a:gdLst>
                <a:gd name="T0" fmla="*/ 74 w 108"/>
                <a:gd name="T1" fmla="*/ 68 h 107"/>
                <a:gd name="T2" fmla="*/ 108 w 108"/>
                <a:gd name="T3" fmla="*/ 39 h 107"/>
                <a:gd name="T4" fmla="*/ 22 w 108"/>
                <a:gd name="T5" fmla="*/ 0 h 107"/>
                <a:gd name="T6" fmla="*/ 11 w 108"/>
                <a:gd name="T7" fmla="*/ 4 h 107"/>
                <a:gd name="T8" fmla="*/ 0 w 108"/>
                <a:gd name="T9" fmla="*/ 8 h 107"/>
                <a:gd name="T10" fmla="*/ 32 w 108"/>
                <a:gd name="T11" fmla="*/ 107 h 107"/>
                <a:gd name="T12" fmla="*/ 72 w 108"/>
                <a:gd name="T13" fmla="*/ 71 h 107"/>
                <a:gd name="T14" fmla="*/ 73 w 108"/>
                <a:gd name="T15" fmla="*/ 70 h 107"/>
                <a:gd name="T16" fmla="*/ 74 w 108"/>
                <a:gd name="T17" fmla="*/ 6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74" y="68"/>
                  </a:moveTo>
                  <a:lnTo>
                    <a:pt x="108" y="39"/>
                  </a:lnTo>
                  <a:lnTo>
                    <a:pt x="22" y="0"/>
                  </a:lnTo>
                  <a:lnTo>
                    <a:pt x="11" y="4"/>
                  </a:lnTo>
                  <a:lnTo>
                    <a:pt x="0" y="8"/>
                  </a:lnTo>
                  <a:lnTo>
                    <a:pt x="32" y="107"/>
                  </a:lnTo>
                  <a:lnTo>
                    <a:pt x="72" y="71"/>
                  </a:lnTo>
                  <a:lnTo>
                    <a:pt x="73" y="70"/>
                  </a:lnTo>
                  <a:lnTo>
                    <a:pt x="7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736">
              <a:extLst>
                <a:ext uri="{FF2B5EF4-FFF2-40B4-BE49-F238E27FC236}">
                  <a16:creationId xmlns:a16="http://schemas.microsoft.com/office/drawing/2014/main" id="{018CD2D9-5A26-40DE-A312-9AD82A832599}"/>
                </a:ext>
              </a:extLst>
            </p:cNvPr>
            <p:cNvSpPr>
              <a:spLocks/>
            </p:cNvSpPr>
            <p:nvPr/>
          </p:nvSpPr>
          <p:spPr bwMode="auto">
            <a:xfrm>
              <a:off x="7105650" y="7143750"/>
              <a:ext cx="119062" cy="120650"/>
            </a:xfrm>
            <a:custGeom>
              <a:avLst/>
              <a:gdLst>
                <a:gd name="T0" fmla="*/ 248 w 302"/>
                <a:gd name="T1" fmla="*/ 209 h 306"/>
                <a:gd name="T2" fmla="*/ 257 w 302"/>
                <a:gd name="T3" fmla="*/ 196 h 306"/>
                <a:gd name="T4" fmla="*/ 269 w 302"/>
                <a:gd name="T5" fmla="*/ 176 h 306"/>
                <a:gd name="T6" fmla="*/ 274 w 302"/>
                <a:gd name="T7" fmla="*/ 164 h 306"/>
                <a:gd name="T8" fmla="*/ 279 w 302"/>
                <a:gd name="T9" fmla="*/ 149 h 306"/>
                <a:gd name="T10" fmla="*/ 283 w 302"/>
                <a:gd name="T11" fmla="*/ 133 h 306"/>
                <a:gd name="T12" fmla="*/ 284 w 302"/>
                <a:gd name="T13" fmla="*/ 115 h 306"/>
                <a:gd name="T14" fmla="*/ 288 w 302"/>
                <a:gd name="T15" fmla="*/ 111 h 306"/>
                <a:gd name="T16" fmla="*/ 292 w 302"/>
                <a:gd name="T17" fmla="*/ 106 h 306"/>
                <a:gd name="T18" fmla="*/ 296 w 302"/>
                <a:gd name="T19" fmla="*/ 101 h 306"/>
                <a:gd name="T20" fmla="*/ 297 w 302"/>
                <a:gd name="T21" fmla="*/ 94 h 306"/>
                <a:gd name="T22" fmla="*/ 301 w 302"/>
                <a:gd name="T23" fmla="*/ 81 h 306"/>
                <a:gd name="T24" fmla="*/ 302 w 302"/>
                <a:gd name="T25" fmla="*/ 70 h 306"/>
                <a:gd name="T26" fmla="*/ 302 w 302"/>
                <a:gd name="T27" fmla="*/ 63 h 306"/>
                <a:gd name="T28" fmla="*/ 301 w 302"/>
                <a:gd name="T29" fmla="*/ 57 h 306"/>
                <a:gd name="T30" fmla="*/ 298 w 302"/>
                <a:gd name="T31" fmla="*/ 52 h 306"/>
                <a:gd name="T32" fmla="*/ 296 w 302"/>
                <a:gd name="T33" fmla="*/ 47 h 306"/>
                <a:gd name="T34" fmla="*/ 290 w 302"/>
                <a:gd name="T35" fmla="*/ 40 h 306"/>
                <a:gd name="T36" fmla="*/ 284 w 302"/>
                <a:gd name="T37" fmla="*/ 36 h 306"/>
                <a:gd name="T38" fmla="*/ 284 w 302"/>
                <a:gd name="T39" fmla="*/ 13 h 306"/>
                <a:gd name="T40" fmla="*/ 284 w 302"/>
                <a:gd name="T41" fmla="*/ 8 h 306"/>
                <a:gd name="T42" fmla="*/ 281 w 302"/>
                <a:gd name="T43" fmla="*/ 4 h 306"/>
                <a:gd name="T44" fmla="*/ 278 w 302"/>
                <a:gd name="T45" fmla="*/ 2 h 306"/>
                <a:gd name="T46" fmla="*/ 273 w 302"/>
                <a:gd name="T47" fmla="*/ 0 h 306"/>
                <a:gd name="T48" fmla="*/ 30 w 302"/>
                <a:gd name="T49" fmla="*/ 0 h 306"/>
                <a:gd name="T50" fmla="*/ 26 w 302"/>
                <a:gd name="T51" fmla="*/ 2 h 306"/>
                <a:gd name="T52" fmla="*/ 22 w 302"/>
                <a:gd name="T53" fmla="*/ 4 h 306"/>
                <a:gd name="T54" fmla="*/ 20 w 302"/>
                <a:gd name="T55" fmla="*/ 8 h 306"/>
                <a:gd name="T56" fmla="*/ 18 w 302"/>
                <a:gd name="T57" fmla="*/ 13 h 306"/>
                <a:gd name="T58" fmla="*/ 18 w 302"/>
                <a:gd name="T59" fmla="*/ 36 h 306"/>
                <a:gd name="T60" fmla="*/ 12 w 302"/>
                <a:gd name="T61" fmla="*/ 40 h 306"/>
                <a:gd name="T62" fmla="*/ 7 w 302"/>
                <a:gd name="T63" fmla="*/ 47 h 306"/>
                <a:gd name="T64" fmla="*/ 4 w 302"/>
                <a:gd name="T65" fmla="*/ 52 h 306"/>
                <a:gd name="T66" fmla="*/ 2 w 302"/>
                <a:gd name="T67" fmla="*/ 57 h 306"/>
                <a:gd name="T68" fmla="*/ 2 w 302"/>
                <a:gd name="T69" fmla="*/ 63 h 306"/>
                <a:gd name="T70" fmla="*/ 0 w 302"/>
                <a:gd name="T71" fmla="*/ 70 h 306"/>
                <a:gd name="T72" fmla="*/ 2 w 302"/>
                <a:gd name="T73" fmla="*/ 81 h 306"/>
                <a:gd name="T74" fmla="*/ 5 w 302"/>
                <a:gd name="T75" fmla="*/ 94 h 306"/>
                <a:gd name="T76" fmla="*/ 8 w 302"/>
                <a:gd name="T77" fmla="*/ 101 h 306"/>
                <a:gd name="T78" fmla="*/ 11 w 302"/>
                <a:gd name="T79" fmla="*/ 106 h 306"/>
                <a:gd name="T80" fmla="*/ 14 w 302"/>
                <a:gd name="T81" fmla="*/ 111 h 306"/>
                <a:gd name="T82" fmla="*/ 18 w 302"/>
                <a:gd name="T83" fmla="*/ 115 h 306"/>
                <a:gd name="T84" fmla="*/ 21 w 302"/>
                <a:gd name="T85" fmla="*/ 133 h 306"/>
                <a:gd name="T86" fmla="*/ 23 w 302"/>
                <a:gd name="T87" fmla="*/ 149 h 306"/>
                <a:gd name="T88" fmla="*/ 28 w 302"/>
                <a:gd name="T89" fmla="*/ 164 h 306"/>
                <a:gd name="T90" fmla="*/ 34 w 302"/>
                <a:gd name="T91" fmla="*/ 176 h 306"/>
                <a:gd name="T92" fmla="*/ 45 w 302"/>
                <a:gd name="T93" fmla="*/ 196 h 306"/>
                <a:gd name="T94" fmla="*/ 55 w 302"/>
                <a:gd name="T95" fmla="*/ 209 h 306"/>
                <a:gd name="T96" fmla="*/ 55 w 302"/>
                <a:gd name="T97" fmla="*/ 262 h 306"/>
                <a:gd name="T98" fmla="*/ 152 w 302"/>
                <a:gd name="T99" fmla="*/ 306 h 306"/>
                <a:gd name="T100" fmla="*/ 248 w 302"/>
                <a:gd name="T101" fmla="*/ 262 h 306"/>
                <a:gd name="T102" fmla="*/ 248 w 302"/>
                <a:gd name="T103" fmla="*/ 20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2" h="306">
                  <a:moveTo>
                    <a:pt x="248" y="209"/>
                  </a:moveTo>
                  <a:lnTo>
                    <a:pt x="257" y="196"/>
                  </a:lnTo>
                  <a:lnTo>
                    <a:pt x="269" y="176"/>
                  </a:lnTo>
                  <a:lnTo>
                    <a:pt x="274" y="164"/>
                  </a:lnTo>
                  <a:lnTo>
                    <a:pt x="279" y="149"/>
                  </a:lnTo>
                  <a:lnTo>
                    <a:pt x="283" y="133"/>
                  </a:lnTo>
                  <a:lnTo>
                    <a:pt x="284" y="115"/>
                  </a:lnTo>
                  <a:lnTo>
                    <a:pt x="288" y="111"/>
                  </a:lnTo>
                  <a:lnTo>
                    <a:pt x="292" y="106"/>
                  </a:lnTo>
                  <a:lnTo>
                    <a:pt x="296" y="101"/>
                  </a:lnTo>
                  <a:lnTo>
                    <a:pt x="297" y="94"/>
                  </a:lnTo>
                  <a:lnTo>
                    <a:pt x="301" y="81"/>
                  </a:lnTo>
                  <a:lnTo>
                    <a:pt x="302" y="70"/>
                  </a:lnTo>
                  <a:lnTo>
                    <a:pt x="302" y="63"/>
                  </a:lnTo>
                  <a:lnTo>
                    <a:pt x="301" y="57"/>
                  </a:lnTo>
                  <a:lnTo>
                    <a:pt x="298" y="52"/>
                  </a:lnTo>
                  <a:lnTo>
                    <a:pt x="296" y="47"/>
                  </a:lnTo>
                  <a:lnTo>
                    <a:pt x="290" y="40"/>
                  </a:lnTo>
                  <a:lnTo>
                    <a:pt x="284" y="36"/>
                  </a:lnTo>
                  <a:lnTo>
                    <a:pt x="284" y="13"/>
                  </a:lnTo>
                  <a:lnTo>
                    <a:pt x="284" y="8"/>
                  </a:lnTo>
                  <a:lnTo>
                    <a:pt x="281" y="4"/>
                  </a:lnTo>
                  <a:lnTo>
                    <a:pt x="278" y="2"/>
                  </a:lnTo>
                  <a:lnTo>
                    <a:pt x="273" y="0"/>
                  </a:lnTo>
                  <a:lnTo>
                    <a:pt x="30" y="0"/>
                  </a:lnTo>
                  <a:lnTo>
                    <a:pt x="26" y="2"/>
                  </a:lnTo>
                  <a:lnTo>
                    <a:pt x="22" y="4"/>
                  </a:lnTo>
                  <a:lnTo>
                    <a:pt x="20" y="8"/>
                  </a:lnTo>
                  <a:lnTo>
                    <a:pt x="18" y="13"/>
                  </a:lnTo>
                  <a:lnTo>
                    <a:pt x="18" y="36"/>
                  </a:lnTo>
                  <a:lnTo>
                    <a:pt x="12" y="40"/>
                  </a:lnTo>
                  <a:lnTo>
                    <a:pt x="7" y="47"/>
                  </a:lnTo>
                  <a:lnTo>
                    <a:pt x="4" y="52"/>
                  </a:lnTo>
                  <a:lnTo>
                    <a:pt x="2" y="57"/>
                  </a:lnTo>
                  <a:lnTo>
                    <a:pt x="2" y="63"/>
                  </a:lnTo>
                  <a:lnTo>
                    <a:pt x="0" y="70"/>
                  </a:lnTo>
                  <a:lnTo>
                    <a:pt x="2" y="81"/>
                  </a:lnTo>
                  <a:lnTo>
                    <a:pt x="5" y="94"/>
                  </a:lnTo>
                  <a:lnTo>
                    <a:pt x="8" y="101"/>
                  </a:lnTo>
                  <a:lnTo>
                    <a:pt x="11" y="106"/>
                  </a:lnTo>
                  <a:lnTo>
                    <a:pt x="14" y="111"/>
                  </a:lnTo>
                  <a:lnTo>
                    <a:pt x="18" y="115"/>
                  </a:lnTo>
                  <a:lnTo>
                    <a:pt x="21" y="133"/>
                  </a:lnTo>
                  <a:lnTo>
                    <a:pt x="23" y="149"/>
                  </a:lnTo>
                  <a:lnTo>
                    <a:pt x="28" y="164"/>
                  </a:lnTo>
                  <a:lnTo>
                    <a:pt x="34" y="176"/>
                  </a:lnTo>
                  <a:lnTo>
                    <a:pt x="45" y="196"/>
                  </a:lnTo>
                  <a:lnTo>
                    <a:pt x="55" y="209"/>
                  </a:lnTo>
                  <a:lnTo>
                    <a:pt x="55" y="262"/>
                  </a:lnTo>
                  <a:lnTo>
                    <a:pt x="152" y="306"/>
                  </a:lnTo>
                  <a:lnTo>
                    <a:pt x="248" y="262"/>
                  </a:lnTo>
                  <a:lnTo>
                    <a:pt x="248"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737">
              <a:extLst>
                <a:ext uri="{FF2B5EF4-FFF2-40B4-BE49-F238E27FC236}">
                  <a16:creationId xmlns:a16="http://schemas.microsoft.com/office/drawing/2014/main" id="{9914F72E-432E-4415-9381-42575CE4FCAD}"/>
                </a:ext>
              </a:extLst>
            </p:cNvPr>
            <p:cNvSpPr>
              <a:spLocks/>
            </p:cNvSpPr>
            <p:nvPr/>
          </p:nvSpPr>
          <p:spPr bwMode="auto">
            <a:xfrm>
              <a:off x="7021513" y="7261225"/>
              <a:ext cx="112712" cy="92075"/>
            </a:xfrm>
            <a:custGeom>
              <a:avLst/>
              <a:gdLst>
                <a:gd name="T0" fmla="*/ 31 w 284"/>
                <a:gd name="T1" fmla="*/ 106 h 230"/>
                <a:gd name="T2" fmla="*/ 26 w 284"/>
                <a:gd name="T3" fmla="*/ 119 h 230"/>
                <a:gd name="T4" fmla="*/ 19 w 284"/>
                <a:gd name="T5" fmla="*/ 136 h 230"/>
                <a:gd name="T6" fmla="*/ 14 w 284"/>
                <a:gd name="T7" fmla="*/ 154 h 230"/>
                <a:gd name="T8" fmla="*/ 10 w 284"/>
                <a:gd name="T9" fmla="*/ 172 h 230"/>
                <a:gd name="T10" fmla="*/ 2 w 284"/>
                <a:gd name="T11" fmla="*/ 201 h 230"/>
                <a:gd name="T12" fmla="*/ 0 w 284"/>
                <a:gd name="T13" fmla="*/ 215 h 230"/>
                <a:gd name="T14" fmla="*/ 0 w 284"/>
                <a:gd name="T15" fmla="*/ 221 h 230"/>
                <a:gd name="T16" fmla="*/ 2 w 284"/>
                <a:gd name="T17" fmla="*/ 226 h 230"/>
                <a:gd name="T18" fmla="*/ 6 w 284"/>
                <a:gd name="T19" fmla="*/ 228 h 230"/>
                <a:gd name="T20" fmla="*/ 11 w 284"/>
                <a:gd name="T21" fmla="*/ 230 h 230"/>
                <a:gd name="T22" fmla="*/ 284 w 284"/>
                <a:gd name="T23" fmla="*/ 230 h 230"/>
                <a:gd name="T24" fmla="*/ 207 w 284"/>
                <a:gd name="T25" fmla="*/ 0 h 230"/>
                <a:gd name="T26" fmla="*/ 173 w 284"/>
                <a:gd name="T27" fmla="*/ 13 h 230"/>
                <a:gd name="T28" fmla="*/ 141 w 284"/>
                <a:gd name="T29" fmla="*/ 25 h 230"/>
                <a:gd name="T30" fmla="*/ 113 w 284"/>
                <a:gd name="T31" fmla="*/ 37 h 230"/>
                <a:gd name="T32" fmla="*/ 89 w 284"/>
                <a:gd name="T33" fmla="*/ 48 h 230"/>
                <a:gd name="T34" fmla="*/ 77 w 284"/>
                <a:gd name="T35" fmla="*/ 55 h 230"/>
                <a:gd name="T36" fmla="*/ 67 w 284"/>
                <a:gd name="T37" fmla="*/ 61 h 230"/>
                <a:gd name="T38" fmla="*/ 58 w 284"/>
                <a:gd name="T39" fmla="*/ 68 h 230"/>
                <a:gd name="T40" fmla="*/ 50 w 284"/>
                <a:gd name="T41" fmla="*/ 75 h 230"/>
                <a:gd name="T42" fmla="*/ 44 w 284"/>
                <a:gd name="T43" fmla="*/ 82 h 230"/>
                <a:gd name="T44" fmla="*/ 38 w 284"/>
                <a:gd name="T45" fmla="*/ 90 h 230"/>
                <a:gd name="T46" fmla="*/ 33 w 284"/>
                <a:gd name="T47" fmla="*/ 97 h 230"/>
                <a:gd name="T48" fmla="*/ 31 w 284"/>
                <a:gd name="T49" fmla="*/ 10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4" h="230">
                  <a:moveTo>
                    <a:pt x="31" y="106"/>
                  </a:moveTo>
                  <a:lnTo>
                    <a:pt x="26" y="119"/>
                  </a:lnTo>
                  <a:lnTo>
                    <a:pt x="19" y="136"/>
                  </a:lnTo>
                  <a:lnTo>
                    <a:pt x="14" y="154"/>
                  </a:lnTo>
                  <a:lnTo>
                    <a:pt x="10" y="172"/>
                  </a:lnTo>
                  <a:lnTo>
                    <a:pt x="2" y="201"/>
                  </a:lnTo>
                  <a:lnTo>
                    <a:pt x="0" y="215"/>
                  </a:lnTo>
                  <a:lnTo>
                    <a:pt x="0" y="221"/>
                  </a:lnTo>
                  <a:lnTo>
                    <a:pt x="2" y="226"/>
                  </a:lnTo>
                  <a:lnTo>
                    <a:pt x="6" y="228"/>
                  </a:lnTo>
                  <a:lnTo>
                    <a:pt x="11" y="230"/>
                  </a:lnTo>
                  <a:lnTo>
                    <a:pt x="284" y="230"/>
                  </a:lnTo>
                  <a:lnTo>
                    <a:pt x="207" y="0"/>
                  </a:lnTo>
                  <a:lnTo>
                    <a:pt x="173" y="13"/>
                  </a:lnTo>
                  <a:lnTo>
                    <a:pt x="141" y="25"/>
                  </a:lnTo>
                  <a:lnTo>
                    <a:pt x="113" y="37"/>
                  </a:lnTo>
                  <a:lnTo>
                    <a:pt x="89" y="48"/>
                  </a:lnTo>
                  <a:lnTo>
                    <a:pt x="77" y="55"/>
                  </a:lnTo>
                  <a:lnTo>
                    <a:pt x="67" y="61"/>
                  </a:lnTo>
                  <a:lnTo>
                    <a:pt x="58" y="68"/>
                  </a:lnTo>
                  <a:lnTo>
                    <a:pt x="50" y="75"/>
                  </a:lnTo>
                  <a:lnTo>
                    <a:pt x="44" y="82"/>
                  </a:lnTo>
                  <a:lnTo>
                    <a:pt x="38" y="90"/>
                  </a:lnTo>
                  <a:lnTo>
                    <a:pt x="33" y="97"/>
                  </a:lnTo>
                  <a:lnTo>
                    <a:pt x="3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738">
              <a:extLst>
                <a:ext uri="{FF2B5EF4-FFF2-40B4-BE49-F238E27FC236}">
                  <a16:creationId xmlns:a16="http://schemas.microsoft.com/office/drawing/2014/main" id="{4A8B5954-E13A-43DC-A82A-2EE25BD11B51}"/>
                </a:ext>
              </a:extLst>
            </p:cNvPr>
            <p:cNvSpPr>
              <a:spLocks/>
            </p:cNvSpPr>
            <p:nvPr/>
          </p:nvSpPr>
          <p:spPr bwMode="auto">
            <a:xfrm>
              <a:off x="7081838" y="7067550"/>
              <a:ext cx="166687" cy="71438"/>
            </a:xfrm>
            <a:custGeom>
              <a:avLst/>
              <a:gdLst>
                <a:gd name="T0" fmla="*/ 12 w 418"/>
                <a:gd name="T1" fmla="*/ 179 h 179"/>
                <a:gd name="T2" fmla="*/ 69 w 418"/>
                <a:gd name="T3" fmla="*/ 179 h 179"/>
                <a:gd name="T4" fmla="*/ 69 w 418"/>
                <a:gd name="T5" fmla="*/ 179 h 179"/>
                <a:gd name="T6" fmla="*/ 69 w 418"/>
                <a:gd name="T7" fmla="*/ 179 h 179"/>
                <a:gd name="T8" fmla="*/ 69 w 418"/>
                <a:gd name="T9" fmla="*/ 179 h 179"/>
                <a:gd name="T10" fmla="*/ 69 w 418"/>
                <a:gd name="T11" fmla="*/ 179 h 179"/>
                <a:gd name="T12" fmla="*/ 406 w 418"/>
                <a:gd name="T13" fmla="*/ 179 h 179"/>
                <a:gd name="T14" fmla="*/ 411 w 418"/>
                <a:gd name="T15" fmla="*/ 178 h 179"/>
                <a:gd name="T16" fmla="*/ 415 w 418"/>
                <a:gd name="T17" fmla="*/ 175 h 179"/>
                <a:gd name="T18" fmla="*/ 418 w 418"/>
                <a:gd name="T19" fmla="*/ 171 h 179"/>
                <a:gd name="T20" fmla="*/ 418 w 418"/>
                <a:gd name="T21" fmla="*/ 167 h 179"/>
                <a:gd name="T22" fmla="*/ 418 w 418"/>
                <a:gd name="T23" fmla="*/ 162 h 179"/>
                <a:gd name="T24" fmla="*/ 415 w 418"/>
                <a:gd name="T25" fmla="*/ 158 h 179"/>
                <a:gd name="T26" fmla="*/ 411 w 418"/>
                <a:gd name="T27" fmla="*/ 156 h 179"/>
                <a:gd name="T28" fmla="*/ 406 w 418"/>
                <a:gd name="T29" fmla="*/ 155 h 179"/>
                <a:gd name="T30" fmla="*/ 357 w 418"/>
                <a:gd name="T31" fmla="*/ 155 h 179"/>
                <a:gd name="T32" fmla="*/ 296 w 418"/>
                <a:gd name="T33" fmla="*/ 8 h 179"/>
                <a:gd name="T34" fmla="*/ 293 w 418"/>
                <a:gd name="T35" fmla="*/ 3 h 179"/>
                <a:gd name="T36" fmla="*/ 289 w 418"/>
                <a:gd name="T37" fmla="*/ 0 h 179"/>
                <a:gd name="T38" fmla="*/ 284 w 418"/>
                <a:gd name="T39" fmla="*/ 0 h 179"/>
                <a:gd name="T40" fmla="*/ 279 w 418"/>
                <a:gd name="T41" fmla="*/ 2 h 179"/>
                <a:gd name="T42" fmla="*/ 242 w 418"/>
                <a:gd name="T43" fmla="*/ 24 h 179"/>
                <a:gd name="T44" fmla="*/ 235 w 418"/>
                <a:gd name="T45" fmla="*/ 27 h 179"/>
                <a:gd name="T46" fmla="*/ 226 w 418"/>
                <a:gd name="T47" fmla="*/ 30 h 179"/>
                <a:gd name="T48" fmla="*/ 219 w 418"/>
                <a:gd name="T49" fmla="*/ 31 h 179"/>
                <a:gd name="T50" fmla="*/ 210 w 418"/>
                <a:gd name="T51" fmla="*/ 33 h 179"/>
                <a:gd name="T52" fmla="*/ 201 w 418"/>
                <a:gd name="T53" fmla="*/ 31 h 179"/>
                <a:gd name="T54" fmla="*/ 192 w 418"/>
                <a:gd name="T55" fmla="*/ 30 h 179"/>
                <a:gd name="T56" fmla="*/ 184 w 418"/>
                <a:gd name="T57" fmla="*/ 27 h 179"/>
                <a:gd name="T58" fmla="*/ 176 w 418"/>
                <a:gd name="T59" fmla="*/ 24 h 179"/>
                <a:gd name="T60" fmla="*/ 139 w 418"/>
                <a:gd name="T61" fmla="*/ 2 h 179"/>
                <a:gd name="T62" fmla="*/ 135 w 418"/>
                <a:gd name="T63" fmla="*/ 0 h 179"/>
                <a:gd name="T64" fmla="*/ 130 w 418"/>
                <a:gd name="T65" fmla="*/ 0 h 179"/>
                <a:gd name="T66" fmla="*/ 125 w 418"/>
                <a:gd name="T67" fmla="*/ 3 h 179"/>
                <a:gd name="T68" fmla="*/ 122 w 418"/>
                <a:gd name="T69" fmla="*/ 8 h 179"/>
                <a:gd name="T70" fmla="*/ 61 w 418"/>
                <a:gd name="T71" fmla="*/ 155 h 179"/>
                <a:gd name="T72" fmla="*/ 12 w 418"/>
                <a:gd name="T73" fmla="*/ 155 h 179"/>
                <a:gd name="T74" fmla="*/ 8 w 418"/>
                <a:gd name="T75" fmla="*/ 156 h 179"/>
                <a:gd name="T76" fmla="*/ 4 w 418"/>
                <a:gd name="T77" fmla="*/ 158 h 179"/>
                <a:gd name="T78" fmla="*/ 2 w 418"/>
                <a:gd name="T79" fmla="*/ 162 h 179"/>
                <a:gd name="T80" fmla="*/ 0 w 418"/>
                <a:gd name="T81" fmla="*/ 167 h 179"/>
                <a:gd name="T82" fmla="*/ 2 w 418"/>
                <a:gd name="T83" fmla="*/ 171 h 179"/>
                <a:gd name="T84" fmla="*/ 4 w 418"/>
                <a:gd name="T85" fmla="*/ 175 h 179"/>
                <a:gd name="T86" fmla="*/ 8 w 418"/>
                <a:gd name="T87" fmla="*/ 178 h 179"/>
                <a:gd name="T88" fmla="*/ 12 w 418"/>
                <a:gd name="T8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8" h="179">
                  <a:moveTo>
                    <a:pt x="12" y="179"/>
                  </a:moveTo>
                  <a:lnTo>
                    <a:pt x="69" y="179"/>
                  </a:lnTo>
                  <a:lnTo>
                    <a:pt x="69" y="179"/>
                  </a:lnTo>
                  <a:lnTo>
                    <a:pt x="69" y="179"/>
                  </a:lnTo>
                  <a:lnTo>
                    <a:pt x="69" y="179"/>
                  </a:lnTo>
                  <a:lnTo>
                    <a:pt x="69" y="179"/>
                  </a:lnTo>
                  <a:lnTo>
                    <a:pt x="406" y="179"/>
                  </a:lnTo>
                  <a:lnTo>
                    <a:pt x="411" y="178"/>
                  </a:lnTo>
                  <a:lnTo>
                    <a:pt x="415" y="175"/>
                  </a:lnTo>
                  <a:lnTo>
                    <a:pt x="418" y="171"/>
                  </a:lnTo>
                  <a:lnTo>
                    <a:pt x="418" y="167"/>
                  </a:lnTo>
                  <a:lnTo>
                    <a:pt x="418" y="162"/>
                  </a:lnTo>
                  <a:lnTo>
                    <a:pt x="415" y="158"/>
                  </a:lnTo>
                  <a:lnTo>
                    <a:pt x="411" y="156"/>
                  </a:lnTo>
                  <a:lnTo>
                    <a:pt x="406" y="155"/>
                  </a:lnTo>
                  <a:lnTo>
                    <a:pt x="357" y="155"/>
                  </a:lnTo>
                  <a:lnTo>
                    <a:pt x="296" y="8"/>
                  </a:lnTo>
                  <a:lnTo>
                    <a:pt x="293" y="3"/>
                  </a:lnTo>
                  <a:lnTo>
                    <a:pt x="289" y="0"/>
                  </a:lnTo>
                  <a:lnTo>
                    <a:pt x="284" y="0"/>
                  </a:lnTo>
                  <a:lnTo>
                    <a:pt x="279" y="2"/>
                  </a:lnTo>
                  <a:lnTo>
                    <a:pt x="242" y="24"/>
                  </a:lnTo>
                  <a:lnTo>
                    <a:pt x="235" y="27"/>
                  </a:lnTo>
                  <a:lnTo>
                    <a:pt x="226" y="30"/>
                  </a:lnTo>
                  <a:lnTo>
                    <a:pt x="219" y="31"/>
                  </a:lnTo>
                  <a:lnTo>
                    <a:pt x="210" y="33"/>
                  </a:lnTo>
                  <a:lnTo>
                    <a:pt x="201" y="31"/>
                  </a:lnTo>
                  <a:lnTo>
                    <a:pt x="192" y="30"/>
                  </a:lnTo>
                  <a:lnTo>
                    <a:pt x="184" y="27"/>
                  </a:lnTo>
                  <a:lnTo>
                    <a:pt x="176" y="24"/>
                  </a:lnTo>
                  <a:lnTo>
                    <a:pt x="139" y="2"/>
                  </a:lnTo>
                  <a:lnTo>
                    <a:pt x="135" y="0"/>
                  </a:lnTo>
                  <a:lnTo>
                    <a:pt x="130" y="0"/>
                  </a:lnTo>
                  <a:lnTo>
                    <a:pt x="125" y="3"/>
                  </a:lnTo>
                  <a:lnTo>
                    <a:pt x="122" y="8"/>
                  </a:lnTo>
                  <a:lnTo>
                    <a:pt x="61" y="155"/>
                  </a:lnTo>
                  <a:lnTo>
                    <a:pt x="12" y="155"/>
                  </a:lnTo>
                  <a:lnTo>
                    <a:pt x="8" y="156"/>
                  </a:lnTo>
                  <a:lnTo>
                    <a:pt x="4" y="158"/>
                  </a:lnTo>
                  <a:lnTo>
                    <a:pt x="2" y="162"/>
                  </a:lnTo>
                  <a:lnTo>
                    <a:pt x="0" y="167"/>
                  </a:lnTo>
                  <a:lnTo>
                    <a:pt x="2" y="171"/>
                  </a:lnTo>
                  <a:lnTo>
                    <a:pt x="4" y="175"/>
                  </a:lnTo>
                  <a:lnTo>
                    <a:pt x="8" y="178"/>
                  </a:lnTo>
                  <a:lnTo>
                    <a:pt x="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739">
              <a:extLst>
                <a:ext uri="{FF2B5EF4-FFF2-40B4-BE49-F238E27FC236}">
                  <a16:creationId xmlns:a16="http://schemas.microsoft.com/office/drawing/2014/main" id="{9671B333-C075-48D3-8FFF-587DD369359B}"/>
                </a:ext>
              </a:extLst>
            </p:cNvPr>
            <p:cNvSpPr>
              <a:spLocks/>
            </p:cNvSpPr>
            <p:nvPr/>
          </p:nvSpPr>
          <p:spPr bwMode="auto">
            <a:xfrm>
              <a:off x="7173913" y="7253288"/>
              <a:ext cx="44450" cy="44450"/>
            </a:xfrm>
            <a:custGeom>
              <a:avLst/>
              <a:gdLst>
                <a:gd name="T0" fmla="*/ 0 w 113"/>
                <a:gd name="T1" fmla="*/ 44 h 111"/>
                <a:gd name="T2" fmla="*/ 77 w 113"/>
                <a:gd name="T3" fmla="*/ 111 h 111"/>
                <a:gd name="T4" fmla="*/ 113 w 113"/>
                <a:gd name="T5" fmla="*/ 9 h 111"/>
                <a:gd name="T6" fmla="*/ 97 w 113"/>
                <a:gd name="T7" fmla="*/ 0 h 111"/>
                <a:gd name="T8" fmla="*/ 0 w 113"/>
                <a:gd name="T9" fmla="*/ 44 h 111"/>
              </a:gdLst>
              <a:ahLst/>
              <a:cxnLst>
                <a:cxn ang="0">
                  <a:pos x="T0" y="T1"/>
                </a:cxn>
                <a:cxn ang="0">
                  <a:pos x="T2" y="T3"/>
                </a:cxn>
                <a:cxn ang="0">
                  <a:pos x="T4" y="T5"/>
                </a:cxn>
                <a:cxn ang="0">
                  <a:pos x="T6" y="T7"/>
                </a:cxn>
                <a:cxn ang="0">
                  <a:pos x="T8" y="T9"/>
                </a:cxn>
              </a:cxnLst>
              <a:rect l="0" t="0" r="r" b="b"/>
              <a:pathLst>
                <a:path w="113" h="111">
                  <a:moveTo>
                    <a:pt x="0" y="44"/>
                  </a:moveTo>
                  <a:lnTo>
                    <a:pt x="77" y="111"/>
                  </a:lnTo>
                  <a:lnTo>
                    <a:pt x="113" y="9"/>
                  </a:lnTo>
                  <a:lnTo>
                    <a:pt x="97" y="0"/>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Trapezoid 79">
            <a:extLst>
              <a:ext uri="{FF2B5EF4-FFF2-40B4-BE49-F238E27FC236}">
                <a16:creationId xmlns:a16="http://schemas.microsoft.com/office/drawing/2014/main" id="{39B6E53D-99A7-4574-94AF-F08DE869F176}"/>
              </a:ext>
            </a:extLst>
          </p:cNvPr>
          <p:cNvSpPr/>
          <p:nvPr/>
        </p:nvSpPr>
        <p:spPr>
          <a:xfrm>
            <a:off x="9939196" y="4390501"/>
            <a:ext cx="1559718" cy="253509"/>
          </a:xfrm>
          <a:prstGeom prst="trapezoid">
            <a:avLst>
              <a:gd name="adj" fmla="val 58087"/>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Top Corners Rounded 80">
            <a:extLst>
              <a:ext uri="{FF2B5EF4-FFF2-40B4-BE49-F238E27FC236}">
                <a16:creationId xmlns:a16="http://schemas.microsoft.com/office/drawing/2014/main" id="{6B20082C-AAC9-4E56-993B-933026EB809E}"/>
              </a:ext>
            </a:extLst>
          </p:cNvPr>
          <p:cNvSpPr/>
          <p:nvPr/>
        </p:nvSpPr>
        <p:spPr>
          <a:xfrm flipV="1">
            <a:off x="10089148" y="4412050"/>
            <a:ext cx="1259815" cy="1232689"/>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99A0645A-FF88-419F-A116-ADA358DA06B1}"/>
              </a:ext>
            </a:extLst>
          </p:cNvPr>
          <p:cNvSpPr/>
          <p:nvPr/>
        </p:nvSpPr>
        <p:spPr>
          <a:xfrm>
            <a:off x="10260378" y="4578122"/>
            <a:ext cx="912723" cy="8930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a:extLst>
              <a:ext uri="{FF2B5EF4-FFF2-40B4-BE49-F238E27FC236}">
                <a16:creationId xmlns:a16="http://schemas.microsoft.com/office/drawing/2014/main" id="{26AEC73F-2DCA-4D8F-81D0-80248C5FBB42}"/>
              </a:ext>
            </a:extLst>
          </p:cNvPr>
          <p:cNvSpPr txBox="1"/>
          <p:nvPr/>
        </p:nvSpPr>
        <p:spPr>
          <a:xfrm>
            <a:off x="10026176" y="5716779"/>
            <a:ext cx="1381125" cy="492443"/>
          </a:xfrm>
          <a:prstGeom prst="rect">
            <a:avLst/>
          </a:prstGeom>
          <a:noFill/>
        </p:spPr>
        <p:txBody>
          <a:bodyPr wrap="square" lIns="0" tIns="0" rIns="0" bIns="0" rtlCol="0" anchor="t">
            <a:spAutoFit/>
          </a:bodyPr>
          <a:lstStyle/>
          <a:p>
            <a:pPr algn="ctr"/>
            <a:r>
              <a:rPr lang="en-US" sz="1600" b="1" dirty="0"/>
              <a:t>COMMERCIAL PARTNERS</a:t>
            </a:r>
          </a:p>
        </p:txBody>
      </p:sp>
      <p:grpSp>
        <p:nvGrpSpPr>
          <p:cNvPr id="106" name="Group 105">
            <a:extLst>
              <a:ext uri="{FF2B5EF4-FFF2-40B4-BE49-F238E27FC236}">
                <a16:creationId xmlns:a16="http://schemas.microsoft.com/office/drawing/2014/main" id="{F3172B11-8EC1-4314-8584-E1B91C93B4A9}"/>
              </a:ext>
            </a:extLst>
          </p:cNvPr>
          <p:cNvGrpSpPr/>
          <p:nvPr/>
        </p:nvGrpSpPr>
        <p:grpSpPr>
          <a:xfrm>
            <a:off x="10527492" y="4833735"/>
            <a:ext cx="378492" cy="370344"/>
            <a:chOff x="11606213" y="5354638"/>
            <a:chExt cx="280987" cy="280988"/>
          </a:xfrm>
          <a:solidFill>
            <a:schemeClr val="accent1">
              <a:lumMod val="90000"/>
            </a:schemeClr>
          </a:solidFill>
        </p:grpSpPr>
        <p:sp>
          <p:nvSpPr>
            <p:cNvPr id="107" name="Freeform 3448">
              <a:extLst>
                <a:ext uri="{FF2B5EF4-FFF2-40B4-BE49-F238E27FC236}">
                  <a16:creationId xmlns:a16="http://schemas.microsoft.com/office/drawing/2014/main" id="{7F24EBA4-7755-474F-AF93-5ACB7BDDA96B}"/>
                </a:ext>
              </a:extLst>
            </p:cNvPr>
            <p:cNvSpPr>
              <a:spLocks/>
            </p:cNvSpPr>
            <p:nvPr/>
          </p:nvSpPr>
          <p:spPr bwMode="auto">
            <a:xfrm>
              <a:off x="11606213" y="5392738"/>
              <a:ext cx="128587" cy="90488"/>
            </a:xfrm>
            <a:custGeom>
              <a:avLst/>
              <a:gdLst>
                <a:gd name="T0" fmla="*/ 325 w 325"/>
                <a:gd name="T1" fmla="*/ 206 h 230"/>
                <a:gd name="T2" fmla="*/ 324 w 325"/>
                <a:gd name="T3" fmla="*/ 197 h 230"/>
                <a:gd name="T4" fmla="*/ 321 w 325"/>
                <a:gd name="T5" fmla="*/ 189 h 230"/>
                <a:gd name="T6" fmla="*/ 319 w 325"/>
                <a:gd name="T7" fmla="*/ 181 h 230"/>
                <a:gd name="T8" fmla="*/ 315 w 325"/>
                <a:gd name="T9" fmla="*/ 173 h 230"/>
                <a:gd name="T10" fmla="*/ 310 w 325"/>
                <a:gd name="T11" fmla="*/ 167 h 230"/>
                <a:gd name="T12" fmla="*/ 303 w 325"/>
                <a:gd name="T13" fmla="*/ 162 h 230"/>
                <a:gd name="T14" fmla="*/ 297 w 325"/>
                <a:gd name="T15" fmla="*/ 158 h 230"/>
                <a:gd name="T16" fmla="*/ 289 w 325"/>
                <a:gd name="T17" fmla="*/ 154 h 230"/>
                <a:gd name="T18" fmla="*/ 216 w 325"/>
                <a:gd name="T19" fmla="*/ 136 h 230"/>
                <a:gd name="T20" fmla="*/ 216 w 325"/>
                <a:gd name="T21" fmla="*/ 112 h 230"/>
                <a:gd name="T22" fmla="*/ 226 w 325"/>
                <a:gd name="T23" fmla="*/ 104 h 230"/>
                <a:gd name="T24" fmla="*/ 236 w 325"/>
                <a:gd name="T25" fmla="*/ 95 h 230"/>
                <a:gd name="T26" fmla="*/ 244 w 325"/>
                <a:gd name="T27" fmla="*/ 85 h 230"/>
                <a:gd name="T28" fmla="*/ 252 w 325"/>
                <a:gd name="T29" fmla="*/ 73 h 230"/>
                <a:gd name="T30" fmla="*/ 258 w 325"/>
                <a:gd name="T31" fmla="*/ 60 h 230"/>
                <a:gd name="T32" fmla="*/ 262 w 325"/>
                <a:gd name="T33" fmla="*/ 48 h 230"/>
                <a:gd name="T34" fmla="*/ 265 w 325"/>
                <a:gd name="T35" fmla="*/ 33 h 230"/>
                <a:gd name="T36" fmla="*/ 266 w 325"/>
                <a:gd name="T37" fmla="*/ 19 h 230"/>
                <a:gd name="T38" fmla="*/ 254 w 325"/>
                <a:gd name="T39" fmla="*/ 22 h 230"/>
                <a:gd name="T40" fmla="*/ 243 w 325"/>
                <a:gd name="T41" fmla="*/ 22 h 230"/>
                <a:gd name="T42" fmla="*/ 234 w 325"/>
                <a:gd name="T43" fmla="*/ 22 h 230"/>
                <a:gd name="T44" fmla="*/ 225 w 325"/>
                <a:gd name="T45" fmla="*/ 21 h 230"/>
                <a:gd name="T46" fmla="*/ 209 w 325"/>
                <a:gd name="T47" fmla="*/ 18 h 230"/>
                <a:gd name="T48" fmla="*/ 197 w 325"/>
                <a:gd name="T49" fmla="*/ 13 h 230"/>
                <a:gd name="T50" fmla="*/ 186 w 325"/>
                <a:gd name="T51" fmla="*/ 8 h 230"/>
                <a:gd name="T52" fmla="*/ 177 w 325"/>
                <a:gd name="T53" fmla="*/ 0 h 230"/>
                <a:gd name="T54" fmla="*/ 171 w 325"/>
                <a:gd name="T55" fmla="*/ 4 h 230"/>
                <a:gd name="T56" fmla="*/ 163 w 325"/>
                <a:gd name="T57" fmla="*/ 6 h 230"/>
                <a:gd name="T58" fmla="*/ 157 w 325"/>
                <a:gd name="T59" fmla="*/ 10 h 230"/>
                <a:gd name="T60" fmla="*/ 149 w 325"/>
                <a:gd name="T61" fmla="*/ 12 h 230"/>
                <a:gd name="T62" fmla="*/ 134 w 325"/>
                <a:gd name="T63" fmla="*/ 14 h 230"/>
                <a:gd name="T64" fmla="*/ 117 w 325"/>
                <a:gd name="T65" fmla="*/ 15 h 230"/>
                <a:gd name="T66" fmla="*/ 102 w 325"/>
                <a:gd name="T67" fmla="*/ 15 h 230"/>
                <a:gd name="T68" fmla="*/ 87 w 325"/>
                <a:gd name="T69" fmla="*/ 13 h 230"/>
                <a:gd name="T70" fmla="*/ 73 w 325"/>
                <a:gd name="T71" fmla="*/ 9 h 230"/>
                <a:gd name="T72" fmla="*/ 62 w 325"/>
                <a:gd name="T73" fmla="*/ 4 h 230"/>
                <a:gd name="T74" fmla="*/ 60 w 325"/>
                <a:gd name="T75" fmla="*/ 10 h 230"/>
                <a:gd name="T76" fmla="*/ 60 w 325"/>
                <a:gd name="T77" fmla="*/ 17 h 230"/>
                <a:gd name="T78" fmla="*/ 62 w 325"/>
                <a:gd name="T79" fmla="*/ 31 h 230"/>
                <a:gd name="T80" fmla="*/ 64 w 325"/>
                <a:gd name="T81" fmla="*/ 45 h 230"/>
                <a:gd name="T82" fmla="*/ 68 w 325"/>
                <a:gd name="T83" fmla="*/ 58 h 230"/>
                <a:gd name="T84" fmla="*/ 73 w 325"/>
                <a:gd name="T85" fmla="*/ 71 h 230"/>
                <a:gd name="T86" fmla="*/ 81 w 325"/>
                <a:gd name="T87" fmla="*/ 82 h 230"/>
                <a:gd name="T88" fmla="*/ 89 w 325"/>
                <a:gd name="T89" fmla="*/ 93 h 230"/>
                <a:gd name="T90" fmla="*/ 98 w 325"/>
                <a:gd name="T91" fmla="*/ 102 h 230"/>
                <a:gd name="T92" fmla="*/ 108 w 325"/>
                <a:gd name="T93" fmla="*/ 109 h 230"/>
                <a:gd name="T94" fmla="*/ 108 w 325"/>
                <a:gd name="T95" fmla="*/ 136 h 230"/>
                <a:gd name="T96" fmla="*/ 37 w 325"/>
                <a:gd name="T97" fmla="*/ 155 h 230"/>
                <a:gd name="T98" fmla="*/ 30 w 325"/>
                <a:gd name="T99" fmla="*/ 158 h 230"/>
                <a:gd name="T100" fmla="*/ 23 w 325"/>
                <a:gd name="T101" fmla="*/ 162 h 230"/>
                <a:gd name="T102" fmla="*/ 17 w 325"/>
                <a:gd name="T103" fmla="*/ 167 h 230"/>
                <a:gd name="T104" fmla="*/ 10 w 325"/>
                <a:gd name="T105" fmla="*/ 173 h 230"/>
                <a:gd name="T106" fmla="*/ 7 w 325"/>
                <a:gd name="T107" fmla="*/ 181 h 230"/>
                <a:gd name="T108" fmla="*/ 3 w 325"/>
                <a:gd name="T109" fmla="*/ 189 h 230"/>
                <a:gd name="T110" fmla="*/ 0 w 325"/>
                <a:gd name="T111" fmla="*/ 197 h 230"/>
                <a:gd name="T112" fmla="*/ 0 w 325"/>
                <a:gd name="T113" fmla="*/ 206 h 230"/>
                <a:gd name="T114" fmla="*/ 0 w 325"/>
                <a:gd name="T115" fmla="*/ 230 h 230"/>
                <a:gd name="T116" fmla="*/ 325 w 325"/>
                <a:gd name="T117" fmla="*/ 230 h 230"/>
                <a:gd name="T118" fmla="*/ 325 w 325"/>
                <a:gd name="T119" fmla="*/ 20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325" y="206"/>
                  </a:moveTo>
                  <a:lnTo>
                    <a:pt x="324" y="197"/>
                  </a:lnTo>
                  <a:lnTo>
                    <a:pt x="321" y="189"/>
                  </a:lnTo>
                  <a:lnTo>
                    <a:pt x="319" y="181"/>
                  </a:lnTo>
                  <a:lnTo>
                    <a:pt x="315" y="173"/>
                  </a:lnTo>
                  <a:lnTo>
                    <a:pt x="310" y="167"/>
                  </a:lnTo>
                  <a:lnTo>
                    <a:pt x="303" y="162"/>
                  </a:lnTo>
                  <a:lnTo>
                    <a:pt x="297" y="158"/>
                  </a:lnTo>
                  <a:lnTo>
                    <a:pt x="289" y="154"/>
                  </a:lnTo>
                  <a:lnTo>
                    <a:pt x="216" y="136"/>
                  </a:lnTo>
                  <a:lnTo>
                    <a:pt x="216" y="112"/>
                  </a:lnTo>
                  <a:lnTo>
                    <a:pt x="226" y="104"/>
                  </a:lnTo>
                  <a:lnTo>
                    <a:pt x="236" y="95"/>
                  </a:lnTo>
                  <a:lnTo>
                    <a:pt x="244" y="85"/>
                  </a:lnTo>
                  <a:lnTo>
                    <a:pt x="252" y="73"/>
                  </a:lnTo>
                  <a:lnTo>
                    <a:pt x="258" y="60"/>
                  </a:lnTo>
                  <a:lnTo>
                    <a:pt x="262" y="48"/>
                  </a:lnTo>
                  <a:lnTo>
                    <a:pt x="265" y="33"/>
                  </a:lnTo>
                  <a:lnTo>
                    <a:pt x="266" y="19"/>
                  </a:lnTo>
                  <a:lnTo>
                    <a:pt x="254" y="22"/>
                  </a:lnTo>
                  <a:lnTo>
                    <a:pt x="243" y="22"/>
                  </a:lnTo>
                  <a:lnTo>
                    <a:pt x="234" y="22"/>
                  </a:lnTo>
                  <a:lnTo>
                    <a:pt x="225" y="21"/>
                  </a:lnTo>
                  <a:lnTo>
                    <a:pt x="209" y="18"/>
                  </a:lnTo>
                  <a:lnTo>
                    <a:pt x="197" y="13"/>
                  </a:lnTo>
                  <a:lnTo>
                    <a:pt x="186" y="8"/>
                  </a:lnTo>
                  <a:lnTo>
                    <a:pt x="177" y="0"/>
                  </a:lnTo>
                  <a:lnTo>
                    <a:pt x="171" y="4"/>
                  </a:lnTo>
                  <a:lnTo>
                    <a:pt x="163" y="6"/>
                  </a:lnTo>
                  <a:lnTo>
                    <a:pt x="157" y="10"/>
                  </a:lnTo>
                  <a:lnTo>
                    <a:pt x="149" y="12"/>
                  </a:lnTo>
                  <a:lnTo>
                    <a:pt x="134" y="14"/>
                  </a:lnTo>
                  <a:lnTo>
                    <a:pt x="117" y="15"/>
                  </a:lnTo>
                  <a:lnTo>
                    <a:pt x="102" y="15"/>
                  </a:lnTo>
                  <a:lnTo>
                    <a:pt x="87" y="13"/>
                  </a:lnTo>
                  <a:lnTo>
                    <a:pt x="73" y="9"/>
                  </a:lnTo>
                  <a:lnTo>
                    <a:pt x="62" y="4"/>
                  </a:lnTo>
                  <a:lnTo>
                    <a:pt x="60" y="10"/>
                  </a:lnTo>
                  <a:lnTo>
                    <a:pt x="60" y="17"/>
                  </a:lnTo>
                  <a:lnTo>
                    <a:pt x="62" y="31"/>
                  </a:lnTo>
                  <a:lnTo>
                    <a:pt x="64" y="45"/>
                  </a:lnTo>
                  <a:lnTo>
                    <a:pt x="68" y="58"/>
                  </a:lnTo>
                  <a:lnTo>
                    <a:pt x="73" y="71"/>
                  </a:lnTo>
                  <a:lnTo>
                    <a:pt x="81" y="82"/>
                  </a:lnTo>
                  <a:lnTo>
                    <a:pt x="89" y="93"/>
                  </a:lnTo>
                  <a:lnTo>
                    <a:pt x="98" y="102"/>
                  </a:lnTo>
                  <a:lnTo>
                    <a:pt x="108" y="109"/>
                  </a:lnTo>
                  <a:lnTo>
                    <a:pt x="108" y="136"/>
                  </a:lnTo>
                  <a:lnTo>
                    <a:pt x="37" y="155"/>
                  </a:lnTo>
                  <a:lnTo>
                    <a:pt x="30" y="158"/>
                  </a:lnTo>
                  <a:lnTo>
                    <a:pt x="23" y="162"/>
                  </a:lnTo>
                  <a:lnTo>
                    <a:pt x="17" y="167"/>
                  </a:lnTo>
                  <a:lnTo>
                    <a:pt x="10" y="173"/>
                  </a:lnTo>
                  <a:lnTo>
                    <a:pt x="7" y="181"/>
                  </a:lnTo>
                  <a:lnTo>
                    <a:pt x="3" y="189"/>
                  </a:lnTo>
                  <a:lnTo>
                    <a:pt x="0" y="197"/>
                  </a:lnTo>
                  <a:lnTo>
                    <a:pt x="0" y="206"/>
                  </a:lnTo>
                  <a:lnTo>
                    <a:pt x="0" y="230"/>
                  </a:lnTo>
                  <a:lnTo>
                    <a:pt x="325" y="230"/>
                  </a:lnTo>
                  <a:lnTo>
                    <a:pt x="325"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449">
              <a:extLst>
                <a:ext uri="{FF2B5EF4-FFF2-40B4-BE49-F238E27FC236}">
                  <a16:creationId xmlns:a16="http://schemas.microsoft.com/office/drawing/2014/main" id="{61C45C6E-0BDC-4BA5-92C4-D8E5E31E40BA}"/>
                </a:ext>
              </a:extLst>
            </p:cNvPr>
            <p:cNvSpPr>
              <a:spLocks/>
            </p:cNvSpPr>
            <p:nvPr/>
          </p:nvSpPr>
          <p:spPr bwMode="auto">
            <a:xfrm>
              <a:off x="11631613" y="5354638"/>
              <a:ext cx="79375" cy="36513"/>
            </a:xfrm>
            <a:custGeom>
              <a:avLst/>
              <a:gdLst>
                <a:gd name="T0" fmla="*/ 104 w 199"/>
                <a:gd name="T1" fmla="*/ 69 h 92"/>
                <a:gd name="T2" fmla="*/ 109 w 199"/>
                <a:gd name="T3" fmla="*/ 67 h 92"/>
                <a:gd name="T4" fmla="*/ 114 w 199"/>
                <a:gd name="T5" fmla="*/ 66 h 92"/>
                <a:gd name="T6" fmla="*/ 116 w 199"/>
                <a:gd name="T7" fmla="*/ 67 h 92"/>
                <a:gd name="T8" fmla="*/ 119 w 199"/>
                <a:gd name="T9" fmla="*/ 68 h 92"/>
                <a:gd name="T10" fmla="*/ 122 w 199"/>
                <a:gd name="T11" fmla="*/ 69 h 92"/>
                <a:gd name="T12" fmla="*/ 123 w 199"/>
                <a:gd name="T13" fmla="*/ 72 h 92"/>
                <a:gd name="T14" fmla="*/ 125 w 199"/>
                <a:gd name="T15" fmla="*/ 76 h 92"/>
                <a:gd name="T16" fmla="*/ 129 w 199"/>
                <a:gd name="T17" fmla="*/ 78 h 92"/>
                <a:gd name="T18" fmla="*/ 133 w 199"/>
                <a:gd name="T19" fmla="*/ 82 h 92"/>
                <a:gd name="T20" fmla="*/ 137 w 199"/>
                <a:gd name="T21" fmla="*/ 85 h 92"/>
                <a:gd name="T22" fmla="*/ 149 w 199"/>
                <a:gd name="T23" fmla="*/ 89 h 92"/>
                <a:gd name="T24" fmla="*/ 161 w 199"/>
                <a:gd name="T25" fmla="*/ 92 h 92"/>
                <a:gd name="T26" fmla="*/ 173 w 199"/>
                <a:gd name="T27" fmla="*/ 92 h 92"/>
                <a:gd name="T28" fmla="*/ 183 w 199"/>
                <a:gd name="T29" fmla="*/ 92 h 92"/>
                <a:gd name="T30" fmla="*/ 192 w 199"/>
                <a:gd name="T31" fmla="*/ 91 h 92"/>
                <a:gd name="T32" fmla="*/ 199 w 199"/>
                <a:gd name="T33" fmla="*/ 90 h 92"/>
                <a:gd name="T34" fmla="*/ 196 w 199"/>
                <a:gd name="T35" fmla="*/ 80 h 92"/>
                <a:gd name="T36" fmla="*/ 194 w 199"/>
                <a:gd name="T37" fmla="*/ 71 h 92"/>
                <a:gd name="T38" fmla="*/ 190 w 199"/>
                <a:gd name="T39" fmla="*/ 63 h 92"/>
                <a:gd name="T40" fmla="*/ 186 w 199"/>
                <a:gd name="T41" fmla="*/ 54 h 92"/>
                <a:gd name="T42" fmla="*/ 181 w 199"/>
                <a:gd name="T43" fmla="*/ 46 h 92"/>
                <a:gd name="T44" fmla="*/ 176 w 199"/>
                <a:gd name="T45" fmla="*/ 39 h 92"/>
                <a:gd name="T46" fmla="*/ 169 w 199"/>
                <a:gd name="T47" fmla="*/ 32 h 92"/>
                <a:gd name="T48" fmla="*/ 163 w 199"/>
                <a:gd name="T49" fmla="*/ 26 h 92"/>
                <a:gd name="T50" fmla="*/ 156 w 199"/>
                <a:gd name="T51" fmla="*/ 21 h 92"/>
                <a:gd name="T52" fmla="*/ 149 w 199"/>
                <a:gd name="T53" fmla="*/ 15 h 92"/>
                <a:gd name="T54" fmla="*/ 141 w 199"/>
                <a:gd name="T55" fmla="*/ 10 h 92"/>
                <a:gd name="T56" fmla="*/ 133 w 199"/>
                <a:gd name="T57" fmla="*/ 6 h 92"/>
                <a:gd name="T58" fmla="*/ 124 w 199"/>
                <a:gd name="T59" fmla="*/ 4 h 92"/>
                <a:gd name="T60" fmla="*/ 115 w 199"/>
                <a:gd name="T61" fmla="*/ 1 h 92"/>
                <a:gd name="T62" fmla="*/ 106 w 199"/>
                <a:gd name="T63" fmla="*/ 0 h 92"/>
                <a:gd name="T64" fmla="*/ 97 w 199"/>
                <a:gd name="T65" fmla="*/ 0 h 92"/>
                <a:gd name="T66" fmla="*/ 89 w 199"/>
                <a:gd name="T67" fmla="*/ 0 h 92"/>
                <a:gd name="T68" fmla="*/ 81 w 199"/>
                <a:gd name="T69" fmla="*/ 1 h 92"/>
                <a:gd name="T70" fmla="*/ 73 w 199"/>
                <a:gd name="T71" fmla="*/ 4 h 92"/>
                <a:gd name="T72" fmla="*/ 65 w 199"/>
                <a:gd name="T73" fmla="*/ 5 h 92"/>
                <a:gd name="T74" fmla="*/ 57 w 199"/>
                <a:gd name="T75" fmla="*/ 9 h 92"/>
                <a:gd name="T76" fmla="*/ 51 w 199"/>
                <a:gd name="T77" fmla="*/ 13 h 92"/>
                <a:gd name="T78" fmla="*/ 43 w 199"/>
                <a:gd name="T79" fmla="*/ 17 h 92"/>
                <a:gd name="T80" fmla="*/ 37 w 199"/>
                <a:gd name="T81" fmla="*/ 22 h 92"/>
                <a:gd name="T82" fmla="*/ 25 w 199"/>
                <a:gd name="T83" fmla="*/ 32 h 92"/>
                <a:gd name="T84" fmla="*/ 15 w 199"/>
                <a:gd name="T85" fmla="*/ 45 h 92"/>
                <a:gd name="T86" fmla="*/ 6 w 199"/>
                <a:gd name="T87" fmla="*/ 60 h 92"/>
                <a:gd name="T88" fmla="*/ 0 w 199"/>
                <a:gd name="T89" fmla="*/ 76 h 92"/>
                <a:gd name="T90" fmla="*/ 1 w 199"/>
                <a:gd name="T91" fmla="*/ 75 h 92"/>
                <a:gd name="T92" fmla="*/ 10 w 199"/>
                <a:gd name="T93" fmla="*/ 80 h 92"/>
                <a:gd name="T94" fmla="*/ 21 w 199"/>
                <a:gd name="T95" fmla="*/ 84 h 92"/>
                <a:gd name="T96" fmla="*/ 36 w 199"/>
                <a:gd name="T97" fmla="*/ 86 h 92"/>
                <a:gd name="T98" fmla="*/ 50 w 199"/>
                <a:gd name="T99" fmla="*/ 87 h 92"/>
                <a:gd name="T100" fmla="*/ 65 w 199"/>
                <a:gd name="T101" fmla="*/ 86 h 92"/>
                <a:gd name="T102" fmla="*/ 79 w 199"/>
                <a:gd name="T103" fmla="*/ 84 h 92"/>
                <a:gd name="T104" fmla="*/ 87 w 199"/>
                <a:gd name="T105" fmla="*/ 81 h 92"/>
                <a:gd name="T106" fmla="*/ 93 w 199"/>
                <a:gd name="T107" fmla="*/ 77 h 92"/>
                <a:gd name="T108" fmla="*/ 98 w 199"/>
                <a:gd name="T109" fmla="*/ 75 h 92"/>
                <a:gd name="T110" fmla="*/ 104 w 199"/>
                <a:gd name="T111" fmla="*/ 6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9" h="92">
                  <a:moveTo>
                    <a:pt x="104" y="69"/>
                  </a:moveTo>
                  <a:lnTo>
                    <a:pt x="109" y="67"/>
                  </a:lnTo>
                  <a:lnTo>
                    <a:pt x="114" y="66"/>
                  </a:lnTo>
                  <a:lnTo>
                    <a:pt x="116" y="67"/>
                  </a:lnTo>
                  <a:lnTo>
                    <a:pt x="119" y="68"/>
                  </a:lnTo>
                  <a:lnTo>
                    <a:pt x="122" y="69"/>
                  </a:lnTo>
                  <a:lnTo>
                    <a:pt x="123" y="72"/>
                  </a:lnTo>
                  <a:lnTo>
                    <a:pt x="125" y="76"/>
                  </a:lnTo>
                  <a:lnTo>
                    <a:pt x="129" y="78"/>
                  </a:lnTo>
                  <a:lnTo>
                    <a:pt x="133" y="82"/>
                  </a:lnTo>
                  <a:lnTo>
                    <a:pt x="137" y="85"/>
                  </a:lnTo>
                  <a:lnTo>
                    <a:pt x="149" y="89"/>
                  </a:lnTo>
                  <a:lnTo>
                    <a:pt x="161" y="92"/>
                  </a:lnTo>
                  <a:lnTo>
                    <a:pt x="173" y="92"/>
                  </a:lnTo>
                  <a:lnTo>
                    <a:pt x="183" y="92"/>
                  </a:lnTo>
                  <a:lnTo>
                    <a:pt x="192" y="91"/>
                  </a:lnTo>
                  <a:lnTo>
                    <a:pt x="199" y="90"/>
                  </a:lnTo>
                  <a:lnTo>
                    <a:pt x="196" y="80"/>
                  </a:lnTo>
                  <a:lnTo>
                    <a:pt x="194" y="71"/>
                  </a:lnTo>
                  <a:lnTo>
                    <a:pt x="190" y="63"/>
                  </a:lnTo>
                  <a:lnTo>
                    <a:pt x="186" y="54"/>
                  </a:lnTo>
                  <a:lnTo>
                    <a:pt x="181" y="46"/>
                  </a:lnTo>
                  <a:lnTo>
                    <a:pt x="176" y="39"/>
                  </a:lnTo>
                  <a:lnTo>
                    <a:pt x="169" y="32"/>
                  </a:lnTo>
                  <a:lnTo>
                    <a:pt x="163" y="26"/>
                  </a:lnTo>
                  <a:lnTo>
                    <a:pt x="156" y="21"/>
                  </a:lnTo>
                  <a:lnTo>
                    <a:pt x="149" y="15"/>
                  </a:lnTo>
                  <a:lnTo>
                    <a:pt x="141" y="10"/>
                  </a:lnTo>
                  <a:lnTo>
                    <a:pt x="133" y="6"/>
                  </a:lnTo>
                  <a:lnTo>
                    <a:pt x="124" y="4"/>
                  </a:lnTo>
                  <a:lnTo>
                    <a:pt x="115" y="1"/>
                  </a:lnTo>
                  <a:lnTo>
                    <a:pt x="106" y="0"/>
                  </a:lnTo>
                  <a:lnTo>
                    <a:pt x="97" y="0"/>
                  </a:lnTo>
                  <a:lnTo>
                    <a:pt x="89" y="0"/>
                  </a:lnTo>
                  <a:lnTo>
                    <a:pt x="81" y="1"/>
                  </a:lnTo>
                  <a:lnTo>
                    <a:pt x="73" y="4"/>
                  </a:lnTo>
                  <a:lnTo>
                    <a:pt x="65" y="5"/>
                  </a:lnTo>
                  <a:lnTo>
                    <a:pt x="57" y="9"/>
                  </a:lnTo>
                  <a:lnTo>
                    <a:pt x="51" y="13"/>
                  </a:lnTo>
                  <a:lnTo>
                    <a:pt x="43" y="17"/>
                  </a:lnTo>
                  <a:lnTo>
                    <a:pt x="37" y="22"/>
                  </a:lnTo>
                  <a:lnTo>
                    <a:pt x="25" y="32"/>
                  </a:lnTo>
                  <a:lnTo>
                    <a:pt x="15" y="45"/>
                  </a:lnTo>
                  <a:lnTo>
                    <a:pt x="6" y="60"/>
                  </a:lnTo>
                  <a:lnTo>
                    <a:pt x="0" y="76"/>
                  </a:lnTo>
                  <a:lnTo>
                    <a:pt x="1" y="75"/>
                  </a:lnTo>
                  <a:lnTo>
                    <a:pt x="10" y="80"/>
                  </a:lnTo>
                  <a:lnTo>
                    <a:pt x="21" y="84"/>
                  </a:lnTo>
                  <a:lnTo>
                    <a:pt x="36" y="86"/>
                  </a:lnTo>
                  <a:lnTo>
                    <a:pt x="50" y="87"/>
                  </a:lnTo>
                  <a:lnTo>
                    <a:pt x="65" y="86"/>
                  </a:lnTo>
                  <a:lnTo>
                    <a:pt x="79" y="84"/>
                  </a:lnTo>
                  <a:lnTo>
                    <a:pt x="87" y="81"/>
                  </a:lnTo>
                  <a:lnTo>
                    <a:pt x="93" y="77"/>
                  </a:lnTo>
                  <a:lnTo>
                    <a:pt x="98" y="75"/>
                  </a:lnTo>
                  <a:lnTo>
                    <a:pt x="10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450">
              <a:extLst>
                <a:ext uri="{FF2B5EF4-FFF2-40B4-BE49-F238E27FC236}">
                  <a16:creationId xmlns:a16="http://schemas.microsoft.com/office/drawing/2014/main" id="{AC9FB6C0-01F1-4512-9E29-BF93CC62D4E5}"/>
                </a:ext>
              </a:extLst>
            </p:cNvPr>
            <p:cNvSpPr>
              <a:spLocks/>
            </p:cNvSpPr>
            <p:nvPr/>
          </p:nvSpPr>
          <p:spPr bwMode="auto">
            <a:xfrm>
              <a:off x="11758613" y="5392738"/>
              <a:ext cx="128587" cy="90488"/>
            </a:xfrm>
            <a:custGeom>
              <a:avLst/>
              <a:gdLst>
                <a:gd name="T0" fmla="*/ 289 w 325"/>
                <a:gd name="T1" fmla="*/ 154 h 230"/>
                <a:gd name="T2" fmla="*/ 217 w 325"/>
                <a:gd name="T3" fmla="*/ 136 h 230"/>
                <a:gd name="T4" fmla="*/ 217 w 325"/>
                <a:gd name="T5" fmla="*/ 112 h 230"/>
                <a:gd name="T6" fmla="*/ 227 w 325"/>
                <a:gd name="T7" fmla="*/ 104 h 230"/>
                <a:gd name="T8" fmla="*/ 236 w 325"/>
                <a:gd name="T9" fmla="*/ 95 h 230"/>
                <a:gd name="T10" fmla="*/ 245 w 325"/>
                <a:gd name="T11" fmla="*/ 85 h 230"/>
                <a:gd name="T12" fmla="*/ 252 w 325"/>
                <a:gd name="T13" fmla="*/ 73 h 230"/>
                <a:gd name="T14" fmla="*/ 258 w 325"/>
                <a:gd name="T15" fmla="*/ 60 h 230"/>
                <a:gd name="T16" fmla="*/ 263 w 325"/>
                <a:gd name="T17" fmla="*/ 48 h 230"/>
                <a:gd name="T18" fmla="*/ 266 w 325"/>
                <a:gd name="T19" fmla="*/ 33 h 230"/>
                <a:gd name="T20" fmla="*/ 267 w 325"/>
                <a:gd name="T21" fmla="*/ 19 h 230"/>
                <a:gd name="T22" fmla="*/ 256 w 325"/>
                <a:gd name="T23" fmla="*/ 22 h 230"/>
                <a:gd name="T24" fmla="*/ 243 w 325"/>
                <a:gd name="T25" fmla="*/ 22 h 230"/>
                <a:gd name="T26" fmla="*/ 234 w 325"/>
                <a:gd name="T27" fmla="*/ 22 h 230"/>
                <a:gd name="T28" fmla="*/ 225 w 325"/>
                <a:gd name="T29" fmla="*/ 21 h 230"/>
                <a:gd name="T30" fmla="*/ 211 w 325"/>
                <a:gd name="T31" fmla="*/ 18 h 230"/>
                <a:gd name="T32" fmla="*/ 198 w 325"/>
                <a:gd name="T33" fmla="*/ 13 h 230"/>
                <a:gd name="T34" fmla="*/ 186 w 325"/>
                <a:gd name="T35" fmla="*/ 8 h 230"/>
                <a:gd name="T36" fmla="*/ 177 w 325"/>
                <a:gd name="T37" fmla="*/ 0 h 230"/>
                <a:gd name="T38" fmla="*/ 171 w 325"/>
                <a:gd name="T39" fmla="*/ 4 h 230"/>
                <a:gd name="T40" fmla="*/ 164 w 325"/>
                <a:gd name="T41" fmla="*/ 6 h 230"/>
                <a:gd name="T42" fmla="*/ 157 w 325"/>
                <a:gd name="T43" fmla="*/ 10 h 230"/>
                <a:gd name="T44" fmla="*/ 149 w 325"/>
                <a:gd name="T45" fmla="*/ 12 h 230"/>
                <a:gd name="T46" fmla="*/ 134 w 325"/>
                <a:gd name="T47" fmla="*/ 14 h 230"/>
                <a:gd name="T48" fmla="*/ 118 w 325"/>
                <a:gd name="T49" fmla="*/ 15 h 230"/>
                <a:gd name="T50" fmla="*/ 103 w 325"/>
                <a:gd name="T51" fmla="*/ 15 h 230"/>
                <a:gd name="T52" fmla="*/ 87 w 325"/>
                <a:gd name="T53" fmla="*/ 13 h 230"/>
                <a:gd name="T54" fmla="*/ 73 w 325"/>
                <a:gd name="T55" fmla="*/ 9 h 230"/>
                <a:gd name="T56" fmla="*/ 62 w 325"/>
                <a:gd name="T57" fmla="*/ 4 h 230"/>
                <a:gd name="T58" fmla="*/ 62 w 325"/>
                <a:gd name="T59" fmla="*/ 10 h 230"/>
                <a:gd name="T60" fmla="*/ 60 w 325"/>
                <a:gd name="T61" fmla="*/ 17 h 230"/>
                <a:gd name="T62" fmla="*/ 62 w 325"/>
                <a:gd name="T63" fmla="*/ 31 h 230"/>
                <a:gd name="T64" fmla="*/ 64 w 325"/>
                <a:gd name="T65" fmla="*/ 45 h 230"/>
                <a:gd name="T66" fmla="*/ 68 w 325"/>
                <a:gd name="T67" fmla="*/ 58 h 230"/>
                <a:gd name="T68" fmla="*/ 75 w 325"/>
                <a:gd name="T69" fmla="*/ 71 h 230"/>
                <a:gd name="T70" fmla="*/ 81 w 325"/>
                <a:gd name="T71" fmla="*/ 82 h 230"/>
                <a:gd name="T72" fmla="*/ 89 w 325"/>
                <a:gd name="T73" fmla="*/ 93 h 230"/>
                <a:gd name="T74" fmla="*/ 99 w 325"/>
                <a:gd name="T75" fmla="*/ 102 h 230"/>
                <a:gd name="T76" fmla="*/ 109 w 325"/>
                <a:gd name="T77" fmla="*/ 109 h 230"/>
                <a:gd name="T78" fmla="*/ 109 w 325"/>
                <a:gd name="T79" fmla="*/ 136 h 230"/>
                <a:gd name="T80" fmla="*/ 39 w 325"/>
                <a:gd name="T81" fmla="*/ 155 h 230"/>
                <a:gd name="T82" fmla="*/ 31 w 325"/>
                <a:gd name="T83" fmla="*/ 158 h 230"/>
                <a:gd name="T84" fmla="*/ 23 w 325"/>
                <a:gd name="T85" fmla="*/ 162 h 230"/>
                <a:gd name="T86" fmla="*/ 17 w 325"/>
                <a:gd name="T87" fmla="*/ 167 h 230"/>
                <a:gd name="T88" fmla="*/ 12 w 325"/>
                <a:gd name="T89" fmla="*/ 173 h 230"/>
                <a:gd name="T90" fmla="*/ 7 w 325"/>
                <a:gd name="T91" fmla="*/ 181 h 230"/>
                <a:gd name="T92" fmla="*/ 4 w 325"/>
                <a:gd name="T93" fmla="*/ 189 h 230"/>
                <a:gd name="T94" fmla="*/ 1 w 325"/>
                <a:gd name="T95" fmla="*/ 197 h 230"/>
                <a:gd name="T96" fmla="*/ 0 w 325"/>
                <a:gd name="T97" fmla="*/ 206 h 230"/>
                <a:gd name="T98" fmla="*/ 0 w 325"/>
                <a:gd name="T99" fmla="*/ 230 h 230"/>
                <a:gd name="T100" fmla="*/ 325 w 325"/>
                <a:gd name="T101" fmla="*/ 230 h 230"/>
                <a:gd name="T102" fmla="*/ 325 w 325"/>
                <a:gd name="T103" fmla="*/ 206 h 230"/>
                <a:gd name="T104" fmla="*/ 324 w 325"/>
                <a:gd name="T105" fmla="*/ 197 h 230"/>
                <a:gd name="T106" fmla="*/ 322 w 325"/>
                <a:gd name="T107" fmla="*/ 189 h 230"/>
                <a:gd name="T108" fmla="*/ 319 w 325"/>
                <a:gd name="T109" fmla="*/ 181 h 230"/>
                <a:gd name="T110" fmla="*/ 315 w 325"/>
                <a:gd name="T111" fmla="*/ 173 h 230"/>
                <a:gd name="T112" fmla="*/ 310 w 325"/>
                <a:gd name="T113" fmla="*/ 167 h 230"/>
                <a:gd name="T114" fmla="*/ 303 w 325"/>
                <a:gd name="T115" fmla="*/ 162 h 230"/>
                <a:gd name="T116" fmla="*/ 297 w 325"/>
                <a:gd name="T117" fmla="*/ 158 h 230"/>
                <a:gd name="T118" fmla="*/ 289 w 325"/>
                <a:gd name="T119" fmla="*/ 15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289" y="154"/>
                  </a:moveTo>
                  <a:lnTo>
                    <a:pt x="217" y="136"/>
                  </a:lnTo>
                  <a:lnTo>
                    <a:pt x="217" y="112"/>
                  </a:lnTo>
                  <a:lnTo>
                    <a:pt x="227" y="104"/>
                  </a:lnTo>
                  <a:lnTo>
                    <a:pt x="236" y="95"/>
                  </a:lnTo>
                  <a:lnTo>
                    <a:pt x="245" y="85"/>
                  </a:lnTo>
                  <a:lnTo>
                    <a:pt x="252" y="73"/>
                  </a:lnTo>
                  <a:lnTo>
                    <a:pt x="258" y="60"/>
                  </a:lnTo>
                  <a:lnTo>
                    <a:pt x="263" y="48"/>
                  </a:lnTo>
                  <a:lnTo>
                    <a:pt x="266" y="33"/>
                  </a:lnTo>
                  <a:lnTo>
                    <a:pt x="267" y="19"/>
                  </a:lnTo>
                  <a:lnTo>
                    <a:pt x="256" y="22"/>
                  </a:lnTo>
                  <a:lnTo>
                    <a:pt x="243" y="22"/>
                  </a:lnTo>
                  <a:lnTo>
                    <a:pt x="234" y="22"/>
                  </a:lnTo>
                  <a:lnTo>
                    <a:pt x="225" y="21"/>
                  </a:lnTo>
                  <a:lnTo>
                    <a:pt x="211" y="18"/>
                  </a:lnTo>
                  <a:lnTo>
                    <a:pt x="198" y="13"/>
                  </a:lnTo>
                  <a:lnTo>
                    <a:pt x="186" y="8"/>
                  </a:lnTo>
                  <a:lnTo>
                    <a:pt x="177" y="0"/>
                  </a:lnTo>
                  <a:lnTo>
                    <a:pt x="171" y="4"/>
                  </a:lnTo>
                  <a:lnTo>
                    <a:pt x="164" y="6"/>
                  </a:lnTo>
                  <a:lnTo>
                    <a:pt x="157" y="10"/>
                  </a:lnTo>
                  <a:lnTo>
                    <a:pt x="149" y="12"/>
                  </a:lnTo>
                  <a:lnTo>
                    <a:pt x="134" y="14"/>
                  </a:lnTo>
                  <a:lnTo>
                    <a:pt x="118" y="15"/>
                  </a:lnTo>
                  <a:lnTo>
                    <a:pt x="103" y="15"/>
                  </a:lnTo>
                  <a:lnTo>
                    <a:pt x="87" y="13"/>
                  </a:lnTo>
                  <a:lnTo>
                    <a:pt x="73" y="9"/>
                  </a:lnTo>
                  <a:lnTo>
                    <a:pt x="62" y="4"/>
                  </a:lnTo>
                  <a:lnTo>
                    <a:pt x="62" y="10"/>
                  </a:lnTo>
                  <a:lnTo>
                    <a:pt x="60" y="17"/>
                  </a:lnTo>
                  <a:lnTo>
                    <a:pt x="62" y="31"/>
                  </a:lnTo>
                  <a:lnTo>
                    <a:pt x="64" y="45"/>
                  </a:lnTo>
                  <a:lnTo>
                    <a:pt x="68" y="58"/>
                  </a:lnTo>
                  <a:lnTo>
                    <a:pt x="75" y="71"/>
                  </a:lnTo>
                  <a:lnTo>
                    <a:pt x="81" y="82"/>
                  </a:lnTo>
                  <a:lnTo>
                    <a:pt x="89" y="93"/>
                  </a:lnTo>
                  <a:lnTo>
                    <a:pt x="99" y="102"/>
                  </a:lnTo>
                  <a:lnTo>
                    <a:pt x="109" y="109"/>
                  </a:lnTo>
                  <a:lnTo>
                    <a:pt x="109" y="136"/>
                  </a:lnTo>
                  <a:lnTo>
                    <a:pt x="39" y="155"/>
                  </a:lnTo>
                  <a:lnTo>
                    <a:pt x="31" y="158"/>
                  </a:lnTo>
                  <a:lnTo>
                    <a:pt x="23" y="162"/>
                  </a:lnTo>
                  <a:lnTo>
                    <a:pt x="17" y="167"/>
                  </a:lnTo>
                  <a:lnTo>
                    <a:pt x="12" y="173"/>
                  </a:lnTo>
                  <a:lnTo>
                    <a:pt x="7" y="181"/>
                  </a:lnTo>
                  <a:lnTo>
                    <a:pt x="4" y="189"/>
                  </a:lnTo>
                  <a:lnTo>
                    <a:pt x="1" y="197"/>
                  </a:lnTo>
                  <a:lnTo>
                    <a:pt x="0" y="206"/>
                  </a:lnTo>
                  <a:lnTo>
                    <a:pt x="0" y="230"/>
                  </a:lnTo>
                  <a:lnTo>
                    <a:pt x="325" y="230"/>
                  </a:lnTo>
                  <a:lnTo>
                    <a:pt x="325" y="206"/>
                  </a:lnTo>
                  <a:lnTo>
                    <a:pt x="324" y="197"/>
                  </a:lnTo>
                  <a:lnTo>
                    <a:pt x="322" y="189"/>
                  </a:lnTo>
                  <a:lnTo>
                    <a:pt x="319" y="181"/>
                  </a:lnTo>
                  <a:lnTo>
                    <a:pt x="315" y="173"/>
                  </a:lnTo>
                  <a:lnTo>
                    <a:pt x="310" y="167"/>
                  </a:lnTo>
                  <a:lnTo>
                    <a:pt x="303" y="162"/>
                  </a:lnTo>
                  <a:lnTo>
                    <a:pt x="297" y="158"/>
                  </a:lnTo>
                  <a:lnTo>
                    <a:pt x="289"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451">
              <a:extLst>
                <a:ext uri="{FF2B5EF4-FFF2-40B4-BE49-F238E27FC236}">
                  <a16:creationId xmlns:a16="http://schemas.microsoft.com/office/drawing/2014/main" id="{3D437C9C-2A4B-4C0E-9424-5C093B47350F}"/>
                </a:ext>
              </a:extLst>
            </p:cNvPr>
            <p:cNvSpPr>
              <a:spLocks/>
            </p:cNvSpPr>
            <p:nvPr/>
          </p:nvSpPr>
          <p:spPr bwMode="auto">
            <a:xfrm>
              <a:off x="11784013" y="5354638"/>
              <a:ext cx="79375" cy="36513"/>
            </a:xfrm>
            <a:custGeom>
              <a:avLst/>
              <a:gdLst>
                <a:gd name="T0" fmla="*/ 104 w 198"/>
                <a:gd name="T1" fmla="*/ 69 h 92"/>
                <a:gd name="T2" fmla="*/ 109 w 198"/>
                <a:gd name="T3" fmla="*/ 67 h 92"/>
                <a:gd name="T4" fmla="*/ 114 w 198"/>
                <a:gd name="T5" fmla="*/ 66 h 92"/>
                <a:gd name="T6" fmla="*/ 117 w 198"/>
                <a:gd name="T7" fmla="*/ 67 h 92"/>
                <a:gd name="T8" fmla="*/ 119 w 198"/>
                <a:gd name="T9" fmla="*/ 68 h 92"/>
                <a:gd name="T10" fmla="*/ 121 w 198"/>
                <a:gd name="T11" fmla="*/ 69 h 92"/>
                <a:gd name="T12" fmla="*/ 123 w 198"/>
                <a:gd name="T13" fmla="*/ 72 h 92"/>
                <a:gd name="T14" fmla="*/ 126 w 198"/>
                <a:gd name="T15" fmla="*/ 76 h 92"/>
                <a:gd name="T16" fmla="*/ 128 w 198"/>
                <a:gd name="T17" fmla="*/ 78 h 92"/>
                <a:gd name="T18" fmla="*/ 132 w 198"/>
                <a:gd name="T19" fmla="*/ 82 h 92"/>
                <a:gd name="T20" fmla="*/ 137 w 198"/>
                <a:gd name="T21" fmla="*/ 85 h 92"/>
                <a:gd name="T22" fmla="*/ 148 w 198"/>
                <a:gd name="T23" fmla="*/ 89 h 92"/>
                <a:gd name="T24" fmla="*/ 162 w 198"/>
                <a:gd name="T25" fmla="*/ 92 h 92"/>
                <a:gd name="T26" fmla="*/ 173 w 198"/>
                <a:gd name="T27" fmla="*/ 92 h 92"/>
                <a:gd name="T28" fmla="*/ 184 w 198"/>
                <a:gd name="T29" fmla="*/ 92 h 92"/>
                <a:gd name="T30" fmla="*/ 191 w 198"/>
                <a:gd name="T31" fmla="*/ 91 h 92"/>
                <a:gd name="T32" fmla="*/ 198 w 198"/>
                <a:gd name="T33" fmla="*/ 90 h 92"/>
                <a:gd name="T34" fmla="*/ 196 w 198"/>
                <a:gd name="T35" fmla="*/ 80 h 92"/>
                <a:gd name="T36" fmla="*/ 193 w 198"/>
                <a:gd name="T37" fmla="*/ 71 h 92"/>
                <a:gd name="T38" fmla="*/ 190 w 198"/>
                <a:gd name="T39" fmla="*/ 63 h 92"/>
                <a:gd name="T40" fmla="*/ 185 w 198"/>
                <a:gd name="T41" fmla="*/ 54 h 92"/>
                <a:gd name="T42" fmla="*/ 181 w 198"/>
                <a:gd name="T43" fmla="*/ 46 h 92"/>
                <a:gd name="T44" fmla="*/ 175 w 198"/>
                <a:gd name="T45" fmla="*/ 39 h 92"/>
                <a:gd name="T46" fmla="*/ 169 w 198"/>
                <a:gd name="T47" fmla="*/ 32 h 92"/>
                <a:gd name="T48" fmla="*/ 163 w 198"/>
                <a:gd name="T49" fmla="*/ 26 h 92"/>
                <a:gd name="T50" fmla="*/ 155 w 198"/>
                <a:gd name="T51" fmla="*/ 21 h 92"/>
                <a:gd name="T52" fmla="*/ 149 w 198"/>
                <a:gd name="T53" fmla="*/ 15 h 92"/>
                <a:gd name="T54" fmla="*/ 141 w 198"/>
                <a:gd name="T55" fmla="*/ 10 h 92"/>
                <a:gd name="T56" fmla="*/ 132 w 198"/>
                <a:gd name="T57" fmla="*/ 6 h 92"/>
                <a:gd name="T58" fmla="*/ 124 w 198"/>
                <a:gd name="T59" fmla="*/ 4 h 92"/>
                <a:gd name="T60" fmla="*/ 115 w 198"/>
                <a:gd name="T61" fmla="*/ 1 h 92"/>
                <a:gd name="T62" fmla="*/ 106 w 198"/>
                <a:gd name="T63" fmla="*/ 0 h 92"/>
                <a:gd name="T64" fmla="*/ 97 w 198"/>
                <a:gd name="T65" fmla="*/ 0 h 92"/>
                <a:gd name="T66" fmla="*/ 88 w 198"/>
                <a:gd name="T67" fmla="*/ 0 h 92"/>
                <a:gd name="T68" fmla="*/ 81 w 198"/>
                <a:gd name="T69" fmla="*/ 1 h 92"/>
                <a:gd name="T70" fmla="*/ 73 w 198"/>
                <a:gd name="T71" fmla="*/ 4 h 92"/>
                <a:gd name="T72" fmla="*/ 64 w 198"/>
                <a:gd name="T73" fmla="*/ 5 h 92"/>
                <a:gd name="T74" fmla="*/ 58 w 198"/>
                <a:gd name="T75" fmla="*/ 9 h 92"/>
                <a:gd name="T76" fmla="*/ 50 w 198"/>
                <a:gd name="T77" fmla="*/ 13 h 92"/>
                <a:gd name="T78" fmla="*/ 44 w 198"/>
                <a:gd name="T79" fmla="*/ 17 h 92"/>
                <a:gd name="T80" fmla="*/ 37 w 198"/>
                <a:gd name="T81" fmla="*/ 22 h 92"/>
                <a:gd name="T82" fmla="*/ 24 w 198"/>
                <a:gd name="T83" fmla="*/ 32 h 92"/>
                <a:gd name="T84" fmla="*/ 14 w 198"/>
                <a:gd name="T85" fmla="*/ 45 h 92"/>
                <a:gd name="T86" fmla="*/ 6 w 198"/>
                <a:gd name="T87" fmla="*/ 60 h 92"/>
                <a:gd name="T88" fmla="*/ 0 w 198"/>
                <a:gd name="T89" fmla="*/ 76 h 92"/>
                <a:gd name="T90" fmla="*/ 1 w 198"/>
                <a:gd name="T91" fmla="*/ 75 h 92"/>
                <a:gd name="T92" fmla="*/ 10 w 198"/>
                <a:gd name="T93" fmla="*/ 80 h 92"/>
                <a:gd name="T94" fmla="*/ 22 w 198"/>
                <a:gd name="T95" fmla="*/ 84 h 92"/>
                <a:gd name="T96" fmla="*/ 35 w 198"/>
                <a:gd name="T97" fmla="*/ 86 h 92"/>
                <a:gd name="T98" fmla="*/ 50 w 198"/>
                <a:gd name="T99" fmla="*/ 87 h 92"/>
                <a:gd name="T100" fmla="*/ 64 w 198"/>
                <a:gd name="T101" fmla="*/ 86 h 92"/>
                <a:gd name="T102" fmla="*/ 79 w 198"/>
                <a:gd name="T103" fmla="*/ 84 h 92"/>
                <a:gd name="T104" fmla="*/ 86 w 198"/>
                <a:gd name="T105" fmla="*/ 81 h 92"/>
                <a:gd name="T106" fmla="*/ 92 w 198"/>
                <a:gd name="T107" fmla="*/ 77 h 92"/>
                <a:gd name="T108" fmla="*/ 99 w 198"/>
                <a:gd name="T109" fmla="*/ 75 h 92"/>
                <a:gd name="T110" fmla="*/ 104 w 198"/>
                <a:gd name="T111" fmla="*/ 6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92">
                  <a:moveTo>
                    <a:pt x="104" y="69"/>
                  </a:moveTo>
                  <a:lnTo>
                    <a:pt x="109" y="67"/>
                  </a:lnTo>
                  <a:lnTo>
                    <a:pt x="114" y="66"/>
                  </a:lnTo>
                  <a:lnTo>
                    <a:pt x="117" y="67"/>
                  </a:lnTo>
                  <a:lnTo>
                    <a:pt x="119" y="68"/>
                  </a:lnTo>
                  <a:lnTo>
                    <a:pt x="121" y="69"/>
                  </a:lnTo>
                  <a:lnTo>
                    <a:pt x="123" y="72"/>
                  </a:lnTo>
                  <a:lnTo>
                    <a:pt x="126" y="76"/>
                  </a:lnTo>
                  <a:lnTo>
                    <a:pt x="128" y="78"/>
                  </a:lnTo>
                  <a:lnTo>
                    <a:pt x="132" y="82"/>
                  </a:lnTo>
                  <a:lnTo>
                    <a:pt x="137" y="85"/>
                  </a:lnTo>
                  <a:lnTo>
                    <a:pt x="148" y="89"/>
                  </a:lnTo>
                  <a:lnTo>
                    <a:pt x="162" y="92"/>
                  </a:lnTo>
                  <a:lnTo>
                    <a:pt x="173" y="92"/>
                  </a:lnTo>
                  <a:lnTo>
                    <a:pt x="184" y="92"/>
                  </a:lnTo>
                  <a:lnTo>
                    <a:pt x="191" y="91"/>
                  </a:lnTo>
                  <a:lnTo>
                    <a:pt x="198" y="90"/>
                  </a:lnTo>
                  <a:lnTo>
                    <a:pt x="196" y="80"/>
                  </a:lnTo>
                  <a:lnTo>
                    <a:pt x="193" y="71"/>
                  </a:lnTo>
                  <a:lnTo>
                    <a:pt x="190" y="63"/>
                  </a:lnTo>
                  <a:lnTo>
                    <a:pt x="185" y="54"/>
                  </a:lnTo>
                  <a:lnTo>
                    <a:pt x="181" y="46"/>
                  </a:lnTo>
                  <a:lnTo>
                    <a:pt x="175" y="39"/>
                  </a:lnTo>
                  <a:lnTo>
                    <a:pt x="169" y="32"/>
                  </a:lnTo>
                  <a:lnTo>
                    <a:pt x="163" y="26"/>
                  </a:lnTo>
                  <a:lnTo>
                    <a:pt x="155" y="21"/>
                  </a:lnTo>
                  <a:lnTo>
                    <a:pt x="149" y="15"/>
                  </a:lnTo>
                  <a:lnTo>
                    <a:pt x="141" y="10"/>
                  </a:lnTo>
                  <a:lnTo>
                    <a:pt x="132" y="6"/>
                  </a:lnTo>
                  <a:lnTo>
                    <a:pt x="124" y="4"/>
                  </a:lnTo>
                  <a:lnTo>
                    <a:pt x="115" y="1"/>
                  </a:lnTo>
                  <a:lnTo>
                    <a:pt x="106" y="0"/>
                  </a:lnTo>
                  <a:lnTo>
                    <a:pt x="97" y="0"/>
                  </a:lnTo>
                  <a:lnTo>
                    <a:pt x="88" y="0"/>
                  </a:lnTo>
                  <a:lnTo>
                    <a:pt x="81" y="1"/>
                  </a:lnTo>
                  <a:lnTo>
                    <a:pt x="73" y="4"/>
                  </a:lnTo>
                  <a:lnTo>
                    <a:pt x="64" y="5"/>
                  </a:lnTo>
                  <a:lnTo>
                    <a:pt x="58" y="9"/>
                  </a:lnTo>
                  <a:lnTo>
                    <a:pt x="50" y="13"/>
                  </a:lnTo>
                  <a:lnTo>
                    <a:pt x="44" y="17"/>
                  </a:lnTo>
                  <a:lnTo>
                    <a:pt x="37" y="22"/>
                  </a:lnTo>
                  <a:lnTo>
                    <a:pt x="24" y="32"/>
                  </a:lnTo>
                  <a:lnTo>
                    <a:pt x="14" y="45"/>
                  </a:lnTo>
                  <a:lnTo>
                    <a:pt x="6" y="60"/>
                  </a:lnTo>
                  <a:lnTo>
                    <a:pt x="0" y="76"/>
                  </a:lnTo>
                  <a:lnTo>
                    <a:pt x="1" y="75"/>
                  </a:lnTo>
                  <a:lnTo>
                    <a:pt x="10" y="80"/>
                  </a:lnTo>
                  <a:lnTo>
                    <a:pt x="22" y="84"/>
                  </a:lnTo>
                  <a:lnTo>
                    <a:pt x="35" y="86"/>
                  </a:lnTo>
                  <a:lnTo>
                    <a:pt x="50" y="87"/>
                  </a:lnTo>
                  <a:lnTo>
                    <a:pt x="64" y="86"/>
                  </a:lnTo>
                  <a:lnTo>
                    <a:pt x="79" y="84"/>
                  </a:lnTo>
                  <a:lnTo>
                    <a:pt x="86" y="81"/>
                  </a:lnTo>
                  <a:lnTo>
                    <a:pt x="92" y="77"/>
                  </a:lnTo>
                  <a:lnTo>
                    <a:pt x="99" y="75"/>
                  </a:lnTo>
                  <a:lnTo>
                    <a:pt x="10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3452">
              <a:extLst>
                <a:ext uri="{FF2B5EF4-FFF2-40B4-BE49-F238E27FC236}">
                  <a16:creationId xmlns:a16="http://schemas.microsoft.com/office/drawing/2014/main" id="{41DCC5EA-C67D-4367-BF32-1CB553E8275E}"/>
                </a:ext>
              </a:extLst>
            </p:cNvPr>
            <p:cNvSpPr>
              <a:spLocks/>
            </p:cNvSpPr>
            <p:nvPr/>
          </p:nvSpPr>
          <p:spPr bwMode="auto">
            <a:xfrm>
              <a:off x="11703050" y="5507038"/>
              <a:ext cx="79375" cy="36513"/>
            </a:xfrm>
            <a:custGeom>
              <a:avLst/>
              <a:gdLst>
                <a:gd name="T0" fmla="*/ 0 w 197"/>
                <a:gd name="T1" fmla="*/ 75 h 93"/>
                <a:gd name="T2" fmla="*/ 0 w 197"/>
                <a:gd name="T3" fmla="*/ 74 h 93"/>
                <a:gd name="T4" fmla="*/ 9 w 197"/>
                <a:gd name="T5" fmla="*/ 79 h 93"/>
                <a:gd name="T6" fmla="*/ 22 w 197"/>
                <a:gd name="T7" fmla="*/ 82 h 93"/>
                <a:gd name="T8" fmla="*/ 34 w 197"/>
                <a:gd name="T9" fmla="*/ 85 h 93"/>
                <a:gd name="T10" fmla="*/ 50 w 197"/>
                <a:gd name="T11" fmla="*/ 86 h 93"/>
                <a:gd name="T12" fmla="*/ 64 w 197"/>
                <a:gd name="T13" fmla="*/ 86 h 93"/>
                <a:gd name="T14" fmla="*/ 79 w 197"/>
                <a:gd name="T15" fmla="*/ 82 h 93"/>
                <a:gd name="T16" fmla="*/ 86 w 197"/>
                <a:gd name="T17" fmla="*/ 80 h 93"/>
                <a:gd name="T18" fmla="*/ 92 w 197"/>
                <a:gd name="T19" fmla="*/ 77 h 93"/>
                <a:gd name="T20" fmla="*/ 99 w 197"/>
                <a:gd name="T21" fmla="*/ 74 h 93"/>
                <a:gd name="T22" fmla="*/ 104 w 197"/>
                <a:gd name="T23" fmla="*/ 68 h 93"/>
                <a:gd name="T24" fmla="*/ 108 w 197"/>
                <a:gd name="T25" fmla="*/ 66 h 93"/>
                <a:gd name="T26" fmla="*/ 114 w 197"/>
                <a:gd name="T27" fmla="*/ 66 h 93"/>
                <a:gd name="T28" fmla="*/ 117 w 197"/>
                <a:gd name="T29" fmla="*/ 66 h 93"/>
                <a:gd name="T30" fmla="*/ 119 w 197"/>
                <a:gd name="T31" fmla="*/ 67 h 93"/>
                <a:gd name="T32" fmla="*/ 120 w 197"/>
                <a:gd name="T33" fmla="*/ 70 h 93"/>
                <a:gd name="T34" fmla="*/ 123 w 197"/>
                <a:gd name="T35" fmla="*/ 72 h 93"/>
                <a:gd name="T36" fmla="*/ 124 w 197"/>
                <a:gd name="T37" fmla="*/ 75 h 93"/>
                <a:gd name="T38" fmla="*/ 128 w 197"/>
                <a:gd name="T39" fmla="*/ 79 h 93"/>
                <a:gd name="T40" fmla="*/ 132 w 197"/>
                <a:gd name="T41" fmla="*/ 81 h 93"/>
                <a:gd name="T42" fmla="*/ 137 w 197"/>
                <a:gd name="T43" fmla="*/ 84 h 93"/>
                <a:gd name="T44" fmla="*/ 147 w 197"/>
                <a:gd name="T45" fmla="*/ 89 h 93"/>
                <a:gd name="T46" fmla="*/ 161 w 197"/>
                <a:gd name="T47" fmla="*/ 91 h 93"/>
                <a:gd name="T48" fmla="*/ 173 w 197"/>
                <a:gd name="T49" fmla="*/ 93 h 93"/>
                <a:gd name="T50" fmla="*/ 183 w 197"/>
                <a:gd name="T51" fmla="*/ 93 h 93"/>
                <a:gd name="T52" fmla="*/ 191 w 197"/>
                <a:gd name="T53" fmla="*/ 91 h 93"/>
                <a:gd name="T54" fmla="*/ 197 w 197"/>
                <a:gd name="T55" fmla="*/ 89 h 93"/>
                <a:gd name="T56" fmla="*/ 196 w 197"/>
                <a:gd name="T57" fmla="*/ 80 h 93"/>
                <a:gd name="T58" fmla="*/ 192 w 197"/>
                <a:gd name="T59" fmla="*/ 71 h 93"/>
                <a:gd name="T60" fmla="*/ 190 w 197"/>
                <a:gd name="T61" fmla="*/ 62 h 93"/>
                <a:gd name="T62" fmla="*/ 185 w 197"/>
                <a:gd name="T63" fmla="*/ 54 h 93"/>
                <a:gd name="T64" fmla="*/ 181 w 197"/>
                <a:gd name="T65" fmla="*/ 45 h 93"/>
                <a:gd name="T66" fmla="*/ 174 w 197"/>
                <a:gd name="T67" fmla="*/ 39 h 93"/>
                <a:gd name="T68" fmla="*/ 169 w 197"/>
                <a:gd name="T69" fmla="*/ 31 h 93"/>
                <a:gd name="T70" fmla="*/ 163 w 197"/>
                <a:gd name="T71" fmla="*/ 26 h 93"/>
                <a:gd name="T72" fmla="*/ 155 w 197"/>
                <a:gd name="T73" fmla="*/ 20 h 93"/>
                <a:gd name="T74" fmla="*/ 149 w 197"/>
                <a:gd name="T75" fmla="*/ 14 h 93"/>
                <a:gd name="T76" fmla="*/ 141 w 197"/>
                <a:gd name="T77" fmla="*/ 11 h 93"/>
                <a:gd name="T78" fmla="*/ 132 w 197"/>
                <a:gd name="T79" fmla="*/ 7 h 93"/>
                <a:gd name="T80" fmla="*/ 124 w 197"/>
                <a:gd name="T81" fmla="*/ 4 h 93"/>
                <a:gd name="T82" fmla="*/ 115 w 197"/>
                <a:gd name="T83" fmla="*/ 2 h 93"/>
                <a:gd name="T84" fmla="*/ 106 w 197"/>
                <a:gd name="T85" fmla="*/ 0 h 93"/>
                <a:gd name="T86" fmla="*/ 97 w 197"/>
                <a:gd name="T87" fmla="*/ 0 h 93"/>
                <a:gd name="T88" fmla="*/ 88 w 197"/>
                <a:gd name="T89" fmla="*/ 0 h 93"/>
                <a:gd name="T90" fmla="*/ 81 w 197"/>
                <a:gd name="T91" fmla="*/ 2 h 93"/>
                <a:gd name="T92" fmla="*/ 72 w 197"/>
                <a:gd name="T93" fmla="*/ 3 h 93"/>
                <a:gd name="T94" fmla="*/ 64 w 197"/>
                <a:gd name="T95" fmla="*/ 5 h 93"/>
                <a:gd name="T96" fmla="*/ 57 w 197"/>
                <a:gd name="T97" fmla="*/ 8 h 93"/>
                <a:gd name="T98" fmla="*/ 50 w 197"/>
                <a:gd name="T99" fmla="*/ 12 h 93"/>
                <a:gd name="T100" fmla="*/ 43 w 197"/>
                <a:gd name="T101" fmla="*/ 16 h 93"/>
                <a:gd name="T102" fmla="*/ 36 w 197"/>
                <a:gd name="T103" fmla="*/ 21 h 93"/>
                <a:gd name="T104" fmla="*/ 24 w 197"/>
                <a:gd name="T105" fmla="*/ 32 h 93"/>
                <a:gd name="T106" fmla="*/ 14 w 197"/>
                <a:gd name="T107" fmla="*/ 45 h 93"/>
                <a:gd name="T108" fmla="*/ 6 w 197"/>
                <a:gd name="T109" fmla="*/ 59 h 93"/>
                <a:gd name="T110" fmla="*/ 0 w 197"/>
                <a:gd name="T111" fmla="*/ 7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93">
                  <a:moveTo>
                    <a:pt x="0" y="75"/>
                  </a:moveTo>
                  <a:lnTo>
                    <a:pt x="0" y="74"/>
                  </a:lnTo>
                  <a:lnTo>
                    <a:pt x="9" y="79"/>
                  </a:lnTo>
                  <a:lnTo>
                    <a:pt x="22" y="82"/>
                  </a:lnTo>
                  <a:lnTo>
                    <a:pt x="34" y="85"/>
                  </a:lnTo>
                  <a:lnTo>
                    <a:pt x="50" y="86"/>
                  </a:lnTo>
                  <a:lnTo>
                    <a:pt x="64" y="86"/>
                  </a:lnTo>
                  <a:lnTo>
                    <a:pt x="79" y="82"/>
                  </a:lnTo>
                  <a:lnTo>
                    <a:pt x="86" y="80"/>
                  </a:lnTo>
                  <a:lnTo>
                    <a:pt x="92" y="77"/>
                  </a:lnTo>
                  <a:lnTo>
                    <a:pt x="99" y="74"/>
                  </a:lnTo>
                  <a:lnTo>
                    <a:pt x="104" y="68"/>
                  </a:lnTo>
                  <a:lnTo>
                    <a:pt x="108" y="66"/>
                  </a:lnTo>
                  <a:lnTo>
                    <a:pt x="114" y="66"/>
                  </a:lnTo>
                  <a:lnTo>
                    <a:pt x="117" y="66"/>
                  </a:lnTo>
                  <a:lnTo>
                    <a:pt x="119" y="67"/>
                  </a:lnTo>
                  <a:lnTo>
                    <a:pt x="120" y="70"/>
                  </a:lnTo>
                  <a:lnTo>
                    <a:pt x="123" y="72"/>
                  </a:lnTo>
                  <a:lnTo>
                    <a:pt x="124" y="75"/>
                  </a:lnTo>
                  <a:lnTo>
                    <a:pt x="128" y="79"/>
                  </a:lnTo>
                  <a:lnTo>
                    <a:pt x="132" y="81"/>
                  </a:lnTo>
                  <a:lnTo>
                    <a:pt x="137" y="84"/>
                  </a:lnTo>
                  <a:lnTo>
                    <a:pt x="147" y="89"/>
                  </a:lnTo>
                  <a:lnTo>
                    <a:pt x="161" y="91"/>
                  </a:lnTo>
                  <a:lnTo>
                    <a:pt x="173" y="93"/>
                  </a:lnTo>
                  <a:lnTo>
                    <a:pt x="183" y="93"/>
                  </a:lnTo>
                  <a:lnTo>
                    <a:pt x="191" y="91"/>
                  </a:lnTo>
                  <a:lnTo>
                    <a:pt x="197" y="89"/>
                  </a:lnTo>
                  <a:lnTo>
                    <a:pt x="196" y="80"/>
                  </a:lnTo>
                  <a:lnTo>
                    <a:pt x="192" y="71"/>
                  </a:lnTo>
                  <a:lnTo>
                    <a:pt x="190" y="62"/>
                  </a:lnTo>
                  <a:lnTo>
                    <a:pt x="185" y="54"/>
                  </a:lnTo>
                  <a:lnTo>
                    <a:pt x="181" y="45"/>
                  </a:lnTo>
                  <a:lnTo>
                    <a:pt x="174" y="39"/>
                  </a:lnTo>
                  <a:lnTo>
                    <a:pt x="169" y="31"/>
                  </a:lnTo>
                  <a:lnTo>
                    <a:pt x="163" y="26"/>
                  </a:lnTo>
                  <a:lnTo>
                    <a:pt x="155" y="20"/>
                  </a:lnTo>
                  <a:lnTo>
                    <a:pt x="149" y="14"/>
                  </a:lnTo>
                  <a:lnTo>
                    <a:pt x="141" y="11"/>
                  </a:lnTo>
                  <a:lnTo>
                    <a:pt x="132" y="7"/>
                  </a:lnTo>
                  <a:lnTo>
                    <a:pt x="124" y="4"/>
                  </a:lnTo>
                  <a:lnTo>
                    <a:pt x="115" y="2"/>
                  </a:lnTo>
                  <a:lnTo>
                    <a:pt x="106" y="0"/>
                  </a:lnTo>
                  <a:lnTo>
                    <a:pt x="97" y="0"/>
                  </a:lnTo>
                  <a:lnTo>
                    <a:pt x="88" y="0"/>
                  </a:lnTo>
                  <a:lnTo>
                    <a:pt x="81" y="2"/>
                  </a:lnTo>
                  <a:lnTo>
                    <a:pt x="72" y="3"/>
                  </a:lnTo>
                  <a:lnTo>
                    <a:pt x="64" y="5"/>
                  </a:lnTo>
                  <a:lnTo>
                    <a:pt x="57" y="8"/>
                  </a:lnTo>
                  <a:lnTo>
                    <a:pt x="50" y="12"/>
                  </a:lnTo>
                  <a:lnTo>
                    <a:pt x="43" y="16"/>
                  </a:lnTo>
                  <a:lnTo>
                    <a:pt x="36" y="21"/>
                  </a:lnTo>
                  <a:lnTo>
                    <a:pt x="24" y="32"/>
                  </a:lnTo>
                  <a:lnTo>
                    <a:pt x="14" y="45"/>
                  </a:lnTo>
                  <a:lnTo>
                    <a:pt x="6" y="59"/>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3453">
              <a:extLst>
                <a:ext uri="{FF2B5EF4-FFF2-40B4-BE49-F238E27FC236}">
                  <a16:creationId xmlns:a16="http://schemas.microsoft.com/office/drawing/2014/main" id="{D039445D-BCDF-4A56-91EC-3BAE8130733F}"/>
                </a:ext>
              </a:extLst>
            </p:cNvPr>
            <p:cNvSpPr>
              <a:spLocks/>
            </p:cNvSpPr>
            <p:nvPr/>
          </p:nvSpPr>
          <p:spPr bwMode="auto">
            <a:xfrm>
              <a:off x="11677650" y="5545138"/>
              <a:ext cx="128587" cy="90488"/>
            </a:xfrm>
            <a:custGeom>
              <a:avLst/>
              <a:gdLst>
                <a:gd name="T0" fmla="*/ 289 w 325"/>
                <a:gd name="T1" fmla="*/ 155 h 230"/>
                <a:gd name="T2" fmla="*/ 217 w 325"/>
                <a:gd name="T3" fmla="*/ 136 h 230"/>
                <a:gd name="T4" fmla="*/ 217 w 325"/>
                <a:gd name="T5" fmla="*/ 112 h 230"/>
                <a:gd name="T6" fmla="*/ 227 w 325"/>
                <a:gd name="T7" fmla="*/ 104 h 230"/>
                <a:gd name="T8" fmla="*/ 236 w 325"/>
                <a:gd name="T9" fmla="*/ 95 h 230"/>
                <a:gd name="T10" fmla="*/ 245 w 325"/>
                <a:gd name="T11" fmla="*/ 85 h 230"/>
                <a:gd name="T12" fmla="*/ 252 w 325"/>
                <a:gd name="T13" fmla="*/ 73 h 230"/>
                <a:gd name="T14" fmla="*/ 258 w 325"/>
                <a:gd name="T15" fmla="*/ 62 h 230"/>
                <a:gd name="T16" fmla="*/ 262 w 325"/>
                <a:gd name="T17" fmla="*/ 48 h 230"/>
                <a:gd name="T18" fmla="*/ 266 w 325"/>
                <a:gd name="T19" fmla="*/ 35 h 230"/>
                <a:gd name="T20" fmla="*/ 267 w 325"/>
                <a:gd name="T21" fmla="*/ 21 h 230"/>
                <a:gd name="T22" fmla="*/ 255 w 325"/>
                <a:gd name="T23" fmla="*/ 22 h 230"/>
                <a:gd name="T24" fmla="*/ 243 w 325"/>
                <a:gd name="T25" fmla="*/ 23 h 230"/>
                <a:gd name="T26" fmla="*/ 234 w 325"/>
                <a:gd name="T27" fmla="*/ 22 h 230"/>
                <a:gd name="T28" fmla="*/ 225 w 325"/>
                <a:gd name="T29" fmla="*/ 22 h 230"/>
                <a:gd name="T30" fmla="*/ 211 w 325"/>
                <a:gd name="T31" fmla="*/ 18 h 230"/>
                <a:gd name="T32" fmla="*/ 198 w 325"/>
                <a:gd name="T33" fmla="*/ 14 h 230"/>
                <a:gd name="T34" fmla="*/ 186 w 325"/>
                <a:gd name="T35" fmla="*/ 8 h 230"/>
                <a:gd name="T36" fmla="*/ 177 w 325"/>
                <a:gd name="T37" fmla="*/ 0 h 230"/>
                <a:gd name="T38" fmla="*/ 171 w 325"/>
                <a:gd name="T39" fmla="*/ 4 h 230"/>
                <a:gd name="T40" fmla="*/ 164 w 325"/>
                <a:gd name="T41" fmla="*/ 8 h 230"/>
                <a:gd name="T42" fmla="*/ 157 w 325"/>
                <a:gd name="T43" fmla="*/ 10 h 230"/>
                <a:gd name="T44" fmla="*/ 149 w 325"/>
                <a:gd name="T45" fmla="*/ 13 h 230"/>
                <a:gd name="T46" fmla="*/ 133 w 325"/>
                <a:gd name="T47" fmla="*/ 15 h 230"/>
                <a:gd name="T48" fmla="*/ 118 w 325"/>
                <a:gd name="T49" fmla="*/ 17 h 230"/>
                <a:gd name="T50" fmla="*/ 103 w 325"/>
                <a:gd name="T51" fmla="*/ 15 h 230"/>
                <a:gd name="T52" fmla="*/ 87 w 325"/>
                <a:gd name="T53" fmla="*/ 13 h 230"/>
                <a:gd name="T54" fmla="*/ 73 w 325"/>
                <a:gd name="T55" fmla="*/ 9 h 230"/>
                <a:gd name="T56" fmla="*/ 62 w 325"/>
                <a:gd name="T57" fmla="*/ 4 h 230"/>
                <a:gd name="T58" fmla="*/ 62 w 325"/>
                <a:gd name="T59" fmla="*/ 10 h 230"/>
                <a:gd name="T60" fmla="*/ 60 w 325"/>
                <a:gd name="T61" fmla="*/ 17 h 230"/>
                <a:gd name="T62" fmla="*/ 62 w 325"/>
                <a:gd name="T63" fmla="*/ 31 h 230"/>
                <a:gd name="T64" fmla="*/ 64 w 325"/>
                <a:gd name="T65" fmla="*/ 45 h 230"/>
                <a:gd name="T66" fmla="*/ 68 w 325"/>
                <a:gd name="T67" fmla="*/ 58 h 230"/>
                <a:gd name="T68" fmla="*/ 74 w 325"/>
                <a:gd name="T69" fmla="*/ 71 h 230"/>
                <a:gd name="T70" fmla="*/ 81 w 325"/>
                <a:gd name="T71" fmla="*/ 82 h 230"/>
                <a:gd name="T72" fmla="*/ 89 w 325"/>
                <a:gd name="T73" fmla="*/ 93 h 230"/>
                <a:gd name="T74" fmla="*/ 97 w 325"/>
                <a:gd name="T75" fmla="*/ 103 h 230"/>
                <a:gd name="T76" fmla="*/ 108 w 325"/>
                <a:gd name="T77" fmla="*/ 111 h 230"/>
                <a:gd name="T78" fmla="*/ 108 w 325"/>
                <a:gd name="T79" fmla="*/ 136 h 230"/>
                <a:gd name="T80" fmla="*/ 38 w 325"/>
                <a:gd name="T81" fmla="*/ 155 h 230"/>
                <a:gd name="T82" fmla="*/ 31 w 325"/>
                <a:gd name="T83" fmla="*/ 158 h 230"/>
                <a:gd name="T84" fmla="*/ 23 w 325"/>
                <a:gd name="T85" fmla="*/ 163 h 230"/>
                <a:gd name="T86" fmla="*/ 17 w 325"/>
                <a:gd name="T87" fmla="*/ 168 h 230"/>
                <a:gd name="T88" fmla="*/ 11 w 325"/>
                <a:gd name="T89" fmla="*/ 175 h 230"/>
                <a:gd name="T90" fmla="*/ 6 w 325"/>
                <a:gd name="T91" fmla="*/ 181 h 230"/>
                <a:gd name="T92" fmla="*/ 4 w 325"/>
                <a:gd name="T93" fmla="*/ 189 h 230"/>
                <a:gd name="T94" fmla="*/ 1 w 325"/>
                <a:gd name="T95" fmla="*/ 198 h 230"/>
                <a:gd name="T96" fmla="*/ 0 w 325"/>
                <a:gd name="T97" fmla="*/ 206 h 230"/>
                <a:gd name="T98" fmla="*/ 0 w 325"/>
                <a:gd name="T99" fmla="*/ 230 h 230"/>
                <a:gd name="T100" fmla="*/ 325 w 325"/>
                <a:gd name="T101" fmla="*/ 230 h 230"/>
                <a:gd name="T102" fmla="*/ 325 w 325"/>
                <a:gd name="T103" fmla="*/ 206 h 230"/>
                <a:gd name="T104" fmla="*/ 324 w 325"/>
                <a:gd name="T105" fmla="*/ 198 h 230"/>
                <a:gd name="T106" fmla="*/ 322 w 325"/>
                <a:gd name="T107" fmla="*/ 189 h 230"/>
                <a:gd name="T108" fmla="*/ 318 w 325"/>
                <a:gd name="T109" fmla="*/ 181 h 230"/>
                <a:gd name="T110" fmla="*/ 315 w 325"/>
                <a:gd name="T111" fmla="*/ 175 h 230"/>
                <a:gd name="T112" fmla="*/ 309 w 325"/>
                <a:gd name="T113" fmla="*/ 168 h 230"/>
                <a:gd name="T114" fmla="*/ 303 w 325"/>
                <a:gd name="T115" fmla="*/ 162 h 230"/>
                <a:gd name="T116" fmla="*/ 297 w 325"/>
                <a:gd name="T117" fmla="*/ 158 h 230"/>
                <a:gd name="T118" fmla="*/ 289 w 325"/>
                <a:gd name="T119" fmla="*/ 15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289" y="155"/>
                  </a:moveTo>
                  <a:lnTo>
                    <a:pt x="217" y="136"/>
                  </a:lnTo>
                  <a:lnTo>
                    <a:pt x="217" y="112"/>
                  </a:lnTo>
                  <a:lnTo>
                    <a:pt x="227" y="104"/>
                  </a:lnTo>
                  <a:lnTo>
                    <a:pt x="236" y="95"/>
                  </a:lnTo>
                  <a:lnTo>
                    <a:pt x="245" y="85"/>
                  </a:lnTo>
                  <a:lnTo>
                    <a:pt x="252" y="73"/>
                  </a:lnTo>
                  <a:lnTo>
                    <a:pt x="258" y="62"/>
                  </a:lnTo>
                  <a:lnTo>
                    <a:pt x="262" y="48"/>
                  </a:lnTo>
                  <a:lnTo>
                    <a:pt x="266" y="35"/>
                  </a:lnTo>
                  <a:lnTo>
                    <a:pt x="267" y="21"/>
                  </a:lnTo>
                  <a:lnTo>
                    <a:pt x="255" y="22"/>
                  </a:lnTo>
                  <a:lnTo>
                    <a:pt x="243" y="23"/>
                  </a:lnTo>
                  <a:lnTo>
                    <a:pt x="234" y="22"/>
                  </a:lnTo>
                  <a:lnTo>
                    <a:pt x="225" y="22"/>
                  </a:lnTo>
                  <a:lnTo>
                    <a:pt x="211" y="18"/>
                  </a:lnTo>
                  <a:lnTo>
                    <a:pt x="198" y="14"/>
                  </a:lnTo>
                  <a:lnTo>
                    <a:pt x="186" y="8"/>
                  </a:lnTo>
                  <a:lnTo>
                    <a:pt x="177" y="0"/>
                  </a:lnTo>
                  <a:lnTo>
                    <a:pt x="171" y="4"/>
                  </a:lnTo>
                  <a:lnTo>
                    <a:pt x="164" y="8"/>
                  </a:lnTo>
                  <a:lnTo>
                    <a:pt x="157" y="10"/>
                  </a:lnTo>
                  <a:lnTo>
                    <a:pt x="149" y="13"/>
                  </a:lnTo>
                  <a:lnTo>
                    <a:pt x="133" y="15"/>
                  </a:lnTo>
                  <a:lnTo>
                    <a:pt x="118" y="17"/>
                  </a:lnTo>
                  <a:lnTo>
                    <a:pt x="103" y="15"/>
                  </a:lnTo>
                  <a:lnTo>
                    <a:pt x="87" y="13"/>
                  </a:lnTo>
                  <a:lnTo>
                    <a:pt x="73" y="9"/>
                  </a:lnTo>
                  <a:lnTo>
                    <a:pt x="62" y="4"/>
                  </a:lnTo>
                  <a:lnTo>
                    <a:pt x="62" y="10"/>
                  </a:lnTo>
                  <a:lnTo>
                    <a:pt x="60" y="17"/>
                  </a:lnTo>
                  <a:lnTo>
                    <a:pt x="62" y="31"/>
                  </a:lnTo>
                  <a:lnTo>
                    <a:pt x="64" y="45"/>
                  </a:lnTo>
                  <a:lnTo>
                    <a:pt x="68" y="58"/>
                  </a:lnTo>
                  <a:lnTo>
                    <a:pt x="74" y="71"/>
                  </a:lnTo>
                  <a:lnTo>
                    <a:pt x="81" y="82"/>
                  </a:lnTo>
                  <a:lnTo>
                    <a:pt x="89" y="93"/>
                  </a:lnTo>
                  <a:lnTo>
                    <a:pt x="97" y="103"/>
                  </a:lnTo>
                  <a:lnTo>
                    <a:pt x="108" y="111"/>
                  </a:lnTo>
                  <a:lnTo>
                    <a:pt x="108" y="136"/>
                  </a:lnTo>
                  <a:lnTo>
                    <a:pt x="38" y="155"/>
                  </a:lnTo>
                  <a:lnTo>
                    <a:pt x="31" y="158"/>
                  </a:lnTo>
                  <a:lnTo>
                    <a:pt x="23" y="163"/>
                  </a:lnTo>
                  <a:lnTo>
                    <a:pt x="17" y="168"/>
                  </a:lnTo>
                  <a:lnTo>
                    <a:pt x="11" y="175"/>
                  </a:lnTo>
                  <a:lnTo>
                    <a:pt x="6" y="181"/>
                  </a:lnTo>
                  <a:lnTo>
                    <a:pt x="4" y="189"/>
                  </a:lnTo>
                  <a:lnTo>
                    <a:pt x="1" y="198"/>
                  </a:lnTo>
                  <a:lnTo>
                    <a:pt x="0" y="206"/>
                  </a:lnTo>
                  <a:lnTo>
                    <a:pt x="0" y="230"/>
                  </a:lnTo>
                  <a:lnTo>
                    <a:pt x="325" y="230"/>
                  </a:lnTo>
                  <a:lnTo>
                    <a:pt x="325" y="206"/>
                  </a:lnTo>
                  <a:lnTo>
                    <a:pt x="324" y="198"/>
                  </a:lnTo>
                  <a:lnTo>
                    <a:pt x="322" y="189"/>
                  </a:lnTo>
                  <a:lnTo>
                    <a:pt x="318" y="181"/>
                  </a:lnTo>
                  <a:lnTo>
                    <a:pt x="315" y="175"/>
                  </a:lnTo>
                  <a:lnTo>
                    <a:pt x="309" y="168"/>
                  </a:lnTo>
                  <a:lnTo>
                    <a:pt x="303" y="162"/>
                  </a:lnTo>
                  <a:lnTo>
                    <a:pt x="297" y="158"/>
                  </a:lnTo>
                  <a:lnTo>
                    <a:pt x="28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3454">
              <a:extLst>
                <a:ext uri="{FF2B5EF4-FFF2-40B4-BE49-F238E27FC236}">
                  <a16:creationId xmlns:a16="http://schemas.microsoft.com/office/drawing/2014/main" id="{E114EB74-E638-4B77-AAB3-FFA7C8EC1442}"/>
                </a:ext>
              </a:extLst>
            </p:cNvPr>
            <p:cNvSpPr>
              <a:spLocks/>
            </p:cNvSpPr>
            <p:nvPr/>
          </p:nvSpPr>
          <p:spPr bwMode="auto">
            <a:xfrm>
              <a:off x="11642725" y="5494338"/>
              <a:ext cx="39687" cy="39688"/>
            </a:xfrm>
            <a:custGeom>
              <a:avLst/>
              <a:gdLst>
                <a:gd name="T0" fmla="*/ 96 w 100"/>
                <a:gd name="T1" fmla="*/ 96 h 100"/>
                <a:gd name="T2" fmla="*/ 99 w 100"/>
                <a:gd name="T3" fmla="*/ 92 h 100"/>
                <a:gd name="T4" fmla="*/ 100 w 100"/>
                <a:gd name="T5" fmla="*/ 87 h 100"/>
                <a:gd name="T6" fmla="*/ 99 w 100"/>
                <a:gd name="T7" fmla="*/ 83 h 100"/>
                <a:gd name="T8" fmla="*/ 96 w 100"/>
                <a:gd name="T9" fmla="*/ 80 h 100"/>
                <a:gd name="T10" fmla="*/ 20 w 100"/>
                <a:gd name="T11" fmla="*/ 4 h 100"/>
                <a:gd name="T12" fmla="*/ 17 w 100"/>
                <a:gd name="T13" fmla="*/ 1 h 100"/>
                <a:gd name="T14" fmla="*/ 11 w 100"/>
                <a:gd name="T15" fmla="*/ 0 h 100"/>
                <a:gd name="T16" fmla="*/ 8 w 100"/>
                <a:gd name="T17" fmla="*/ 1 h 100"/>
                <a:gd name="T18" fmla="*/ 4 w 100"/>
                <a:gd name="T19" fmla="*/ 4 h 100"/>
                <a:gd name="T20" fmla="*/ 1 w 100"/>
                <a:gd name="T21" fmla="*/ 8 h 100"/>
                <a:gd name="T22" fmla="*/ 0 w 100"/>
                <a:gd name="T23" fmla="*/ 11 h 100"/>
                <a:gd name="T24" fmla="*/ 1 w 100"/>
                <a:gd name="T25" fmla="*/ 17 h 100"/>
                <a:gd name="T26" fmla="*/ 4 w 100"/>
                <a:gd name="T27" fmla="*/ 20 h 100"/>
                <a:gd name="T28" fmla="*/ 79 w 100"/>
                <a:gd name="T29" fmla="*/ 96 h 100"/>
                <a:gd name="T30" fmla="*/ 83 w 100"/>
                <a:gd name="T31" fmla="*/ 99 h 100"/>
                <a:gd name="T32" fmla="*/ 87 w 100"/>
                <a:gd name="T33" fmla="*/ 100 h 100"/>
                <a:gd name="T34" fmla="*/ 92 w 100"/>
                <a:gd name="T35" fmla="*/ 99 h 100"/>
                <a:gd name="T36" fmla="*/ 96 w 100"/>
                <a:gd name="T3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00">
                  <a:moveTo>
                    <a:pt x="96" y="96"/>
                  </a:moveTo>
                  <a:lnTo>
                    <a:pt x="99" y="92"/>
                  </a:lnTo>
                  <a:lnTo>
                    <a:pt x="100" y="87"/>
                  </a:lnTo>
                  <a:lnTo>
                    <a:pt x="99" y="83"/>
                  </a:lnTo>
                  <a:lnTo>
                    <a:pt x="96" y="80"/>
                  </a:lnTo>
                  <a:lnTo>
                    <a:pt x="20" y="4"/>
                  </a:lnTo>
                  <a:lnTo>
                    <a:pt x="17" y="1"/>
                  </a:lnTo>
                  <a:lnTo>
                    <a:pt x="11" y="0"/>
                  </a:lnTo>
                  <a:lnTo>
                    <a:pt x="8" y="1"/>
                  </a:lnTo>
                  <a:lnTo>
                    <a:pt x="4" y="4"/>
                  </a:lnTo>
                  <a:lnTo>
                    <a:pt x="1" y="8"/>
                  </a:lnTo>
                  <a:lnTo>
                    <a:pt x="0" y="11"/>
                  </a:lnTo>
                  <a:lnTo>
                    <a:pt x="1" y="17"/>
                  </a:lnTo>
                  <a:lnTo>
                    <a:pt x="4" y="20"/>
                  </a:lnTo>
                  <a:lnTo>
                    <a:pt x="79" y="96"/>
                  </a:lnTo>
                  <a:lnTo>
                    <a:pt x="83" y="99"/>
                  </a:lnTo>
                  <a:lnTo>
                    <a:pt x="87" y="100"/>
                  </a:lnTo>
                  <a:lnTo>
                    <a:pt x="92" y="99"/>
                  </a:lnTo>
                  <a:lnTo>
                    <a:pt x="9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3455">
              <a:extLst>
                <a:ext uri="{FF2B5EF4-FFF2-40B4-BE49-F238E27FC236}">
                  <a16:creationId xmlns:a16="http://schemas.microsoft.com/office/drawing/2014/main" id="{DA949634-D86C-4B6A-B028-972CDAE1EEDB}"/>
                </a:ext>
              </a:extLst>
            </p:cNvPr>
            <p:cNvSpPr>
              <a:spLocks/>
            </p:cNvSpPr>
            <p:nvPr/>
          </p:nvSpPr>
          <p:spPr bwMode="auto">
            <a:xfrm>
              <a:off x="11806238" y="5494338"/>
              <a:ext cx="38100" cy="39688"/>
            </a:xfrm>
            <a:custGeom>
              <a:avLst/>
              <a:gdLst>
                <a:gd name="T0" fmla="*/ 78 w 98"/>
                <a:gd name="T1" fmla="*/ 4 h 100"/>
                <a:gd name="T2" fmla="*/ 2 w 98"/>
                <a:gd name="T3" fmla="*/ 80 h 100"/>
                <a:gd name="T4" fmla="*/ 0 w 98"/>
                <a:gd name="T5" fmla="*/ 83 h 100"/>
                <a:gd name="T6" fmla="*/ 0 w 98"/>
                <a:gd name="T7" fmla="*/ 87 h 100"/>
                <a:gd name="T8" fmla="*/ 0 w 98"/>
                <a:gd name="T9" fmla="*/ 92 h 100"/>
                <a:gd name="T10" fmla="*/ 2 w 98"/>
                <a:gd name="T11" fmla="*/ 96 h 100"/>
                <a:gd name="T12" fmla="*/ 7 w 98"/>
                <a:gd name="T13" fmla="*/ 99 h 100"/>
                <a:gd name="T14" fmla="*/ 11 w 98"/>
                <a:gd name="T15" fmla="*/ 100 h 100"/>
                <a:gd name="T16" fmla="*/ 16 w 98"/>
                <a:gd name="T17" fmla="*/ 99 h 100"/>
                <a:gd name="T18" fmla="*/ 20 w 98"/>
                <a:gd name="T19" fmla="*/ 96 h 100"/>
                <a:gd name="T20" fmla="*/ 96 w 98"/>
                <a:gd name="T21" fmla="*/ 20 h 100"/>
                <a:gd name="T22" fmla="*/ 98 w 98"/>
                <a:gd name="T23" fmla="*/ 17 h 100"/>
                <a:gd name="T24" fmla="*/ 98 w 98"/>
                <a:gd name="T25" fmla="*/ 11 h 100"/>
                <a:gd name="T26" fmla="*/ 98 w 98"/>
                <a:gd name="T27" fmla="*/ 8 h 100"/>
                <a:gd name="T28" fmla="*/ 96 w 98"/>
                <a:gd name="T29" fmla="*/ 4 h 100"/>
                <a:gd name="T30" fmla="*/ 92 w 98"/>
                <a:gd name="T31" fmla="*/ 1 h 100"/>
                <a:gd name="T32" fmla="*/ 87 w 98"/>
                <a:gd name="T33" fmla="*/ 0 h 100"/>
                <a:gd name="T34" fmla="*/ 83 w 98"/>
                <a:gd name="T35" fmla="*/ 1 h 100"/>
                <a:gd name="T36" fmla="*/ 78 w 98"/>
                <a:gd name="T3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8" h="100">
                  <a:moveTo>
                    <a:pt x="78" y="4"/>
                  </a:moveTo>
                  <a:lnTo>
                    <a:pt x="2" y="80"/>
                  </a:lnTo>
                  <a:lnTo>
                    <a:pt x="0" y="83"/>
                  </a:lnTo>
                  <a:lnTo>
                    <a:pt x="0" y="87"/>
                  </a:lnTo>
                  <a:lnTo>
                    <a:pt x="0" y="92"/>
                  </a:lnTo>
                  <a:lnTo>
                    <a:pt x="2" y="96"/>
                  </a:lnTo>
                  <a:lnTo>
                    <a:pt x="7" y="99"/>
                  </a:lnTo>
                  <a:lnTo>
                    <a:pt x="11" y="100"/>
                  </a:lnTo>
                  <a:lnTo>
                    <a:pt x="16" y="99"/>
                  </a:lnTo>
                  <a:lnTo>
                    <a:pt x="20" y="96"/>
                  </a:lnTo>
                  <a:lnTo>
                    <a:pt x="96" y="20"/>
                  </a:lnTo>
                  <a:lnTo>
                    <a:pt x="98" y="17"/>
                  </a:lnTo>
                  <a:lnTo>
                    <a:pt x="98" y="11"/>
                  </a:lnTo>
                  <a:lnTo>
                    <a:pt x="98" y="8"/>
                  </a:lnTo>
                  <a:lnTo>
                    <a:pt x="96" y="4"/>
                  </a:lnTo>
                  <a:lnTo>
                    <a:pt x="92" y="1"/>
                  </a:lnTo>
                  <a:lnTo>
                    <a:pt x="87" y="0"/>
                  </a:lnTo>
                  <a:lnTo>
                    <a:pt x="83" y="1"/>
                  </a:lnTo>
                  <a:lnTo>
                    <a:pt x="7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98771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575CD53-6108-481A-A31F-305A2B59F755}"/>
              </a:ext>
            </a:extLst>
          </p:cNvPr>
          <p:cNvSpPr txBox="1"/>
          <p:nvPr/>
        </p:nvSpPr>
        <p:spPr>
          <a:xfrm>
            <a:off x="690563" y="314325"/>
            <a:ext cx="10808351" cy="553998"/>
          </a:xfrm>
          <a:prstGeom prst="rect">
            <a:avLst/>
          </a:prstGeom>
          <a:noFill/>
        </p:spPr>
        <p:txBody>
          <a:bodyPr wrap="square" lIns="0" tIns="0" rIns="0" bIns="0" rtlCol="0" anchor="t">
            <a:spAutoFit/>
          </a:bodyPr>
          <a:lstStyle/>
          <a:p>
            <a:r>
              <a:rPr lang="en-US" sz="3600" dirty="0">
                <a:latin typeface="+mj-lt"/>
              </a:rPr>
              <a:t>STAKEHOLDERS: EMPLOYEES</a:t>
            </a:r>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4</a:t>
            </a:fld>
            <a:endParaRPr lang="en-US"/>
          </a:p>
        </p:txBody>
      </p:sp>
      <p:sp>
        <p:nvSpPr>
          <p:cNvPr id="39" name="Freeform 3447">
            <a:extLst>
              <a:ext uri="{FF2B5EF4-FFF2-40B4-BE49-F238E27FC236}">
                <a16:creationId xmlns:a16="http://schemas.microsoft.com/office/drawing/2014/main" id="{E3CD491A-31EB-475E-843C-0AE47EE98586}"/>
              </a:ext>
            </a:extLst>
          </p:cNvPr>
          <p:cNvSpPr>
            <a:spLocks noEditPoints="1"/>
          </p:cNvSpPr>
          <p:nvPr/>
        </p:nvSpPr>
        <p:spPr bwMode="auto">
          <a:xfrm>
            <a:off x="2757313" y="1274868"/>
            <a:ext cx="1302737" cy="1302737"/>
          </a:xfrm>
          <a:custGeom>
            <a:avLst/>
            <a:gdLst>
              <a:gd name="T0" fmla="*/ 482 w 720"/>
              <a:gd name="T1" fmla="*/ 537 h 721"/>
              <a:gd name="T2" fmla="*/ 445 w 720"/>
              <a:gd name="T3" fmla="*/ 450 h 721"/>
              <a:gd name="T4" fmla="*/ 477 w 720"/>
              <a:gd name="T5" fmla="*/ 370 h 721"/>
              <a:gd name="T6" fmla="*/ 495 w 720"/>
              <a:gd name="T7" fmla="*/ 345 h 721"/>
              <a:gd name="T8" fmla="*/ 488 w 720"/>
              <a:gd name="T9" fmla="*/ 298 h 721"/>
              <a:gd name="T10" fmla="*/ 493 w 720"/>
              <a:gd name="T11" fmla="*/ 246 h 721"/>
              <a:gd name="T12" fmla="*/ 486 w 720"/>
              <a:gd name="T13" fmla="*/ 178 h 721"/>
              <a:gd name="T14" fmla="*/ 450 w 720"/>
              <a:gd name="T15" fmla="*/ 148 h 721"/>
              <a:gd name="T16" fmla="*/ 351 w 720"/>
              <a:gd name="T17" fmla="*/ 139 h 721"/>
              <a:gd name="T18" fmla="*/ 283 w 720"/>
              <a:gd name="T19" fmla="*/ 170 h 721"/>
              <a:gd name="T20" fmla="*/ 251 w 720"/>
              <a:gd name="T21" fmla="*/ 184 h 721"/>
              <a:gd name="T22" fmla="*/ 229 w 720"/>
              <a:gd name="T23" fmla="*/ 218 h 721"/>
              <a:gd name="T24" fmla="*/ 240 w 720"/>
              <a:gd name="T25" fmla="*/ 292 h 721"/>
              <a:gd name="T26" fmla="*/ 223 w 720"/>
              <a:gd name="T27" fmla="*/ 331 h 721"/>
              <a:gd name="T28" fmla="*/ 235 w 720"/>
              <a:gd name="T29" fmla="*/ 364 h 721"/>
              <a:gd name="T30" fmla="*/ 260 w 720"/>
              <a:gd name="T31" fmla="*/ 433 h 721"/>
              <a:gd name="T32" fmla="*/ 272 w 720"/>
              <a:gd name="T33" fmla="*/ 524 h 721"/>
              <a:gd name="T34" fmla="*/ 133 w 720"/>
              <a:gd name="T35" fmla="*/ 573 h 721"/>
              <a:gd name="T36" fmla="*/ 65 w 720"/>
              <a:gd name="T37" fmla="*/ 523 h 721"/>
              <a:gd name="T38" fmla="*/ 32 w 720"/>
              <a:gd name="T39" fmla="*/ 437 h 721"/>
              <a:gd name="T40" fmla="*/ 24 w 720"/>
              <a:gd name="T41" fmla="*/ 343 h 721"/>
              <a:gd name="T42" fmla="*/ 43 w 720"/>
              <a:gd name="T43" fmla="*/ 244 h 721"/>
              <a:gd name="T44" fmla="*/ 91 w 720"/>
              <a:gd name="T45" fmla="*/ 160 h 721"/>
              <a:gd name="T46" fmla="*/ 159 w 720"/>
              <a:gd name="T47" fmla="*/ 92 h 721"/>
              <a:gd name="T48" fmla="*/ 244 w 720"/>
              <a:gd name="T49" fmla="*/ 44 h 721"/>
              <a:gd name="T50" fmla="*/ 342 w 720"/>
              <a:gd name="T51" fmla="*/ 25 h 721"/>
              <a:gd name="T52" fmla="*/ 444 w 720"/>
              <a:gd name="T53" fmla="*/ 35 h 721"/>
              <a:gd name="T54" fmla="*/ 534 w 720"/>
              <a:gd name="T55" fmla="*/ 72 h 721"/>
              <a:gd name="T56" fmla="*/ 608 w 720"/>
              <a:gd name="T57" fmla="*/ 134 h 721"/>
              <a:gd name="T58" fmla="*/ 663 w 720"/>
              <a:gd name="T59" fmla="*/ 215 h 721"/>
              <a:gd name="T60" fmla="*/ 692 w 720"/>
              <a:gd name="T61" fmla="*/ 310 h 721"/>
              <a:gd name="T62" fmla="*/ 693 w 720"/>
              <a:gd name="T63" fmla="*/ 408 h 721"/>
              <a:gd name="T64" fmla="*/ 669 w 720"/>
              <a:gd name="T65" fmla="*/ 495 h 721"/>
              <a:gd name="T66" fmla="*/ 620 w 720"/>
              <a:gd name="T67" fmla="*/ 573 h 721"/>
              <a:gd name="T68" fmla="*/ 287 w 720"/>
              <a:gd name="T69" fmla="*/ 7 h 721"/>
              <a:gd name="T70" fmla="*/ 188 w 720"/>
              <a:gd name="T71" fmla="*/ 44 h 721"/>
              <a:gd name="T72" fmla="*/ 105 w 720"/>
              <a:gd name="T73" fmla="*/ 106 h 721"/>
              <a:gd name="T74" fmla="*/ 43 w 720"/>
              <a:gd name="T75" fmla="*/ 189 h 721"/>
              <a:gd name="T76" fmla="*/ 6 w 720"/>
              <a:gd name="T77" fmla="*/ 288 h 721"/>
              <a:gd name="T78" fmla="*/ 1 w 720"/>
              <a:gd name="T79" fmla="*/ 395 h 721"/>
              <a:gd name="T80" fmla="*/ 25 w 720"/>
              <a:gd name="T81" fmla="*/ 495 h 721"/>
              <a:gd name="T82" fmla="*/ 75 w 720"/>
              <a:gd name="T83" fmla="*/ 582 h 721"/>
              <a:gd name="T84" fmla="*/ 98 w 720"/>
              <a:gd name="T85" fmla="*/ 609 h 721"/>
              <a:gd name="T86" fmla="*/ 98 w 720"/>
              <a:gd name="T87" fmla="*/ 609 h 721"/>
              <a:gd name="T88" fmla="*/ 98 w 720"/>
              <a:gd name="T89" fmla="*/ 609 h 721"/>
              <a:gd name="T90" fmla="*/ 98 w 720"/>
              <a:gd name="T91" fmla="*/ 609 h 721"/>
              <a:gd name="T92" fmla="*/ 98 w 720"/>
              <a:gd name="T93" fmla="*/ 609 h 721"/>
              <a:gd name="T94" fmla="*/ 172 w 720"/>
              <a:gd name="T95" fmla="*/ 666 h 721"/>
              <a:gd name="T96" fmla="*/ 272 w 720"/>
              <a:gd name="T97" fmla="*/ 709 h 721"/>
              <a:gd name="T98" fmla="*/ 377 w 720"/>
              <a:gd name="T99" fmla="*/ 721 h 721"/>
              <a:gd name="T100" fmla="*/ 482 w 720"/>
              <a:gd name="T101" fmla="*/ 698 h 721"/>
              <a:gd name="T102" fmla="*/ 579 w 720"/>
              <a:gd name="T103" fmla="*/ 645 h 721"/>
              <a:gd name="T104" fmla="*/ 633 w 720"/>
              <a:gd name="T105" fmla="*/ 596 h 721"/>
              <a:gd name="T106" fmla="*/ 688 w 720"/>
              <a:gd name="T107" fmla="*/ 510 h 721"/>
              <a:gd name="T108" fmla="*/ 716 w 720"/>
              <a:gd name="T109" fmla="*/ 413 h 721"/>
              <a:gd name="T110" fmla="*/ 716 w 720"/>
              <a:gd name="T111" fmla="*/ 306 h 721"/>
              <a:gd name="T112" fmla="*/ 685 w 720"/>
              <a:gd name="T113" fmla="*/ 205 h 721"/>
              <a:gd name="T114" fmla="*/ 626 w 720"/>
              <a:gd name="T115" fmla="*/ 119 h 721"/>
              <a:gd name="T116" fmla="*/ 547 w 720"/>
              <a:gd name="T117" fmla="*/ 52 h 721"/>
              <a:gd name="T118" fmla="*/ 450 w 720"/>
              <a:gd name="T119" fmla="*/ 12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0" h="721">
                <a:moveTo>
                  <a:pt x="610" y="585"/>
                </a:moveTo>
                <a:lnTo>
                  <a:pt x="594" y="578"/>
                </a:lnTo>
                <a:lnTo>
                  <a:pt x="571" y="568"/>
                </a:lnTo>
                <a:lnTo>
                  <a:pt x="539" y="558"/>
                </a:lnTo>
                <a:lnTo>
                  <a:pt x="499" y="542"/>
                </a:lnTo>
                <a:lnTo>
                  <a:pt x="482" y="537"/>
                </a:lnTo>
                <a:lnTo>
                  <a:pt x="466" y="531"/>
                </a:lnTo>
                <a:lnTo>
                  <a:pt x="449" y="524"/>
                </a:lnTo>
                <a:lnTo>
                  <a:pt x="432" y="519"/>
                </a:lnTo>
                <a:lnTo>
                  <a:pt x="432" y="459"/>
                </a:lnTo>
                <a:lnTo>
                  <a:pt x="439" y="455"/>
                </a:lnTo>
                <a:lnTo>
                  <a:pt x="445" y="450"/>
                </a:lnTo>
                <a:lnTo>
                  <a:pt x="453" y="442"/>
                </a:lnTo>
                <a:lnTo>
                  <a:pt x="459" y="433"/>
                </a:lnTo>
                <a:lnTo>
                  <a:pt x="466" y="422"/>
                </a:lnTo>
                <a:lnTo>
                  <a:pt x="471" y="406"/>
                </a:lnTo>
                <a:lnTo>
                  <a:pt x="476" y="390"/>
                </a:lnTo>
                <a:lnTo>
                  <a:pt x="477" y="370"/>
                </a:lnTo>
                <a:lnTo>
                  <a:pt x="481" y="368"/>
                </a:lnTo>
                <a:lnTo>
                  <a:pt x="485" y="364"/>
                </a:lnTo>
                <a:lnTo>
                  <a:pt x="488" y="361"/>
                </a:lnTo>
                <a:lnTo>
                  <a:pt x="490" y="357"/>
                </a:lnTo>
                <a:lnTo>
                  <a:pt x="493" y="351"/>
                </a:lnTo>
                <a:lnTo>
                  <a:pt x="495" y="345"/>
                </a:lnTo>
                <a:lnTo>
                  <a:pt x="497" y="338"/>
                </a:lnTo>
                <a:lnTo>
                  <a:pt x="497" y="331"/>
                </a:lnTo>
                <a:lnTo>
                  <a:pt x="495" y="318"/>
                </a:lnTo>
                <a:lnTo>
                  <a:pt x="493" y="307"/>
                </a:lnTo>
                <a:lnTo>
                  <a:pt x="490" y="302"/>
                </a:lnTo>
                <a:lnTo>
                  <a:pt x="488" y="298"/>
                </a:lnTo>
                <a:lnTo>
                  <a:pt x="484" y="295"/>
                </a:lnTo>
                <a:lnTo>
                  <a:pt x="480" y="292"/>
                </a:lnTo>
                <a:lnTo>
                  <a:pt x="481" y="292"/>
                </a:lnTo>
                <a:lnTo>
                  <a:pt x="481" y="291"/>
                </a:lnTo>
                <a:lnTo>
                  <a:pt x="488" y="270"/>
                </a:lnTo>
                <a:lnTo>
                  <a:pt x="493" y="246"/>
                </a:lnTo>
                <a:lnTo>
                  <a:pt x="495" y="232"/>
                </a:lnTo>
                <a:lnTo>
                  <a:pt x="495" y="219"/>
                </a:lnTo>
                <a:lnTo>
                  <a:pt x="495" y="205"/>
                </a:lnTo>
                <a:lnTo>
                  <a:pt x="493" y="191"/>
                </a:lnTo>
                <a:lnTo>
                  <a:pt x="490" y="184"/>
                </a:lnTo>
                <a:lnTo>
                  <a:pt x="486" y="178"/>
                </a:lnTo>
                <a:lnTo>
                  <a:pt x="482" y="171"/>
                </a:lnTo>
                <a:lnTo>
                  <a:pt x="477" y="165"/>
                </a:lnTo>
                <a:lnTo>
                  <a:pt x="472" y="161"/>
                </a:lnTo>
                <a:lnTo>
                  <a:pt x="466" y="156"/>
                </a:lnTo>
                <a:lnTo>
                  <a:pt x="458" y="152"/>
                </a:lnTo>
                <a:lnTo>
                  <a:pt x="450" y="148"/>
                </a:lnTo>
                <a:lnTo>
                  <a:pt x="434" y="143"/>
                </a:lnTo>
                <a:lnTo>
                  <a:pt x="417" y="139"/>
                </a:lnTo>
                <a:lnTo>
                  <a:pt x="400" y="137"/>
                </a:lnTo>
                <a:lnTo>
                  <a:pt x="382" y="137"/>
                </a:lnTo>
                <a:lnTo>
                  <a:pt x="367" y="137"/>
                </a:lnTo>
                <a:lnTo>
                  <a:pt x="351" y="139"/>
                </a:lnTo>
                <a:lnTo>
                  <a:pt x="335" y="142"/>
                </a:lnTo>
                <a:lnTo>
                  <a:pt x="321" y="147"/>
                </a:lnTo>
                <a:lnTo>
                  <a:pt x="306" y="152"/>
                </a:lnTo>
                <a:lnTo>
                  <a:pt x="294" y="160"/>
                </a:lnTo>
                <a:lnTo>
                  <a:pt x="288" y="165"/>
                </a:lnTo>
                <a:lnTo>
                  <a:pt x="283" y="170"/>
                </a:lnTo>
                <a:lnTo>
                  <a:pt x="279" y="175"/>
                </a:lnTo>
                <a:lnTo>
                  <a:pt x="276" y="180"/>
                </a:lnTo>
                <a:lnTo>
                  <a:pt x="269" y="180"/>
                </a:lnTo>
                <a:lnTo>
                  <a:pt x="262" y="182"/>
                </a:lnTo>
                <a:lnTo>
                  <a:pt x="256" y="183"/>
                </a:lnTo>
                <a:lnTo>
                  <a:pt x="251" y="184"/>
                </a:lnTo>
                <a:lnTo>
                  <a:pt x="244" y="189"/>
                </a:lnTo>
                <a:lnTo>
                  <a:pt x="237" y="196"/>
                </a:lnTo>
                <a:lnTo>
                  <a:pt x="235" y="201"/>
                </a:lnTo>
                <a:lnTo>
                  <a:pt x="232" y="206"/>
                </a:lnTo>
                <a:lnTo>
                  <a:pt x="231" y="211"/>
                </a:lnTo>
                <a:lnTo>
                  <a:pt x="229" y="218"/>
                </a:lnTo>
                <a:lnTo>
                  <a:pt x="228" y="230"/>
                </a:lnTo>
                <a:lnTo>
                  <a:pt x="229" y="243"/>
                </a:lnTo>
                <a:lnTo>
                  <a:pt x="233" y="269"/>
                </a:lnTo>
                <a:lnTo>
                  <a:pt x="240" y="291"/>
                </a:lnTo>
                <a:lnTo>
                  <a:pt x="240" y="292"/>
                </a:lnTo>
                <a:lnTo>
                  <a:pt x="240" y="292"/>
                </a:lnTo>
                <a:lnTo>
                  <a:pt x="236" y="295"/>
                </a:lnTo>
                <a:lnTo>
                  <a:pt x="232" y="298"/>
                </a:lnTo>
                <a:lnTo>
                  <a:pt x="229" y="302"/>
                </a:lnTo>
                <a:lnTo>
                  <a:pt x="227" y="307"/>
                </a:lnTo>
                <a:lnTo>
                  <a:pt x="224" y="318"/>
                </a:lnTo>
                <a:lnTo>
                  <a:pt x="223" y="331"/>
                </a:lnTo>
                <a:lnTo>
                  <a:pt x="223" y="337"/>
                </a:lnTo>
                <a:lnTo>
                  <a:pt x="224" y="343"/>
                </a:lnTo>
                <a:lnTo>
                  <a:pt x="226" y="350"/>
                </a:lnTo>
                <a:lnTo>
                  <a:pt x="228" y="355"/>
                </a:lnTo>
                <a:lnTo>
                  <a:pt x="231" y="360"/>
                </a:lnTo>
                <a:lnTo>
                  <a:pt x="235" y="364"/>
                </a:lnTo>
                <a:lnTo>
                  <a:pt x="237" y="368"/>
                </a:lnTo>
                <a:lnTo>
                  <a:pt x="242" y="370"/>
                </a:lnTo>
                <a:lnTo>
                  <a:pt x="244" y="390"/>
                </a:lnTo>
                <a:lnTo>
                  <a:pt x="249" y="406"/>
                </a:lnTo>
                <a:lnTo>
                  <a:pt x="254" y="422"/>
                </a:lnTo>
                <a:lnTo>
                  <a:pt x="260" y="433"/>
                </a:lnTo>
                <a:lnTo>
                  <a:pt x="267" y="442"/>
                </a:lnTo>
                <a:lnTo>
                  <a:pt x="274" y="450"/>
                </a:lnTo>
                <a:lnTo>
                  <a:pt x="281" y="455"/>
                </a:lnTo>
                <a:lnTo>
                  <a:pt x="287" y="459"/>
                </a:lnTo>
                <a:lnTo>
                  <a:pt x="287" y="519"/>
                </a:lnTo>
                <a:lnTo>
                  <a:pt x="272" y="524"/>
                </a:lnTo>
                <a:lnTo>
                  <a:pt x="256" y="530"/>
                </a:lnTo>
                <a:lnTo>
                  <a:pt x="241" y="535"/>
                </a:lnTo>
                <a:lnTo>
                  <a:pt x="226" y="540"/>
                </a:lnTo>
                <a:lnTo>
                  <a:pt x="193" y="550"/>
                </a:lnTo>
                <a:lnTo>
                  <a:pt x="161" y="562"/>
                </a:lnTo>
                <a:lnTo>
                  <a:pt x="133" y="573"/>
                </a:lnTo>
                <a:lnTo>
                  <a:pt x="110" y="586"/>
                </a:lnTo>
                <a:lnTo>
                  <a:pt x="100" y="573"/>
                </a:lnTo>
                <a:lnTo>
                  <a:pt x="89" y="562"/>
                </a:lnTo>
                <a:lnTo>
                  <a:pt x="80" y="549"/>
                </a:lnTo>
                <a:lnTo>
                  <a:pt x="73" y="536"/>
                </a:lnTo>
                <a:lnTo>
                  <a:pt x="65" y="523"/>
                </a:lnTo>
                <a:lnTo>
                  <a:pt x="57" y="509"/>
                </a:lnTo>
                <a:lnTo>
                  <a:pt x="51" y="495"/>
                </a:lnTo>
                <a:lnTo>
                  <a:pt x="46" y="481"/>
                </a:lnTo>
                <a:lnTo>
                  <a:pt x="41" y="467"/>
                </a:lnTo>
                <a:lnTo>
                  <a:pt x="35" y="453"/>
                </a:lnTo>
                <a:lnTo>
                  <a:pt x="32" y="437"/>
                </a:lnTo>
                <a:lnTo>
                  <a:pt x="29" y="422"/>
                </a:lnTo>
                <a:lnTo>
                  <a:pt x="26" y="408"/>
                </a:lnTo>
                <a:lnTo>
                  <a:pt x="25" y="392"/>
                </a:lnTo>
                <a:lnTo>
                  <a:pt x="24" y="377"/>
                </a:lnTo>
                <a:lnTo>
                  <a:pt x="23" y="360"/>
                </a:lnTo>
                <a:lnTo>
                  <a:pt x="24" y="343"/>
                </a:lnTo>
                <a:lnTo>
                  <a:pt x="25" y="327"/>
                </a:lnTo>
                <a:lnTo>
                  <a:pt x="26" y="310"/>
                </a:lnTo>
                <a:lnTo>
                  <a:pt x="30" y="293"/>
                </a:lnTo>
                <a:lnTo>
                  <a:pt x="34" y="277"/>
                </a:lnTo>
                <a:lnTo>
                  <a:pt x="38" y="261"/>
                </a:lnTo>
                <a:lnTo>
                  <a:pt x="43" y="244"/>
                </a:lnTo>
                <a:lnTo>
                  <a:pt x="50" y="230"/>
                </a:lnTo>
                <a:lnTo>
                  <a:pt x="56" y="215"/>
                </a:lnTo>
                <a:lnTo>
                  <a:pt x="64" y="201"/>
                </a:lnTo>
                <a:lnTo>
                  <a:pt x="71" y="187"/>
                </a:lnTo>
                <a:lnTo>
                  <a:pt x="80" y="173"/>
                </a:lnTo>
                <a:lnTo>
                  <a:pt x="91" y="160"/>
                </a:lnTo>
                <a:lnTo>
                  <a:pt x="100" y="147"/>
                </a:lnTo>
                <a:lnTo>
                  <a:pt x="111" y="134"/>
                </a:lnTo>
                <a:lnTo>
                  <a:pt x="122" y="122"/>
                </a:lnTo>
                <a:lnTo>
                  <a:pt x="133" y="112"/>
                </a:lnTo>
                <a:lnTo>
                  <a:pt x="146" y="101"/>
                </a:lnTo>
                <a:lnTo>
                  <a:pt x="159" y="92"/>
                </a:lnTo>
                <a:lnTo>
                  <a:pt x="172" y="81"/>
                </a:lnTo>
                <a:lnTo>
                  <a:pt x="186" y="72"/>
                </a:lnTo>
                <a:lnTo>
                  <a:pt x="200" y="65"/>
                </a:lnTo>
                <a:lnTo>
                  <a:pt x="214" y="57"/>
                </a:lnTo>
                <a:lnTo>
                  <a:pt x="229" y="51"/>
                </a:lnTo>
                <a:lnTo>
                  <a:pt x="244" y="44"/>
                </a:lnTo>
                <a:lnTo>
                  <a:pt x="260" y="39"/>
                </a:lnTo>
                <a:lnTo>
                  <a:pt x="276" y="35"/>
                </a:lnTo>
                <a:lnTo>
                  <a:pt x="292" y="31"/>
                </a:lnTo>
                <a:lnTo>
                  <a:pt x="309" y="27"/>
                </a:lnTo>
                <a:lnTo>
                  <a:pt x="326" y="26"/>
                </a:lnTo>
                <a:lnTo>
                  <a:pt x="342" y="25"/>
                </a:lnTo>
                <a:lnTo>
                  <a:pt x="359" y="24"/>
                </a:lnTo>
                <a:lnTo>
                  <a:pt x="377" y="25"/>
                </a:lnTo>
                <a:lnTo>
                  <a:pt x="394" y="26"/>
                </a:lnTo>
                <a:lnTo>
                  <a:pt x="410" y="27"/>
                </a:lnTo>
                <a:lnTo>
                  <a:pt x="427" y="31"/>
                </a:lnTo>
                <a:lnTo>
                  <a:pt x="444" y="35"/>
                </a:lnTo>
                <a:lnTo>
                  <a:pt x="459" y="39"/>
                </a:lnTo>
                <a:lnTo>
                  <a:pt x="475" y="44"/>
                </a:lnTo>
                <a:lnTo>
                  <a:pt x="490" y="51"/>
                </a:lnTo>
                <a:lnTo>
                  <a:pt x="506" y="57"/>
                </a:lnTo>
                <a:lnTo>
                  <a:pt x="520" y="65"/>
                </a:lnTo>
                <a:lnTo>
                  <a:pt x="534" y="72"/>
                </a:lnTo>
                <a:lnTo>
                  <a:pt x="548" y="81"/>
                </a:lnTo>
                <a:lnTo>
                  <a:pt x="561" y="92"/>
                </a:lnTo>
                <a:lnTo>
                  <a:pt x="574" y="101"/>
                </a:lnTo>
                <a:lnTo>
                  <a:pt x="586" y="112"/>
                </a:lnTo>
                <a:lnTo>
                  <a:pt x="598" y="122"/>
                </a:lnTo>
                <a:lnTo>
                  <a:pt x="608" y="134"/>
                </a:lnTo>
                <a:lnTo>
                  <a:pt x="620" y="147"/>
                </a:lnTo>
                <a:lnTo>
                  <a:pt x="629" y="160"/>
                </a:lnTo>
                <a:lnTo>
                  <a:pt x="639" y="173"/>
                </a:lnTo>
                <a:lnTo>
                  <a:pt x="648" y="187"/>
                </a:lnTo>
                <a:lnTo>
                  <a:pt x="656" y="201"/>
                </a:lnTo>
                <a:lnTo>
                  <a:pt x="663" y="215"/>
                </a:lnTo>
                <a:lnTo>
                  <a:pt x="670" y="230"/>
                </a:lnTo>
                <a:lnTo>
                  <a:pt x="676" y="244"/>
                </a:lnTo>
                <a:lnTo>
                  <a:pt x="681" y="261"/>
                </a:lnTo>
                <a:lnTo>
                  <a:pt x="685" y="277"/>
                </a:lnTo>
                <a:lnTo>
                  <a:pt x="689" y="293"/>
                </a:lnTo>
                <a:lnTo>
                  <a:pt x="692" y="310"/>
                </a:lnTo>
                <a:lnTo>
                  <a:pt x="694" y="327"/>
                </a:lnTo>
                <a:lnTo>
                  <a:pt x="696" y="343"/>
                </a:lnTo>
                <a:lnTo>
                  <a:pt x="697" y="360"/>
                </a:lnTo>
                <a:lnTo>
                  <a:pt x="696" y="377"/>
                </a:lnTo>
                <a:lnTo>
                  <a:pt x="694" y="392"/>
                </a:lnTo>
                <a:lnTo>
                  <a:pt x="693" y="408"/>
                </a:lnTo>
                <a:lnTo>
                  <a:pt x="690" y="422"/>
                </a:lnTo>
                <a:lnTo>
                  <a:pt x="688" y="437"/>
                </a:lnTo>
                <a:lnTo>
                  <a:pt x="684" y="453"/>
                </a:lnTo>
                <a:lnTo>
                  <a:pt x="679" y="467"/>
                </a:lnTo>
                <a:lnTo>
                  <a:pt x="674" y="481"/>
                </a:lnTo>
                <a:lnTo>
                  <a:pt x="669" y="495"/>
                </a:lnTo>
                <a:lnTo>
                  <a:pt x="662" y="509"/>
                </a:lnTo>
                <a:lnTo>
                  <a:pt x="654" y="523"/>
                </a:lnTo>
                <a:lnTo>
                  <a:pt x="647" y="536"/>
                </a:lnTo>
                <a:lnTo>
                  <a:pt x="639" y="549"/>
                </a:lnTo>
                <a:lnTo>
                  <a:pt x="630" y="562"/>
                </a:lnTo>
                <a:lnTo>
                  <a:pt x="620" y="573"/>
                </a:lnTo>
                <a:lnTo>
                  <a:pt x="610" y="585"/>
                </a:lnTo>
                <a:close/>
                <a:moveTo>
                  <a:pt x="359" y="0"/>
                </a:moveTo>
                <a:lnTo>
                  <a:pt x="341" y="0"/>
                </a:lnTo>
                <a:lnTo>
                  <a:pt x="323" y="2"/>
                </a:lnTo>
                <a:lnTo>
                  <a:pt x="305" y="4"/>
                </a:lnTo>
                <a:lnTo>
                  <a:pt x="287" y="7"/>
                </a:lnTo>
                <a:lnTo>
                  <a:pt x="269" y="12"/>
                </a:lnTo>
                <a:lnTo>
                  <a:pt x="253" y="16"/>
                </a:lnTo>
                <a:lnTo>
                  <a:pt x="236" y="22"/>
                </a:lnTo>
                <a:lnTo>
                  <a:pt x="219" y="29"/>
                </a:lnTo>
                <a:lnTo>
                  <a:pt x="204" y="35"/>
                </a:lnTo>
                <a:lnTo>
                  <a:pt x="188" y="44"/>
                </a:lnTo>
                <a:lnTo>
                  <a:pt x="173" y="52"/>
                </a:lnTo>
                <a:lnTo>
                  <a:pt x="159" y="62"/>
                </a:lnTo>
                <a:lnTo>
                  <a:pt x="145" y="72"/>
                </a:lnTo>
                <a:lnTo>
                  <a:pt x="131" y="83"/>
                </a:lnTo>
                <a:lnTo>
                  <a:pt x="118" y="94"/>
                </a:lnTo>
                <a:lnTo>
                  <a:pt x="105" y="106"/>
                </a:lnTo>
                <a:lnTo>
                  <a:pt x="93" y="119"/>
                </a:lnTo>
                <a:lnTo>
                  <a:pt x="82" y="131"/>
                </a:lnTo>
                <a:lnTo>
                  <a:pt x="71" y="146"/>
                </a:lnTo>
                <a:lnTo>
                  <a:pt x="61" y="160"/>
                </a:lnTo>
                <a:lnTo>
                  <a:pt x="51" y="174"/>
                </a:lnTo>
                <a:lnTo>
                  <a:pt x="43" y="189"/>
                </a:lnTo>
                <a:lnTo>
                  <a:pt x="34" y="205"/>
                </a:lnTo>
                <a:lnTo>
                  <a:pt x="28" y="220"/>
                </a:lnTo>
                <a:lnTo>
                  <a:pt x="21" y="237"/>
                </a:lnTo>
                <a:lnTo>
                  <a:pt x="15" y="253"/>
                </a:lnTo>
                <a:lnTo>
                  <a:pt x="11" y="270"/>
                </a:lnTo>
                <a:lnTo>
                  <a:pt x="6" y="288"/>
                </a:lnTo>
                <a:lnTo>
                  <a:pt x="3" y="306"/>
                </a:lnTo>
                <a:lnTo>
                  <a:pt x="1" y="324"/>
                </a:lnTo>
                <a:lnTo>
                  <a:pt x="0" y="342"/>
                </a:lnTo>
                <a:lnTo>
                  <a:pt x="0" y="360"/>
                </a:lnTo>
                <a:lnTo>
                  <a:pt x="0" y="378"/>
                </a:lnTo>
                <a:lnTo>
                  <a:pt x="1" y="395"/>
                </a:lnTo>
                <a:lnTo>
                  <a:pt x="3" y="413"/>
                </a:lnTo>
                <a:lnTo>
                  <a:pt x="6" y="429"/>
                </a:lnTo>
                <a:lnTo>
                  <a:pt x="10" y="446"/>
                </a:lnTo>
                <a:lnTo>
                  <a:pt x="14" y="463"/>
                </a:lnTo>
                <a:lnTo>
                  <a:pt x="19" y="478"/>
                </a:lnTo>
                <a:lnTo>
                  <a:pt x="25" y="495"/>
                </a:lnTo>
                <a:lnTo>
                  <a:pt x="32" y="510"/>
                </a:lnTo>
                <a:lnTo>
                  <a:pt x="39" y="526"/>
                </a:lnTo>
                <a:lnTo>
                  <a:pt x="47" y="540"/>
                </a:lnTo>
                <a:lnTo>
                  <a:pt x="56" y="555"/>
                </a:lnTo>
                <a:lnTo>
                  <a:pt x="65" y="569"/>
                </a:lnTo>
                <a:lnTo>
                  <a:pt x="75" y="582"/>
                </a:lnTo>
                <a:lnTo>
                  <a:pt x="87" y="596"/>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113" y="622"/>
                </a:lnTo>
                <a:lnTo>
                  <a:pt x="127" y="635"/>
                </a:lnTo>
                <a:lnTo>
                  <a:pt x="141" y="645"/>
                </a:lnTo>
                <a:lnTo>
                  <a:pt x="156" y="657"/>
                </a:lnTo>
                <a:lnTo>
                  <a:pt x="172" y="666"/>
                </a:lnTo>
                <a:lnTo>
                  <a:pt x="187" y="676"/>
                </a:lnTo>
                <a:lnTo>
                  <a:pt x="204" y="684"/>
                </a:lnTo>
                <a:lnTo>
                  <a:pt x="220" y="691"/>
                </a:lnTo>
                <a:lnTo>
                  <a:pt x="237" y="698"/>
                </a:lnTo>
                <a:lnTo>
                  <a:pt x="254" y="704"/>
                </a:lnTo>
                <a:lnTo>
                  <a:pt x="272" y="709"/>
                </a:lnTo>
                <a:lnTo>
                  <a:pt x="288" y="713"/>
                </a:lnTo>
                <a:lnTo>
                  <a:pt x="306" y="717"/>
                </a:lnTo>
                <a:lnTo>
                  <a:pt x="324" y="720"/>
                </a:lnTo>
                <a:lnTo>
                  <a:pt x="342" y="721"/>
                </a:lnTo>
                <a:lnTo>
                  <a:pt x="359" y="721"/>
                </a:lnTo>
                <a:lnTo>
                  <a:pt x="377" y="721"/>
                </a:lnTo>
                <a:lnTo>
                  <a:pt x="395" y="720"/>
                </a:lnTo>
                <a:lnTo>
                  <a:pt x="413" y="717"/>
                </a:lnTo>
                <a:lnTo>
                  <a:pt x="431" y="713"/>
                </a:lnTo>
                <a:lnTo>
                  <a:pt x="448" y="709"/>
                </a:lnTo>
                <a:lnTo>
                  <a:pt x="466" y="704"/>
                </a:lnTo>
                <a:lnTo>
                  <a:pt x="482" y="698"/>
                </a:lnTo>
                <a:lnTo>
                  <a:pt x="499" y="691"/>
                </a:lnTo>
                <a:lnTo>
                  <a:pt x="516" y="684"/>
                </a:lnTo>
                <a:lnTo>
                  <a:pt x="532" y="676"/>
                </a:lnTo>
                <a:lnTo>
                  <a:pt x="549" y="666"/>
                </a:lnTo>
                <a:lnTo>
                  <a:pt x="565" y="657"/>
                </a:lnTo>
                <a:lnTo>
                  <a:pt x="579" y="645"/>
                </a:lnTo>
                <a:lnTo>
                  <a:pt x="594" y="635"/>
                </a:lnTo>
                <a:lnTo>
                  <a:pt x="607" y="622"/>
                </a:lnTo>
                <a:lnTo>
                  <a:pt x="621" y="609"/>
                </a:lnTo>
                <a:lnTo>
                  <a:pt x="621" y="609"/>
                </a:lnTo>
                <a:lnTo>
                  <a:pt x="621" y="609"/>
                </a:lnTo>
                <a:lnTo>
                  <a:pt x="633" y="596"/>
                </a:lnTo>
                <a:lnTo>
                  <a:pt x="643" y="584"/>
                </a:lnTo>
                <a:lnTo>
                  <a:pt x="653" y="569"/>
                </a:lnTo>
                <a:lnTo>
                  <a:pt x="663" y="555"/>
                </a:lnTo>
                <a:lnTo>
                  <a:pt x="672" y="540"/>
                </a:lnTo>
                <a:lnTo>
                  <a:pt x="680" y="526"/>
                </a:lnTo>
                <a:lnTo>
                  <a:pt x="688" y="510"/>
                </a:lnTo>
                <a:lnTo>
                  <a:pt x="694" y="495"/>
                </a:lnTo>
                <a:lnTo>
                  <a:pt x="701" y="478"/>
                </a:lnTo>
                <a:lnTo>
                  <a:pt x="706" y="463"/>
                </a:lnTo>
                <a:lnTo>
                  <a:pt x="710" y="446"/>
                </a:lnTo>
                <a:lnTo>
                  <a:pt x="714" y="429"/>
                </a:lnTo>
                <a:lnTo>
                  <a:pt x="716" y="413"/>
                </a:lnTo>
                <a:lnTo>
                  <a:pt x="719" y="395"/>
                </a:lnTo>
                <a:lnTo>
                  <a:pt x="720" y="378"/>
                </a:lnTo>
                <a:lnTo>
                  <a:pt x="720" y="360"/>
                </a:lnTo>
                <a:lnTo>
                  <a:pt x="720" y="342"/>
                </a:lnTo>
                <a:lnTo>
                  <a:pt x="719" y="324"/>
                </a:lnTo>
                <a:lnTo>
                  <a:pt x="716" y="306"/>
                </a:lnTo>
                <a:lnTo>
                  <a:pt x="714" y="288"/>
                </a:lnTo>
                <a:lnTo>
                  <a:pt x="708" y="270"/>
                </a:lnTo>
                <a:lnTo>
                  <a:pt x="705" y="253"/>
                </a:lnTo>
                <a:lnTo>
                  <a:pt x="698" y="237"/>
                </a:lnTo>
                <a:lnTo>
                  <a:pt x="692" y="220"/>
                </a:lnTo>
                <a:lnTo>
                  <a:pt x="685" y="205"/>
                </a:lnTo>
                <a:lnTo>
                  <a:pt x="676" y="189"/>
                </a:lnTo>
                <a:lnTo>
                  <a:pt x="669" y="174"/>
                </a:lnTo>
                <a:lnTo>
                  <a:pt x="658" y="160"/>
                </a:lnTo>
                <a:lnTo>
                  <a:pt x="648" y="146"/>
                </a:lnTo>
                <a:lnTo>
                  <a:pt x="638" y="131"/>
                </a:lnTo>
                <a:lnTo>
                  <a:pt x="626" y="119"/>
                </a:lnTo>
                <a:lnTo>
                  <a:pt x="615" y="106"/>
                </a:lnTo>
                <a:lnTo>
                  <a:pt x="602" y="94"/>
                </a:lnTo>
                <a:lnTo>
                  <a:pt x="589" y="83"/>
                </a:lnTo>
                <a:lnTo>
                  <a:pt x="575" y="72"/>
                </a:lnTo>
                <a:lnTo>
                  <a:pt x="561" y="62"/>
                </a:lnTo>
                <a:lnTo>
                  <a:pt x="547" y="52"/>
                </a:lnTo>
                <a:lnTo>
                  <a:pt x="531" y="44"/>
                </a:lnTo>
                <a:lnTo>
                  <a:pt x="516" y="35"/>
                </a:lnTo>
                <a:lnTo>
                  <a:pt x="500" y="29"/>
                </a:lnTo>
                <a:lnTo>
                  <a:pt x="484" y="22"/>
                </a:lnTo>
                <a:lnTo>
                  <a:pt x="467" y="16"/>
                </a:lnTo>
                <a:lnTo>
                  <a:pt x="450" y="12"/>
                </a:lnTo>
                <a:lnTo>
                  <a:pt x="432" y="7"/>
                </a:lnTo>
                <a:lnTo>
                  <a:pt x="414" y="4"/>
                </a:lnTo>
                <a:lnTo>
                  <a:pt x="396" y="2"/>
                </a:lnTo>
                <a:lnTo>
                  <a:pt x="378" y="0"/>
                </a:lnTo>
                <a:lnTo>
                  <a:pt x="359"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 name="Group 39">
            <a:extLst>
              <a:ext uri="{FF2B5EF4-FFF2-40B4-BE49-F238E27FC236}">
                <a16:creationId xmlns:a16="http://schemas.microsoft.com/office/drawing/2014/main" id="{8A00571E-411D-4C15-B2ED-14DFD645F7A4}"/>
              </a:ext>
            </a:extLst>
          </p:cNvPr>
          <p:cNvGrpSpPr/>
          <p:nvPr/>
        </p:nvGrpSpPr>
        <p:grpSpPr>
          <a:xfrm>
            <a:off x="907856" y="2913543"/>
            <a:ext cx="5001650" cy="492443"/>
            <a:chOff x="2562895" y="1927159"/>
            <a:chExt cx="5001650" cy="492443"/>
          </a:xfrm>
        </p:grpSpPr>
        <p:sp>
          <p:nvSpPr>
            <p:cNvPr id="41" name="Freeform 4460">
              <a:extLst>
                <a:ext uri="{FF2B5EF4-FFF2-40B4-BE49-F238E27FC236}">
                  <a16:creationId xmlns:a16="http://schemas.microsoft.com/office/drawing/2014/main" id="{70C96CB5-C54F-488C-B924-7C1EFA0EFD2B}"/>
                </a:ext>
              </a:extLst>
            </p:cNvPr>
            <p:cNvSpPr>
              <a:spLocks noEditPoints="1"/>
            </p:cNvSpPr>
            <p:nvPr/>
          </p:nvSpPr>
          <p:spPr bwMode="auto">
            <a:xfrm>
              <a:off x="2562895" y="1967272"/>
              <a:ext cx="355600" cy="355600"/>
            </a:xfrm>
            <a:custGeom>
              <a:avLst/>
              <a:gdLst>
                <a:gd name="T0" fmla="*/ 371 w 718"/>
                <a:gd name="T1" fmla="*/ 473 h 718"/>
                <a:gd name="T2" fmla="*/ 359 w 718"/>
                <a:gd name="T3" fmla="*/ 478 h 718"/>
                <a:gd name="T4" fmla="*/ 346 w 718"/>
                <a:gd name="T5" fmla="*/ 473 h 718"/>
                <a:gd name="T6" fmla="*/ 344 w 718"/>
                <a:gd name="T7" fmla="*/ 371 h 718"/>
                <a:gd name="T8" fmla="*/ 353 w 718"/>
                <a:gd name="T9" fmla="*/ 361 h 718"/>
                <a:gd name="T10" fmla="*/ 381 w 718"/>
                <a:gd name="T11" fmla="*/ 356 h 718"/>
                <a:gd name="T12" fmla="*/ 412 w 718"/>
                <a:gd name="T13" fmla="*/ 337 h 718"/>
                <a:gd name="T14" fmla="*/ 430 w 718"/>
                <a:gd name="T15" fmla="*/ 307 h 718"/>
                <a:gd name="T16" fmla="*/ 432 w 718"/>
                <a:gd name="T17" fmla="*/ 270 h 718"/>
                <a:gd name="T18" fmla="*/ 417 w 718"/>
                <a:gd name="T19" fmla="*/ 238 h 718"/>
                <a:gd name="T20" fmla="*/ 388 w 718"/>
                <a:gd name="T21" fmla="*/ 215 h 718"/>
                <a:gd name="T22" fmla="*/ 352 w 718"/>
                <a:gd name="T23" fmla="*/ 210 h 718"/>
                <a:gd name="T24" fmla="*/ 318 w 718"/>
                <a:gd name="T25" fmla="*/ 223 h 718"/>
                <a:gd name="T26" fmla="*/ 293 w 718"/>
                <a:gd name="T27" fmla="*/ 249 h 718"/>
                <a:gd name="T28" fmla="*/ 284 w 718"/>
                <a:gd name="T29" fmla="*/ 285 h 718"/>
                <a:gd name="T30" fmla="*/ 278 w 718"/>
                <a:gd name="T31" fmla="*/ 298 h 718"/>
                <a:gd name="T32" fmla="*/ 263 w 718"/>
                <a:gd name="T33" fmla="*/ 299 h 718"/>
                <a:gd name="T34" fmla="*/ 254 w 718"/>
                <a:gd name="T35" fmla="*/ 288 h 718"/>
                <a:gd name="T36" fmla="*/ 263 w 718"/>
                <a:gd name="T37" fmla="*/ 244 h 718"/>
                <a:gd name="T38" fmla="*/ 292 w 718"/>
                <a:gd name="T39" fmla="*/ 205 h 718"/>
                <a:gd name="T40" fmla="*/ 338 w 718"/>
                <a:gd name="T41" fmla="*/ 182 h 718"/>
                <a:gd name="T42" fmla="*/ 390 w 718"/>
                <a:gd name="T43" fmla="*/ 184 h 718"/>
                <a:gd name="T44" fmla="*/ 433 w 718"/>
                <a:gd name="T45" fmla="*/ 211 h 718"/>
                <a:gd name="T46" fmla="*/ 459 w 718"/>
                <a:gd name="T47" fmla="*/ 254 h 718"/>
                <a:gd name="T48" fmla="*/ 462 w 718"/>
                <a:gd name="T49" fmla="*/ 304 h 718"/>
                <a:gd name="T50" fmla="*/ 444 w 718"/>
                <a:gd name="T51" fmla="*/ 347 h 718"/>
                <a:gd name="T52" fmla="*/ 410 w 718"/>
                <a:gd name="T53" fmla="*/ 377 h 718"/>
                <a:gd name="T54" fmla="*/ 359 w 718"/>
                <a:gd name="T55" fmla="*/ 576 h 718"/>
                <a:gd name="T56" fmla="*/ 328 w 718"/>
                <a:gd name="T57" fmla="*/ 560 h 718"/>
                <a:gd name="T58" fmla="*/ 324 w 718"/>
                <a:gd name="T59" fmla="*/ 524 h 718"/>
                <a:gd name="T60" fmla="*/ 352 w 718"/>
                <a:gd name="T61" fmla="*/ 502 h 718"/>
                <a:gd name="T62" fmla="*/ 385 w 718"/>
                <a:gd name="T63" fmla="*/ 513 h 718"/>
                <a:gd name="T64" fmla="*/ 396 w 718"/>
                <a:gd name="T65" fmla="*/ 546 h 718"/>
                <a:gd name="T66" fmla="*/ 373 w 718"/>
                <a:gd name="T67" fmla="*/ 574 h 718"/>
                <a:gd name="T68" fmla="*/ 322 w 718"/>
                <a:gd name="T69" fmla="*/ 2 h 718"/>
                <a:gd name="T70" fmla="*/ 235 w 718"/>
                <a:gd name="T71" fmla="*/ 23 h 718"/>
                <a:gd name="T72" fmla="*/ 158 w 718"/>
                <a:gd name="T73" fmla="*/ 62 h 718"/>
                <a:gd name="T74" fmla="*/ 93 w 718"/>
                <a:gd name="T75" fmla="*/ 118 h 718"/>
                <a:gd name="T76" fmla="*/ 44 w 718"/>
                <a:gd name="T77" fmla="*/ 188 h 718"/>
                <a:gd name="T78" fmla="*/ 11 w 718"/>
                <a:gd name="T79" fmla="*/ 270 h 718"/>
                <a:gd name="T80" fmla="*/ 0 w 718"/>
                <a:gd name="T81" fmla="*/ 360 h 718"/>
                <a:gd name="T82" fmla="*/ 11 w 718"/>
                <a:gd name="T83" fmla="*/ 450 h 718"/>
                <a:gd name="T84" fmla="*/ 44 w 718"/>
                <a:gd name="T85" fmla="*/ 531 h 718"/>
                <a:gd name="T86" fmla="*/ 93 w 718"/>
                <a:gd name="T87" fmla="*/ 600 h 718"/>
                <a:gd name="T88" fmla="*/ 158 w 718"/>
                <a:gd name="T89" fmla="*/ 657 h 718"/>
                <a:gd name="T90" fmla="*/ 235 w 718"/>
                <a:gd name="T91" fmla="*/ 697 h 718"/>
                <a:gd name="T92" fmla="*/ 322 w 718"/>
                <a:gd name="T93" fmla="*/ 716 h 718"/>
                <a:gd name="T94" fmla="*/ 414 w 718"/>
                <a:gd name="T95" fmla="*/ 714 h 718"/>
                <a:gd name="T96" fmla="*/ 498 w 718"/>
                <a:gd name="T97" fmla="*/ 690 h 718"/>
                <a:gd name="T98" fmla="*/ 573 w 718"/>
                <a:gd name="T99" fmla="*/ 647 h 718"/>
                <a:gd name="T100" fmla="*/ 635 w 718"/>
                <a:gd name="T101" fmla="*/ 588 h 718"/>
                <a:gd name="T102" fmla="*/ 682 w 718"/>
                <a:gd name="T103" fmla="*/ 515 h 718"/>
                <a:gd name="T104" fmla="*/ 710 w 718"/>
                <a:gd name="T105" fmla="*/ 431 h 718"/>
                <a:gd name="T106" fmla="*/ 718 w 718"/>
                <a:gd name="T107" fmla="*/ 340 h 718"/>
                <a:gd name="T108" fmla="*/ 702 w 718"/>
                <a:gd name="T109" fmla="*/ 253 h 718"/>
                <a:gd name="T110" fmla="*/ 665 w 718"/>
                <a:gd name="T111" fmla="*/ 174 h 718"/>
                <a:gd name="T112" fmla="*/ 613 w 718"/>
                <a:gd name="T113" fmla="*/ 106 h 718"/>
                <a:gd name="T114" fmla="*/ 544 w 718"/>
                <a:gd name="T115" fmla="*/ 53 h 718"/>
                <a:gd name="T116" fmla="*/ 465 w 718"/>
                <a:gd name="T117" fmla="*/ 16 h 718"/>
                <a:gd name="T118" fmla="*/ 377 w 718"/>
                <a:gd name="T119" fmla="*/ 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8" h="718">
                  <a:moveTo>
                    <a:pt x="374" y="390"/>
                  </a:moveTo>
                  <a:lnTo>
                    <a:pt x="374" y="463"/>
                  </a:lnTo>
                  <a:lnTo>
                    <a:pt x="373" y="467"/>
                  </a:lnTo>
                  <a:lnTo>
                    <a:pt x="373" y="470"/>
                  </a:lnTo>
                  <a:lnTo>
                    <a:pt x="371" y="473"/>
                  </a:lnTo>
                  <a:lnTo>
                    <a:pt x="370" y="475"/>
                  </a:lnTo>
                  <a:lnTo>
                    <a:pt x="367" y="476"/>
                  </a:lnTo>
                  <a:lnTo>
                    <a:pt x="365" y="477"/>
                  </a:lnTo>
                  <a:lnTo>
                    <a:pt x="361" y="478"/>
                  </a:lnTo>
                  <a:lnTo>
                    <a:pt x="359" y="478"/>
                  </a:lnTo>
                  <a:lnTo>
                    <a:pt x="356" y="478"/>
                  </a:lnTo>
                  <a:lnTo>
                    <a:pt x="353" y="477"/>
                  </a:lnTo>
                  <a:lnTo>
                    <a:pt x="351" y="476"/>
                  </a:lnTo>
                  <a:lnTo>
                    <a:pt x="349" y="475"/>
                  </a:lnTo>
                  <a:lnTo>
                    <a:pt x="346" y="473"/>
                  </a:lnTo>
                  <a:lnTo>
                    <a:pt x="345" y="470"/>
                  </a:lnTo>
                  <a:lnTo>
                    <a:pt x="344" y="467"/>
                  </a:lnTo>
                  <a:lnTo>
                    <a:pt x="344" y="463"/>
                  </a:lnTo>
                  <a:lnTo>
                    <a:pt x="344" y="375"/>
                  </a:lnTo>
                  <a:lnTo>
                    <a:pt x="344" y="371"/>
                  </a:lnTo>
                  <a:lnTo>
                    <a:pt x="345" y="368"/>
                  </a:lnTo>
                  <a:lnTo>
                    <a:pt x="346" y="366"/>
                  </a:lnTo>
                  <a:lnTo>
                    <a:pt x="349" y="364"/>
                  </a:lnTo>
                  <a:lnTo>
                    <a:pt x="351" y="362"/>
                  </a:lnTo>
                  <a:lnTo>
                    <a:pt x="353" y="361"/>
                  </a:lnTo>
                  <a:lnTo>
                    <a:pt x="356" y="360"/>
                  </a:lnTo>
                  <a:lnTo>
                    <a:pt x="359" y="360"/>
                  </a:lnTo>
                  <a:lnTo>
                    <a:pt x="367" y="359"/>
                  </a:lnTo>
                  <a:lnTo>
                    <a:pt x="374" y="358"/>
                  </a:lnTo>
                  <a:lnTo>
                    <a:pt x="381" y="356"/>
                  </a:lnTo>
                  <a:lnTo>
                    <a:pt x="388" y="353"/>
                  </a:lnTo>
                  <a:lnTo>
                    <a:pt x="395" y="350"/>
                  </a:lnTo>
                  <a:lnTo>
                    <a:pt x="401" y="347"/>
                  </a:lnTo>
                  <a:lnTo>
                    <a:pt x="406" y="343"/>
                  </a:lnTo>
                  <a:lnTo>
                    <a:pt x="412" y="337"/>
                  </a:lnTo>
                  <a:lnTo>
                    <a:pt x="417" y="332"/>
                  </a:lnTo>
                  <a:lnTo>
                    <a:pt x="421" y="327"/>
                  </a:lnTo>
                  <a:lnTo>
                    <a:pt x="425" y="320"/>
                  </a:lnTo>
                  <a:lnTo>
                    <a:pt x="428" y="314"/>
                  </a:lnTo>
                  <a:lnTo>
                    <a:pt x="430" y="307"/>
                  </a:lnTo>
                  <a:lnTo>
                    <a:pt x="432" y="300"/>
                  </a:lnTo>
                  <a:lnTo>
                    <a:pt x="433" y="292"/>
                  </a:lnTo>
                  <a:lnTo>
                    <a:pt x="434" y="285"/>
                  </a:lnTo>
                  <a:lnTo>
                    <a:pt x="433" y="277"/>
                  </a:lnTo>
                  <a:lnTo>
                    <a:pt x="432" y="270"/>
                  </a:lnTo>
                  <a:lnTo>
                    <a:pt x="430" y="262"/>
                  </a:lnTo>
                  <a:lnTo>
                    <a:pt x="428" y="256"/>
                  </a:lnTo>
                  <a:lnTo>
                    <a:pt x="425" y="249"/>
                  </a:lnTo>
                  <a:lnTo>
                    <a:pt x="421" y="243"/>
                  </a:lnTo>
                  <a:lnTo>
                    <a:pt x="417" y="238"/>
                  </a:lnTo>
                  <a:lnTo>
                    <a:pt x="412" y="232"/>
                  </a:lnTo>
                  <a:lnTo>
                    <a:pt x="406" y="227"/>
                  </a:lnTo>
                  <a:lnTo>
                    <a:pt x="401" y="223"/>
                  </a:lnTo>
                  <a:lnTo>
                    <a:pt x="395" y="218"/>
                  </a:lnTo>
                  <a:lnTo>
                    <a:pt x="388" y="215"/>
                  </a:lnTo>
                  <a:lnTo>
                    <a:pt x="381" y="213"/>
                  </a:lnTo>
                  <a:lnTo>
                    <a:pt x="374" y="211"/>
                  </a:lnTo>
                  <a:lnTo>
                    <a:pt x="367" y="210"/>
                  </a:lnTo>
                  <a:lnTo>
                    <a:pt x="359" y="210"/>
                  </a:lnTo>
                  <a:lnTo>
                    <a:pt x="352" y="210"/>
                  </a:lnTo>
                  <a:lnTo>
                    <a:pt x="344" y="211"/>
                  </a:lnTo>
                  <a:lnTo>
                    <a:pt x="337" y="213"/>
                  </a:lnTo>
                  <a:lnTo>
                    <a:pt x="329" y="215"/>
                  </a:lnTo>
                  <a:lnTo>
                    <a:pt x="323" y="218"/>
                  </a:lnTo>
                  <a:lnTo>
                    <a:pt x="318" y="223"/>
                  </a:lnTo>
                  <a:lnTo>
                    <a:pt x="311" y="227"/>
                  </a:lnTo>
                  <a:lnTo>
                    <a:pt x="306" y="232"/>
                  </a:lnTo>
                  <a:lnTo>
                    <a:pt x="301" y="238"/>
                  </a:lnTo>
                  <a:lnTo>
                    <a:pt x="297" y="243"/>
                  </a:lnTo>
                  <a:lnTo>
                    <a:pt x="293" y="249"/>
                  </a:lnTo>
                  <a:lnTo>
                    <a:pt x="290" y="256"/>
                  </a:lnTo>
                  <a:lnTo>
                    <a:pt x="288" y="262"/>
                  </a:lnTo>
                  <a:lnTo>
                    <a:pt x="285" y="270"/>
                  </a:lnTo>
                  <a:lnTo>
                    <a:pt x="284" y="277"/>
                  </a:lnTo>
                  <a:lnTo>
                    <a:pt x="284" y="285"/>
                  </a:lnTo>
                  <a:lnTo>
                    <a:pt x="283" y="288"/>
                  </a:lnTo>
                  <a:lnTo>
                    <a:pt x="283" y="290"/>
                  </a:lnTo>
                  <a:lnTo>
                    <a:pt x="281" y="293"/>
                  </a:lnTo>
                  <a:lnTo>
                    <a:pt x="280" y="295"/>
                  </a:lnTo>
                  <a:lnTo>
                    <a:pt x="278" y="298"/>
                  </a:lnTo>
                  <a:lnTo>
                    <a:pt x="275" y="299"/>
                  </a:lnTo>
                  <a:lnTo>
                    <a:pt x="273" y="299"/>
                  </a:lnTo>
                  <a:lnTo>
                    <a:pt x="269" y="300"/>
                  </a:lnTo>
                  <a:lnTo>
                    <a:pt x="266" y="299"/>
                  </a:lnTo>
                  <a:lnTo>
                    <a:pt x="263" y="299"/>
                  </a:lnTo>
                  <a:lnTo>
                    <a:pt x="261" y="298"/>
                  </a:lnTo>
                  <a:lnTo>
                    <a:pt x="259" y="295"/>
                  </a:lnTo>
                  <a:lnTo>
                    <a:pt x="257" y="293"/>
                  </a:lnTo>
                  <a:lnTo>
                    <a:pt x="255" y="290"/>
                  </a:lnTo>
                  <a:lnTo>
                    <a:pt x="254" y="288"/>
                  </a:lnTo>
                  <a:lnTo>
                    <a:pt x="254" y="285"/>
                  </a:lnTo>
                  <a:lnTo>
                    <a:pt x="254" y="274"/>
                  </a:lnTo>
                  <a:lnTo>
                    <a:pt x="257" y="263"/>
                  </a:lnTo>
                  <a:lnTo>
                    <a:pt x="259" y="254"/>
                  </a:lnTo>
                  <a:lnTo>
                    <a:pt x="263" y="244"/>
                  </a:lnTo>
                  <a:lnTo>
                    <a:pt x="267" y="236"/>
                  </a:lnTo>
                  <a:lnTo>
                    <a:pt x="273" y="226"/>
                  </a:lnTo>
                  <a:lnTo>
                    <a:pt x="278" y="218"/>
                  </a:lnTo>
                  <a:lnTo>
                    <a:pt x="285" y="211"/>
                  </a:lnTo>
                  <a:lnTo>
                    <a:pt x="292" y="205"/>
                  </a:lnTo>
                  <a:lnTo>
                    <a:pt x="300" y="198"/>
                  </a:lnTo>
                  <a:lnTo>
                    <a:pt x="309" y="193"/>
                  </a:lnTo>
                  <a:lnTo>
                    <a:pt x="319" y="188"/>
                  </a:lnTo>
                  <a:lnTo>
                    <a:pt x="328" y="184"/>
                  </a:lnTo>
                  <a:lnTo>
                    <a:pt x="338" y="182"/>
                  </a:lnTo>
                  <a:lnTo>
                    <a:pt x="349" y="180"/>
                  </a:lnTo>
                  <a:lnTo>
                    <a:pt x="359" y="180"/>
                  </a:lnTo>
                  <a:lnTo>
                    <a:pt x="370" y="180"/>
                  </a:lnTo>
                  <a:lnTo>
                    <a:pt x="380" y="182"/>
                  </a:lnTo>
                  <a:lnTo>
                    <a:pt x="390" y="184"/>
                  </a:lnTo>
                  <a:lnTo>
                    <a:pt x="400" y="188"/>
                  </a:lnTo>
                  <a:lnTo>
                    <a:pt x="408" y="193"/>
                  </a:lnTo>
                  <a:lnTo>
                    <a:pt x="417" y="198"/>
                  </a:lnTo>
                  <a:lnTo>
                    <a:pt x="426" y="205"/>
                  </a:lnTo>
                  <a:lnTo>
                    <a:pt x="433" y="211"/>
                  </a:lnTo>
                  <a:lnTo>
                    <a:pt x="439" y="218"/>
                  </a:lnTo>
                  <a:lnTo>
                    <a:pt x="446" y="226"/>
                  </a:lnTo>
                  <a:lnTo>
                    <a:pt x="451" y="236"/>
                  </a:lnTo>
                  <a:lnTo>
                    <a:pt x="456" y="244"/>
                  </a:lnTo>
                  <a:lnTo>
                    <a:pt x="459" y="254"/>
                  </a:lnTo>
                  <a:lnTo>
                    <a:pt x="461" y="263"/>
                  </a:lnTo>
                  <a:lnTo>
                    <a:pt x="463" y="274"/>
                  </a:lnTo>
                  <a:lnTo>
                    <a:pt x="463" y="285"/>
                  </a:lnTo>
                  <a:lnTo>
                    <a:pt x="463" y="294"/>
                  </a:lnTo>
                  <a:lnTo>
                    <a:pt x="462" y="304"/>
                  </a:lnTo>
                  <a:lnTo>
                    <a:pt x="460" y="314"/>
                  </a:lnTo>
                  <a:lnTo>
                    <a:pt x="457" y="322"/>
                  </a:lnTo>
                  <a:lnTo>
                    <a:pt x="453" y="331"/>
                  </a:lnTo>
                  <a:lnTo>
                    <a:pt x="448" y="339"/>
                  </a:lnTo>
                  <a:lnTo>
                    <a:pt x="444" y="347"/>
                  </a:lnTo>
                  <a:lnTo>
                    <a:pt x="437" y="354"/>
                  </a:lnTo>
                  <a:lnTo>
                    <a:pt x="431" y="361"/>
                  </a:lnTo>
                  <a:lnTo>
                    <a:pt x="425" y="367"/>
                  </a:lnTo>
                  <a:lnTo>
                    <a:pt x="417" y="373"/>
                  </a:lnTo>
                  <a:lnTo>
                    <a:pt x="410" y="377"/>
                  </a:lnTo>
                  <a:lnTo>
                    <a:pt x="401" y="381"/>
                  </a:lnTo>
                  <a:lnTo>
                    <a:pt x="392" y="384"/>
                  </a:lnTo>
                  <a:lnTo>
                    <a:pt x="383" y="387"/>
                  </a:lnTo>
                  <a:lnTo>
                    <a:pt x="374" y="390"/>
                  </a:lnTo>
                  <a:close/>
                  <a:moveTo>
                    <a:pt x="359" y="576"/>
                  </a:moveTo>
                  <a:lnTo>
                    <a:pt x="352" y="576"/>
                  </a:lnTo>
                  <a:lnTo>
                    <a:pt x="344" y="574"/>
                  </a:lnTo>
                  <a:lnTo>
                    <a:pt x="338" y="569"/>
                  </a:lnTo>
                  <a:lnTo>
                    <a:pt x="332" y="565"/>
                  </a:lnTo>
                  <a:lnTo>
                    <a:pt x="328" y="560"/>
                  </a:lnTo>
                  <a:lnTo>
                    <a:pt x="324" y="553"/>
                  </a:lnTo>
                  <a:lnTo>
                    <a:pt x="322" y="546"/>
                  </a:lnTo>
                  <a:lnTo>
                    <a:pt x="322" y="538"/>
                  </a:lnTo>
                  <a:lnTo>
                    <a:pt x="322" y="532"/>
                  </a:lnTo>
                  <a:lnTo>
                    <a:pt x="324" y="524"/>
                  </a:lnTo>
                  <a:lnTo>
                    <a:pt x="328" y="518"/>
                  </a:lnTo>
                  <a:lnTo>
                    <a:pt x="332" y="513"/>
                  </a:lnTo>
                  <a:lnTo>
                    <a:pt x="338" y="508"/>
                  </a:lnTo>
                  <a:lnTo>
                    <a:pt x="344" y="504"/>
                  </a:lnTo>
                  <a:lnTo>
                    <a:pt x="352" y="502"/>
                  </a:lnTo>
                  <a:lnTo>
                    <a:pt x="359" y="501"/>
                  </a:lnTo>
                  <a:lnTo>
                    <a:pt x="367" y="502"/>
                  </a:lnTo>
                  <a:lnTo>
                    <a:pt x="373" y="504"/>
                  </a:lnTo>
                  <a:lnTo>
                    <a:pt x="380" y="508"/>
                  </a:lnTo>
                  <a:lnTo>
                    <a:pt x="385" y="513"/>
                  </a:lnTo>
                  <a:lnTo>
                    <a:pt x="390" y="518"/>
                  </a:lnTo>
                  <a:lnTo>
                    <a:pt x="393" y="524"/>
                  </a:lnTo>
                  <a:lnTo>
                    <a:pt x="396" y="532"/>
                  </a:lnTo>
                  <a:lnTo>
                    <a:pt x="397" y="538"/>
                  </a:lnTo>
                  <a:lnTo>
                    <a:pt x="396" y="546"/>
                  </a:lnTo>
                  <a:lnTo>
                    <a:pt x="393" y="553"/>
                  </a:lnTo>
                  <a:lnTo>
                    <a:pt x="390" y="560"/>
                  </a:lnTo>
                  <a:lnTo>
                    <a:pt x="385" y="565"/>
                  </a:lnTo>
                  <a:lnTo>
                    <a:pt x="380" y="569"/>
                  </a:lnTo>
                  <a:lnTo>
                    <a:pt x="373" y="574"/>
                  </a:lnTo>
                  <a:lnTo>
                    <a:pt x="367" y="576"/>
                  </a:lnTo>
                  <a:lnTo>
                    <a:pt x="359" y="576"/>
                  </a:lnTo>
                  <a:close/>
                  <a:moveTo>
                    <a:pt x="359" y="0"/>
                  </a:moveTo>
                  <a:lnTo>
                    <a:pt x="340" y="1"/>
                  </a:lnTo>
                  <a:lnTo>
                    <a:pt x="322" y="2"/>
                  </a:lnTo>
                  <a:lnTo>
                    <a:pt x="305" y="4"/>
                  </a:lnTo>
                  <a:lnTo>
                    <a:pt x="286" y="8"/>
                  </a:lnTo>
                  <a:lnTo>
                    <a:pt x="269" y="12"/>
                  </a:lnTo>
                  <a:lnTo>
                    <a:pt x="252" y="16"/>
                  </a:lnTo>
                  <a:lnTo>
                    <a:pt x="235" y="23"/>
                  </a:lnTo>
                  <a:lnTo>
                    <a:pt x="219" y="29"/>
                  </a:lnTo>
                  <a:lnTo>
                    <a:pt x="203" y="36"/>
                  </a:lnTo>
                  <a:lnTo>
                    <a:pt x="188" y="44"/>
                  </a:lnTo>
                  <a:lnTo>
                    <a:pt x="173" y="53"/>
                  </a:lnTo>
                  <a:lnTo>
                    <a:pt x="158" y="62"/>
                  </a:lnTo>
                  <a:lnTo>
                    <a:pt x="144" y="72"/>
                  </a:lnTo>
                  <a:lnTo>
                    <a:pt x="130" y="83"/>
                  </a:lnTo>
                  <a:lnTo>
                    <a:pt x="117" y="94"/>
                  </a:lnTo>
                  <a:lnTo>
                    <a:pt x="106" y="106"/>
                  </a:lnTo>
                  <a:lnTo>
                    <a:pt x="93" y="118"/>
                  </a:lnTo>
                  <a:lnTo>
                    <a:pt x="82" y="132"/>
                  </a:lnTo>
                  <a:lnTo>
                    <a:pt x="71" y="145"/>
                  </a:lnTo>
                  <a:lnTo>
                    <a:pt x="62" y="159"/>
                  </a:lnTo>
                  <a:lnTo>
                    <a:pt x="52" y="174"/>
                  </a:lnTo>
                  <a:lnTo>
                    <a:pt x="44" y="188"/>
                  </a:lnTo>
                  <a:lnTo>
                    <a:pt x="35" y="205"/>
                  </a:lnTo>
                  <a:lnTo>
                    <a:pt x="29" y="220"/>
                  </a:lnTo>
                  <a:lnTo>
                    <a:pt x="22" y="237"/>
                  </a:lnTo>
                  <a:lnTo>
                    <a:pt x="16" y="253"/>
                  </a:lnTo>
                  <a:lnTo>
                    <a:pt x="11" y="270"/>
                  </a:lnTo>
                  <a:lnTo>
                    <a:pt x="7" y="287"/>
                  </a:lnTo>
                  <a:lnTo>
                    <a:pt x="4" y="305"/>
                  </a:lnTo>
                  <a:lnTo>
                    <a:pt x="2" y="322"/>
                  </a:lnTo>
                  <a:lnTo>
                    <a:pt x="1" y="340"/>
                  </a:lnTo>
                  <a:lnTo>
                    <a:pt x="0" y="360"/>
                  </a:lnTo>
                  <a:lnTo>
                    <a:pt x="1" y="378"/>
                  </a:lnTo>
                  <a:lnTo>
                    <a:pt x="2" y="396"/>
                  </a:lnTo>
                  <a:lnTo>
                    <a:pt x="4" y="414"/>
                  </a:lnTo>
                  <a:lnTo>
                    <a:pt x="7" y="431"/>
                  </a:lnTo>
                  <a:lnTo>
                    <a:pt x="11" y="450"/>
                  </a:lnTo>
                  <a:lnTo>
                    <a:pt x="16" y="467"/>
                  </a:lnTo>
                  <a:lnTo>
                    <a:pt x="22" y="483"/>
                  </a:lnTo>
                  <a:lnTo>
                    <a:pt x="29" y="499"/>
                  </a:lnTo>
                  <a:lnTo>
                    <a:pt x="35" y="515"/>
                  </a:lnTo>
                  <a:lnTo>
                    <a:pt x="44" y="531"/>
                  </a:lnTo>
                  <a:lnTo>
                    <a:pt x="52" y="546"/>
                  </a:lnTo>
                  <a:lnTo>
                    <a:pt x="62" y="560"/>
                  </a:lnTo>
                  <a:lnTo>
                    <a:pt x="71" y="575"/>
                  </a:lnTo>
                  <a:lnTo>
                    <a:pt x="82" y="588"/>
                  </a:lnTo>
                  <a:lnTo>
                    <a:pt x="93" y="600"/>
                  </a:lnTo>
                  <a:lnTo>
                    <a:pt x="106" y="613"/>
                  </a:lnTo>
                  <a:lnTo>
                    <a:pt x="117" y="625"/>
                  </a:lnTo>
                  <a:lnTo>
                    <a:pt x="130" y="637"/>
                  </a:lnTo>
                  <a:lnTo>
                    <a:pt x="144" y="647"/>
                  </a:lnTo>
                  <a:lnTo>
                    <a:pt x="158" y="657"/>
                  </a:lnTo>
                  <a:lnTo>
                    <a:pt x="173" y="667"/>
                  </a:lnTo>
                  <a:lnTo>
                    <a:pt x="188" y="675"/>
                  </a:lnTo>
                  <a:lnTo>
                    <a:pt x="203" y="683"/>
                  </a:lnTo>
                  <a:lnTo>
                    <a:pt x="219" y="690"/>
                  </a:lnTo>
                  <a:lnTo>
                    <a:pt x="235" y="697"/>
                  </a:lnTo>
                  <a:lnTo>
                    <a:pt x="252" y="702"/>
                  </a:lnTo>
                  <a:lnTo>
                    <a:pt x="269" y="707"/>
                  </a:lnTo>
                  <a:lnTo>
                    <a:pt x="286" y="711"/>
                  </a:lnTo>
                  <a:lnTo>
                    <a:pt x="305" y="714"/>
                  </a:lnTo>
                  <a:lnTo>
                    <a:pt x="322" y="716"/>
                  </a:lnTo>
                  <a:lnTo>
                    <a:pt x="340" y="718"/>
                  </a:lnTo>
                  <a:lnTo>
                    <a:pt x="359" y="718"/>
                  </a:lnTo>
                  <a:lnTo>
                    <a:pt x="377" y="718"/>
                  </a:lnTo>
                  <a:lnTo>
                    <a:pt x="396" y="716"/>
                  </a:lnTo>
                  <a:lnTo>
                    <a:pt x="414" y="714"/>
                  </a:lnTo>
                  <a:lnTo>
                    <a:pt x="431" y="711"/>
                  </a:lnTo>
                  <a:lnTo>
                    <a:pt x="448" y="707"/>
                  </a:lnTo>
                  <a:lnTo>
                    <a:pt x="465" y="702"/>
                  </a:lnTo>
                  <a:lnTo>
                    <a:pt x="482" y="697"/>
                  </a:lnTo>
                  <a:lnTo>
                    <a:pt x="498" y="690"/>
                  </a:lnTo>
                  <a:lnTo>
                    <a:pt x="514" y="683"/>
                  </a:lnTo>
                  <a:lnTo>
                    <a:pt x="529" y="675"/>
                  </a:lnTo>
                  <a:lnTo>
                    <a:pt x="544" y="667"/>
                  </a:lnTo>
                  <a:lnTo>
                    <a:pt x="559" y="657"/>
                  </a:lnTo>
                  <a:lnTo>
                    <a:pt x="573" y="647"/>
                  </a:lnTo>
                  <a:lnTo>
                    <a:pt x="587" y="637"/>
                  </a:lnTo>
                  <a:lnTo>
                    <a:pt x="600" y="625"/>
                  </a:lnTo>
                  <a:lnTo>
                    <a:pt x="613" y="613"/>
                  </a:lnTo>
                  <a:lnTo>
                    <a:pt x="625" y="600"/>
                  </a:lnTo>
                  <a:lnTo>
                    <a:pt x="635" y="588"/>
                  </a:lnTo>
                  <a:lnTo>
                    <a:pt x="646" y="575"/>
                  </a:lnTo>
                  <a:lnTo>
                    <a:pt x="657" y="560"/>
                  </a:lnTo>
                  <a:lnTo>
                    <a:pt x="665" y="546"/>
                  </a:lnTo>
                  <a:lnTo>
                    <a:pt x="675" y="531"/>
                  </a:lnTo>
                  <a:lnTo>
                    <a:pt x="682" y="515"/>
                  </a:lnTo>
                  <a:lnTo>
                    <a:pt x="690" y="499"/>
                  </a:lnTo>
                  <a:lnTo>
                    <a:pt x="696" y="483"/>
                  </a:lnTo>
                  <a:lnTo>
                    <a:pt x="702" y="467"/>
                  </a:lnTo>
                  <a:lnTo>
                    <a:pt x="707" y="450"/>
                  </a:lnTo>
                  <a:lnTo>
                    <a:pt x="710" y="431"/>
                  </a:lnTo>
                  <a:lnTo>
                    <a:pt x="713" y="414"/>
                  </a:lnTo>
                  <a:lnTo>
                    <a:pt x="716" y="396"/>
                  </a:lnTo>
                  <a:lnTo>
                    <a:pt x="718" y="378"/>
                  </a:lnTo>
                  <a:lnTo>
                    <a:pt x="718" y="360"/>
                  </a:lnTo>
                  <a:lnTo>
                    <a:pt x="718" y="340"/>
                  </a:lnTo>
                  <a:lnTo>
                    <a:pt x="716" y="322"/>
                  </a:lnTo>
                  <a:lnTo>
                    <a:pt x="713" y="305"/>
                  </a:lnTo>
                  <a:lnTo>
                    <a:pt x="710" y="287"/>
                  </a:lnTo>
                  <a:lnTo>
                    <a:pt x="707" y="270"/>
                  </a:lnTo>
                  <a:lnTo>
                    <a:pt x="702" y="253"/>
                  </a:lnTo>
                  <a:lnTo>
                    <a:pt x="696" y="237"/>
                  </a:lnTo>
                  <a:lnTo>
                    <a:pt x="690" y="220"/>
                  </a:lnTo>
                  <a:lnTo>
                    <a:pt x="682" y="205"/>
                  </a:lnTo>
                  <a:lnTo>
                    <a:pt x="675" y="188"/>
                  </a:lnTo>
                  <a:lnTo>
                    <a:pt x="665" y="174"/>
                  </a:lnTo>
                  <a:lnTo>
                    <a:pt x="657" y="159"/>
                  </a:lnTo>
                  <a:lnTo>
                    <a:pt x="646" y="145"/>
                  </a:lnTo>
                  <a:lnTo>
                    <a:pt x="635" y="132"/>
                  </a:lnTo>
                  <a:lnTo>
                    <a:pt x="625" y="118"/>
                  </a:lnTo>
                  <a:lnTo>
                    <a:pt x="613" y="106"/>
                  </a:lnTo>
                  <a:lnTo>
                    <a:pt x="600" y="94"/>
                  </a:lnTo>
                  <a:lnTo>
                    <a:pt x="587" y="83"/>
                  </a:lnTo>
                  <a:lnTo>
                    <a:pt x="573" y="72"/>
                  </a:lnTo>
                  <a:lnTo>
                    <a:pt x="559" y="62"/>
                  </a:lnTo>
                  <a:lnTo>
                    <a:pt x="544" y="53"/>
                  </a:lnTo>
                  <a:lnTo>
                    <a:pt x="529" y="44"/>
                  </a:lnTo>
                  <a:lnTo>
                    <a:pt x="514" y="36"/>
                  </a:lnTo>
                  <a:lnTo>
                    <a:pt x="498" y="29"/>
                  </a:lnTo>
                  <a:lnTo>
                    <a:pt x="482" y="23"/>
                  </a:lnTo>
                  <a:lnTo>
                    <a:pt x="465" y="16"/>
                  </a:lnTo>
                  <a:lnTo>
                    <a:pt x="448" y="12"/>
                  </a:lnTo>
                  <a:lnTo>
                    <a:pt x="431" y="8"/>
                  </a:lnTo>
                  <a:lnTo>
                    <a:pt x="414" y="4"/>
                  </a:lnTo>
                  <a:lnTo>
                    <a:pt x="396" y="2"/>
                  </a:lnTo>
                  <a:lnTo>
                    <a:pt x="377" y="1"/>
                  </a:lnTo>
                  <a:lnTo>
                    <a:pt x="359"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TextBox 41">
              <a:extLst>
                <a:ext uri="{FF2B5EF4-FFF2-40B4-BE49-F238E27FC236}">
                  <a16:creationId xmlns:a16="http://schemas.microsoft.com/office/drawing/2014/main" id="{5FF91E82-2914-42E0-9AB0-E0467A788939}"/>
                </a:ext>
              </a:extLst>
            </p:cNvPr>
            <p:cNvSpPr txBox="1"/>
            <p:nvPr/>
          </p:nvSpPr>
          <p:spPr>
            <a:xfrm>
              <a:off x="3129914" y="1927159"/>
              <a:ext cx="4434631" cy="492443"/>
            </a:xfrm>
            <a:prstGeom prst="rect">
              <a:avLst/>
            </a:prstGeom>
            <a:noFill/>
          </p:spPr>
          <p:txBody>
            <a:bodyPr wrap="square" lIns="0" tIns="0" rIns="0" bIns="0" rtlCol="0">
              <a:spAutoFit/>
            </a:bodyPr>
            <a:lstStyle/>
            <a:p>
              <a:r>
                <a:rPr lang="en-US" sz="1600" dirty="0"/>
                <a:t>CSR activities help forge a bond between employees and corporations through a strong joined purpose.</a:t>
              </a:r>
            </a:p>
          </p:txBody>
        </p:sp>
      </p:grpSp>
      <p:grpSp>
        <p:nvGrpSpPr>
          <p:cNvPr id="43" name="Group 42">
            <a:extLst>
              <a:ext uri="{FF2B5EF4-FFF2-40B4-BE49-F238E27FC236}">
                <a16:creationId xmlns:a16="http://schemas.microsoft.com/office/drawing/2014/main" id="{6632A573-F82E-49A8-ACD9-B77AA22C05E3}"/>
              </a:ext>
            </a:extLst>
          </p:cNvPr>
          <p:cNvGrpSpPr/>
          <p:nvPr/>
        </p:nvGrpSpPr>
        <p:grpSpPr>
          <a:xfrm>
            <a:off x="907856" y="4040930"/>
            <a:ext cx="5001650" cy="355600"/>
            <a:chOff x="2562895" y="1967272"/>
            <a:chExt cx="5001650" cy="355600"/>
          </a:xfrm>
        </p:grpSpPr>
        <p:sp>
          <p:nvSpPr>
            <p:cNvPr id="44" name="Freeform 4460">
              <a:extLst>
                <a:ext uri="{FF2B5EF4-FFF2-40B4-BE49-F238E27FC236}">
                  <a16:creationId xmlns:a16="http://schemas.microsoft.com/office/drawing/2014/main" id="{806A6737-918E-4688-8151-AD1F97A5B918}"/>
                </a:ext>
              </a:extLst>
            </p:cNvPr>
            <p:cNvSpPr>
              <a:spLocks noEditPoints="1"/>
            </p:cNvSpPr>
            <p:nvPr/>
          </p:nvSpPr>
          <p:spPr bwMode="auto">
            <a:xfrm>
              <a:off x="2562895" y="1967272"/>
              <a:ext cx="355600" cy="355600"/>
            </a:xfrm>
            <a:custGeom>
              <a:avLst/>
              <a:gdLst>
                <a:gd name="T0" fmla="*/ 371 w 718"/>
                <a:gd name="T1" fmla="*/ 473 h 718"/>
                <a:gd name="T2" fmla="*/ 359 w 718"/>
                <a:gd name="T3" fmla="*/ 478 h 718"/>
                <a:gd name="T4" fmla="*/ 346 w 718"/>
                <a:gd name="T5" fmla="*/ 473 h 718"/>
                <a:gd name="T6" fmla="*/ 344 w 718"/>
                <a:gd name="T7" fmla="*/ 371 h 718"/>
                <a:gd name="T8" fmla="*/ 353 w 718"/>
                <a:gd name="T9" fmla="*/ 361 h 718"/>
                <a:gd name="T10" fmla="*/ 381 w 718"/>
                <a:gd name="T11" fmla="*/ 356 h 718"/>
                <a:gd name="T12" fmla="*/ 412 w 718"/>
                <a:gd name="T13" fmla="*/ 337 h 718"/>
                <a:gd name="T14" fmla="*/ 430 w 718"/>
                <a:gd name="T15" fmla="*/ 307 h 718"/>
                <a:gd name="T16" fmla="*/ 432 w 718"/>
                <a:gd name="T17" fmla="*/ 270 h 718"/>
                <a:gd name="T18" fmla="*/ 417 w 718"/>
                <a:gd name="T19" fmla="*/ 238 h 718"/>
                <a:gd name="T20" fmla="*/ 388 w 718"/>
                <a:gd name="T21" fmla="*/ 215 h 718"/>
                <a:gd name="T22" fmla="*/ 352 w 718"/>
                <a:gd name="T23" fmla="*/ 210 h 718"/>
                <a:gd name="T24" fmla="*/ 318 w 718"/>
                <a:gd name="T25" fmla="*/ 223 h 718"/>
                <a:gd name="T26" fmla="*/ 293 w 718"/>
                <a:gd name="T27" fmla="*/ 249 h 718"/>
                <a:gd name="T28" fmla="*/ 284 w 718"/>
                <a:gd name="T29" fmla="*/ 285 h 718"/>
                <a:gd name="T30" fmla="*/ 278 w 718"/>
                <a:gd name="T31" fmla="*/ 298 h 718"/>
                <a:gd name="T32" fmla="*/ 263 w 718"/>
                <a:gd name="T33" fmla="*/ 299 h 718"/>
                <a:gd name="T34" fmla="*/ 254 w 718"/>
                <a:gd name="T35" fmla="*/ 288 h 718"/>
                <a:gd name="T36" fmla="*/ 263 w 718"/>
                <a:gd name="T37" fmla="*/ 244 h 718"/>
                <a:gd name="T38" fmla="*/ 292 w 718"/>
                <a:gd name="T39" fmla="*/ 205 h 718"/>
                <a:gd name="T40" fmla="*/ 338 w 718"/>
                <a:gd name="T41" fmla="*/ 182 h 718"/>
                <a:gd name="T42" fmla="*/ 390 w 718"/>
                <a:gd name="T43" fmla="*/ 184 h 718"/>
                <a:gd name="T44" fmla="*/ 433 w 718"/>
                <a:gd name="T45" fmla="*/ 211 h 718"/>
                <a:gd name="T46" fmla="*/ 459 w 718"/>
                <a:gd name="T47" fmla="*/ 254 h 718"/>
                <a:gd name="T48" fmla="*/ 462 w 718"/>
                <a:gd name="T49" fmla="*/ 304 h 718"/>
                <a:gd name="T50" fmla="*/ 444 w 718"/>
                <a:gd name="T51" fmla="*/ 347 h 718"/>
                <a:gd name="T52" fmla="*/ 410 w 718"/>
                <a:gd name="T53" fmla="*/ 377 h 718"/>
                <a:gd name="T54" fmla="*/ 359 w 718"/>
                <a:gd name="T55" fmla="*/ 576 h 718"/>
                <a:gd name="T56" fmla="*/ 328 w 718"/>
                <a:gd name="T57" fmla="*/ 560 h 718"/>
                <a:gd name="T58" fmla="*/ 324 w 718"/>
                <a:gd name="T59" fmla="*/ 524 h 718"/>
                <a:gd name="T60" fmla="*/ 352 w 718"/>
                <a:gd name="T61" fmla="*/ 502 h 718"/>
                <a:gd name="T62" fmla="*/ 385 w 718"/>
                <a:gd name="T63" fmla="*/ 513 h 718"/>
                <a:gd name="T64" fmla="*/ 396 w 718"/>
                <a:gd name="T65" fmla="*/ 546 h 718"/>
                <a:gd name="T66" fmla="*/ 373 w 718"/>
                <a:gd name="T67" fmla="*/ 574 h 718"/>
                <a:gd name="T68" fmla="*/ 322 w 718"/>
                <a:gd name="T69" fmla="*/ 2 h 718"/>
                <a:gd name="T70" fmla="*/ 235 w 718"/>
                <a:gd name="T71" fmla="*/ 23 h 718"/>
                <a:gd name="T72" fmla="*/ 158 w 718"/>
                <a:gd name="T73" fmla="*/ 62 h 718"/>
                <a:gd name="T74" fmla="*/ 93 w 718"/>
                <a:gd name="T75" fmla="*/ 118 h 718"/>
                <a:gd name="T76" fmla="*/ 44 w 718"/>
                <a:gd name="T77" fmla="*/ 188 h 718"/>
                <a:gd name="T78" fmla="*/ 11 w 718"/>
                <a:gd name="T79" fmla="*/ 270 h 718"/>
                <a:gd name="T80" fmla="*/ 0 w 718"/>
                <a:gd name="T81" fmla="*/ 360 h 718"/>
                <a:gd name="T82" fmla="*/ 11 w 718"/>
                <a:gd name="T83" fmla="*/ 450 h 718"/>
                <a:gd name="T84" fmla="*/ 44 w 718"/>
                <a:gd name="T85" fmla="*/ 531 h 718"/>
                <a:gd name="T86" fmla="*/ 93 w 718"/>
                <a:gd name="T87" fmla="*/ 600 h 718"/>
                <a:gd name="T88" fmla="*/ 158 w 718"/>
                <a:gd name="T89" fmla="*/ 657 h 718"/>
                <a:gd name="T90" fmla="*/ 235 w 718"/>
                <a:gd name="T91" fmla="*/ 697 h 718"/>
                <a:gd name="T92" fmla="*/ 322 w 718"/>
                <a:gd name="T93" fmla="*/ 716 h 718"/>
                <a:gd name="T94" fmla="*/ 414 w 718"/>
                <a:gd name="T95" fmla="*/ 714 h 718"/>
                <a:gd name="T96" fmla="*/ 498 w 718"/>
                <a:gd name="T97" fmla="*/ 690 h 718"/>
                <a:gd name="T98" fmla="*/ 573 w 718"/>
                <a:gd name="T99" fmla="*/ 647 h 718"/>
                <a:gd name="T100" fmla="*/ 635 w 718"/>
                <a:gd name="T101" fmla="*/ 588 h 718"/>
                <a:gd name="T102" fmla="*/ 682 w 718"/>
                <a:gd name="T103" fmla="*/ 515 h 718"/>
                <a:gd name="T104" fmla="*/ 710 w 718"/>
                <a:gd name="T105" fmla="*/ 431 h 718"/>
                <a:gd name="T106" fmla="*/ 718 w 718"/>
                <a:gd name="T107" fmla="*/ 340 h 718"/>
                <a:gd name="T108" fmla="*/ 702 w 718"/>
                <a:gd name="T109" fmla="*/ 253 h 718"/>
                <a:gd name="T110" fmla="*/ 665 w 718"/>
                <a:gd name="T111" fmla="*/ 174 h 718"/>
                <a:gd name="T112" fmla="*/ 613 w 718"/>
                <a:gd name="T113" fmla="*/ 106 h 718"/>
                <a:gd name="T114" fmla="*/ 544 w 718"/>
                <a:gd name="T115" fmla="*/ 53 h 718"/>
                <a:gd name="T116" fmla="*/ 465 w 718"/>
                <a:gd name="T117" fmla="*/ 16 h 718"/>
                <a:gd name="T118" fmla="*/ 377 w 718"/>
                <a:gd name="T119" fmla="*/ 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8" h="718">
                  <a:moveTo>
                    <a:pt x="374" y="390"/>
                  </a:moveTo>
                  <a:lnTo>
                    <a:pt x="374" y="463"/>
                  </a:lnTo>
                  <a:lnTo>
                    <a:pt x="373" y="467"/>
                  </a:lnTo>
                  <a:lnTo>
                    <a:pt x="373" y="470"/>
                  </a:lnTo>
                  <a:lnTo>
                    <a:pt x="371" y="473"/>
                  </a:lnTo>
                  <a:lnTo>
                    <a:pt x="370" y="475"/>
                  </a:lnTo>
                  <a:lnTo>
                    <a:pt x="367" y="476"/>
                  </a:lnTo>
                  <a:lnTo>
                    <a:pt x="365" y="477"/>
                  </a:lnTo>
                  <a:lnTo>
                    <a:pt x="361" y="478"/>
                  </a:lnTo>
                  <a:lnTo>
                    <a:pt x="359" y="478"/>
                  </a:lnTo>
                  <a:lnTo>
                    <a:pt x="356" y="478"/>
                  </a:lnTo>
                  <a:lnTo>
                    <a:pt x="353" y="477"/>
                  </a:lnTo>
                  <a:lnTo>
                    <a:pt x="351" y="476"/>
                  </a:lnTo>
                  <a:lnTo>
                    <a:pt x="349" y="475"/>
                  </a:lnTo>
                  <a:lnTo>
                    <a:pt x="346" y="473"/>
                  </a:lnTo>
                  <a:lnTo>
                    <a:pt x="345" y="470"/>
                  </a:lnTo>
                  <a:lnTo>
                    <a:pt x="344" y="467"/>
                  </a:lnTo>
                  <a:lnTo>
                    <a:pt x="344" y="463"/>
                  </a:lnTo>
                  <a:lnTo>
                    <a:pt x="344" y="375"/>
                  </a:lnTo>
                  <a:lnTo>
                    <a:pt x="344" y="371"/>
                  </a:lnTo>
                  <a:lnTo>
                    <a:pt x="345" y="368"/>
                  </a:lnTo>
                  <a:lnTo>
                    <a:pt x="346" y="366"/>
                  </a:lnTo>
                  <a:lnTo>
                    <a:pt x="349" y="364"/>
                  </a:lnTo>
                  <a:lnTo>
                    <a:pt x="351" y="362"/>
                  </a:lnTo>
                  <a:lnTo>
                    <a:pt x="353" y="361"/>
                  </a:lnTo>
                  <a:lnTo>
                    <a:pt x="356" y="360"/>
                  </a:lnTo>
                  <a:lnTo>
                    <a:pt x="359" y="360"/>
                  </a:lnTo>
                  <a:lnTo>
                    <a:pt x="367" y="359"/>
                  </a:lnTo>
                  <a:lnTo>
                    <a:pt x="374" y="358"/>
                  </a:lnTo>
                  <a:lnTo>
                    <a:pt x="381" y="356"/>
                  </a:lnTo>
                  <a:lnTo>
                    <a:pt x="388" y="353"/>
                  </a:lnTo>
                  <a:lnTo>
                    <a:pt x="395" y="350"/>
                  </a:lnTo>
                  <a:lnTo>
                    <a:pt x="401" y="347"/>
                  </a:lnTo>
                  <a:lnTo>
                    <a:pt x="406" y="343"/>
                  </a:lnTo>
                  <a:lnTo>
                    <a:pt x="412" y="337"/>
                  </a:lnTo>
                  <a:lnTo>
                    <a:pt x="417" y="332"/>
                  </a:lnTo>
                  <a:lnTo>
                    <a:pt x="421" y="327"/>
                  </a:lnTo>
                  <a:lnTo>
                    <a:pt x="425" y="320"/>
                  </a:lnTo>
                  <a:lnTo>
                    <a:pt x="428" y="314"/>
                  </a:lnTo>
                  <a:lnTo>
                    <a:pt x="430" y="307"/>
                  </a:lnTo>
                  <a:lnTo>
                    <a:pt x="432" y="300"/>
                  </a:lnTo>
                  <a:lnTo>
                    <a:pt x="433" y="292"/>
                  </a:lnTo>
                  <a:lnTo>
                    <a:pt x="434" y="285"/>
                  </a:lnTo>
                  <a:lnTo>
                    <a:pt x="433" y="277"/>
                  </a:lnTo>
                  <a:lnTo>
                    <a:pt x="432" y="270"/>
                  </a:lnTo>
                  <a:lnTo>
                    <a:pt x="430" y="262"/>
                  </a:lnTo>
                  <a:lnTo>
                    <a:pt x="428" y="256"/>
                  </a:lnTo>
                  <a:lnTo>
                    <a:pt x="425" y="249"/>
                  </a:lnTo>
                  <a:lnTo>
                    <a:pt x="421" y="243"/>
                  </a:lnTo>
                  <a:lnTo>
                    <a:pt x="417" y="238"/>
                  </a:lnTo>
                  <a:lnTo>
                    <a:pt x="412" y="232"/>
                  </a:lnTo>
                  <a:lnTo>
                    <a:pt x="406" y="227"/>
                  </a:lnTo>
                  <a:lnTo>
                    <a:pt x="401" y="223"/>
                  </a:lnTo>
                  <a:lnTo>
                    <a:pt x="395" y="218"/>
                  </a:lnTo>
                  <a:lnTo>
                    <a:pt x="388" y="215"/>
                  </a:lnTo>
                  <a:lnTo>
                    <a:pt x="381" y="213"/>
                  </a:lnTo>
                  <a:lnTo>
                    <a:pt x="374" y="211"/>
                  </a:lnTo>
                  <a:lnTo>
                    <a:pt x="367" y="210"/>
                  </a:lnTo>
                  <a:lnTo>
                    <a:pt x="359" y="210"/>
                  </a:lnTo>
                  <a:lnTo>
                    <a:pt x="352" y="210"/>
                  </a:lnTo>
                  <a:lnTo>
                    <a:pt x="344" y="211"/>
                  </a:lnTo>
                  <a:lnTo>
                    <a:pt x="337" y="213"/>
                  </a:lnTo>
                  <a:lnTo>
                    <a:pt x="329" y="215"/>
                  </a:lnTo>
                  <a:lnTo>
                    <a:pt x="323" y="218"/>
                  </a:lnTo>
                  <a:lnTo>
                    <a:pt x="318" y="223"/>
                  </a:lnTo>
                  <a:lnTo>
                    <a:pt x="311" y="227"/>
                  </a:lnTo>
                  <a:lnTo>
                    <a:pt x="306" y="232"/>
                  </a:lnTo>
                  <a:lnTo>
                    <a:pt x="301" y="238"/>
                  </a:lnTo>
                  <a:lnTo>
                    <a:pt x="297" y="243"/>
                  </a:lnTo>
                  <a:lnTo>
                    <a:pt x="293" y="249"/>
                  </a:lnTo>
                  <a:lnTo>
                    <a:pt x="290" y="256"/>
                  </a:lnTo>
                  <a:lnTo>
                    <a:pt x="288" y="262"/>
                  </a:lnTo>
                  <a:lnTo>
                    <a:pt x="285" y="270"/>
                  </a:lnTo>
                  <a:lnTo>
                    <a:pt x="284" y="277"/>
                  </a:lnTo>
                  <a:lnTo>
                    <a:pt x="284" y="285"/>
                  </a:lnTo>
                  <a:lnTo>
                    <a:pt x="283" y="288"/>
                  </a:lnTo>
                  <a:lnTo>
                    <a:pt x="283" y="290"/>
                  </a:lnTo>
                  <a:lnTo>
                    <a:pt x="281" y="293"/>
                  </a:lnTo>
                  <a:lnTo>
                    <a:pt x="280" y="295"/>
                  </a:lnTo>
                  <a:lnTo>
                    <a:pt x="278" y="298"/>
                  </a:lnTo>
                  <a:lnTo>
                    <a:pt x="275" y="299"/>
                  </a:lnTo>
                  <a:lnTo>
                    <a:pt x="273" y="299"/>
                  </a:lnTo>
                  <a:lnTo>
                    <a:pt x="269" y="300"/>
                  </a:lnTo>
                  <a:lnTo>
                    <a:pt x="266" y="299"/>
                  </a:lnTo>
                  <a:lnTo>
                    <a:pt x="263" y="299"/>
                  </a:lnTo>
                  <a:lnTo>
                    <a:pt x="261" y="298"/>
                  </a:lnTo>
                  <a:lnTo>
                    <a:pt x="259" y="295"/>
                  </a:lnTo>
                  <a:lnTo>
                    <a:pt x="257" y="293"/>
                  </a:lnTo>
                  <a:lnTo>
                    <a:pt x="255" y="290"/>
                  </a:lnTo>
                  <a:lnTo>
                    <a:pt x="254" y="288"/>
                  </a:lnTo>
                  <a:lnTo>
                    <a:pt x="254" y="285"/>
                  </a:lnTo>
                  <a:lnTo>
                    <a:pt x="254" y="274"/>
                  </a:lnTo>
                  <a:lnTo>
                    <a:pt x="257" y="263"/>
                  </a:lnTo>
                  <a:lnTo>
                    <a:pt x="259" y="254"/>
                  </a:lnTo>
                  <a:lnTo>
                    <a:pt x="263" y="244"/>
                  </a:lnTo>
                  <a:lnTo>
                    <a:pt x="267" y="236"/>
                  </a:lnTo>
                  <a:lnTo>
                    <a:pt x="273" y="226"/>
                  </a:lnTo>
                  <a:lnTo>
                    <a:pt x="278" y="218"/>
                  </a:lnTo>
                  <a:lnTo>
                    <a:pt x="285" y="211"/>
                  </a:lnTo>
                  <a:lnTo>
                    <a:pt x="292" y="205"/>
                  </a:lnTo>
                  <a:lnTo>
                    <a:pt x="300" y="198"/>
                  </a:lnTo>
                  <a:lnTo>
                    <a:pt x="309" y="193"/>
                  </a:lnTo>
                  <a:lnTo>
                    <a:pt x="319" y="188"/>
                  </a:lnTo>
                  <a:lnTo>
                    <a:pt x="328" y="184"/>
                  </a:lnTo>
                  <a:lnTo>
                    <a:pt x="338" y="182"/>
                  </a:lnTo>
                  <a:lnTo>
                    <a:pt x="349" y="180"/>
                  </a:lnTo>
                  <a:lnTo>
                    <a:pt x="359" y="180"/>
                  </a:lnTo>
                  <a:lnTo>
                    <a:pt x="370" y="180"/>
                  </a:lnTo>
                  <a:lnTo>
                    <a:pt x="380" y="182"/>
                  </a:lnTo>
                  <a:lnTo>
                    <a:pt x="390" y="184"/>
                  </a:lnTo>
                  <a:lnTo>
                    <a:pt x="400" y="188"/>
                  </a:lnTo>
                  <a:lnTo>
                    <a:pt x="408" y="193"/>
                  </a:lnTo>
                  <a:lnTo>
                    <a:pt x="417" y="198"/>
                  </a:lnTo>
                  <a:lnTo>
                    <a:pt x="426" y="205"/>
                  </a:lnTo>
                  <a:lnTo>
                    <a:pt x="433" y="211"/>
                  </a:lnTo>
                  <a:lnTo>
                    <a:pt x="439" y="218"/>
                  </a:lnTo>
                  <a:lnTo>
                    <a:pt x="446" y="226"/>
                  </a:lnTo>
                  <a:lnTo>
                    <a:pt x="451" y="236"/>
                  </a:lnTo>
                  <a:lnTo>
                    <a:pt x="456" y="244"/>
                  </a:lnTo>
                  <a:lnTo>
                    <a:pt x="459" y="254"/>
                  </a:lnTo>
                  <a:lnTo>
                    <a:pt x="461" y="263"/>
                  </a:lnTo>
                  <a:lnTo>
                    <a:pt x="463" y="274"/>
                  </a:lnTo>
                  <a:lnTo>
                    <a:pt x="463" y="285"/>
                  </a:lnTo>
                  <a:lnTo>
                    <a:pt x="463" y="294"/>
                  </a:lnTo>
                  <a:lnTo>
                    <a:pt x="462" y="304"/>
                  </a:lnTo>
                  <a:lnTo>
                    <a:pt x="460" y="314"/>
                  </a:lnTo>
                  <a:lnTo>
                    <a:pt x="457" y="322"/>
                  </a:lnTo>
                  <a:lnTo>
                    <a:pt x="453" y="331"/>
                  </a:lnTo>
                  <a:lnTo>
                    <a:pt x="448" y="339"/>
                  </a:lnTo>
                  <a:lnTo>
                    <a:pt x="444" y="347"/>
                  </a:lnTo>
                  <a:lnTo>
                    <a:pt x="437" y="354"/>
                  </a:lnTo>
                  <a:lnTo>
                    <a:pt x="431" y="361"/>
                  </a:lnTo>
                  <a:lnTo>
                    <a:pt x="425" y="367"/>
                  </a:lnTo>
                  <a:lnTo>
                    <a:pt x="417" y="373"/>
                  </a:lnTo>
                  <a:lnTo>
                    <a:pt x="410" y="377"/>
                  </a:lnTo>
                  <a:lnTo>
                    <a:pt x="401" y="381"/>
                  </a:lnTo>
                  <a:lnTo>
                    <a:pt x="392" y="384"/>
                  </a:lnTo>
                  <a:lnTo>
                    <a:pt x="383" y="387"/>
                  </a:lnTo>
                  <a:lnTo>
                    <a:pt x="374" y="390"/>
                  </a:lnTo>
                  <a:close/>
                  <a:moveTo>
                    <a:pt x="359" y="576"/>
                  </a:moveTo>
                  <a:lnTo>
                    <a:pt x="352" y="576"/>
                  </a:lnTo>
                  <a:lnTo>
                    <a:pt x="344" y="574"/>
                  </a:lnTo>
                  <a:lnTo>
                    <a:pt x="338" y="569"/>
                  </a:lnTo>
                  <a:lnTo>
                    <a:pt x="332" y="565"/>
                  </a:lnTo>
                  <a:lnTo>
                    <a:pt x="328" y="560"/>
                  </a:lnTo>
                  <a:lnTo>
                    <a:pt x="324" y="553"/>
                  </a:lnTo>
                  <a:lnTo>
                    <a:pt x="322" y="546"/>
                  </a:lnTo>
                  <a:lnTo>
                    <a:pt x="322" y="538"/>
                  </a:lnTo>
                  <a:lnTo>
                    <a:pt x="322" y="532"/>
                  </a:lnTo>
                  <a:lnTo>
                    <a:pt x="324" y="524"/>
                  </a:lnTo>
                  <a:lnTo>
                    <a:pt x="328" y="518"/>
                  </a:lnTo>
                  <a:lnTo>
                    <a:pt x="332" y="513"/>
                  </a:lnTo>
                  <a:lnTo>
                    <a:pt x="338" y="508"/>
                  </a:lnTo>
                  <a:lnTo>
                    <a:pt x="344" y="504"/>
                  </a:lnTo>
                  <a:lnTo>
                    <a:pt x="352" y="502"/>
                  </a:lnTo>
                  <a:lnTo>
                    <a:pt x="359" y="501"/>
                  </a:lnTo>
                  <a:lnTo>
                    <a:pt x="367" y="502"/>
                  </a:lnTo>
                  <a:lnTo>
                    <a:pt x="373" y="504"/>
                  </a:lnTo>
                  <a:lnTo>
                    <a:pt x="380" y="508"/>
                  </a:lnTo>
                  <a:lnTo>
                    <a:pt x="385" y="513"/>
                  </a:lnTo>
                  <a:lnTo>
                    <a:pt x="390" y="518"/>
                  </a:lnTo>
                  <a:lnTo>
                    <a:pt x="393" y="524"/>
                  </a:lnTo>
                  <a:lnTo>
                    <a:pt x="396" y="532"/>
                  </a:lnTo>
                  <a:lnTo>
                    <a:pt x="397" y="538"/>
                  </a:lnTo>
                  <a:lnTo>
                    <a:pt x="396" y="546"/>
                  </a:lnTo>
                  <a:lnTo>
                    <a:pt x="393" y="553"/>
                  </a:lnTo>
                  <a:lnTo>
                    <a:pt x="390" y="560"/>
                  </a:lnTo>
                  <a:lnTo>
                    <a:pt x="385" y="565"/>
                  </a:lnTo>
                  <a:lnTo>
                    <a:pt x="380" y="569"/>
                  </a:lnTo>
                  <a:lnTo>
                    <a:pt x="373" y="574"/>
                  </a:lnTo>
                  <a:lnTo>
                    <a:pt x="367" y="576"/>
                  </a:lnTo>
                  <a:lnTo>
                    <a:pt x="359" y="576"/>
                  </a:lnTo>
                  <a:close/>
                  <a:moveTo>
                    <a:pt x="359" y="0"/>
                  </a:moveTo>
                  <a:lnTo>
                    <a:pt x="340" y="1"/>
                  </a:lnTo>
                  <a:lnTo>
                    <a:pt x="322" y="2"/>
                  </a:lnTo>
                  <a:lnTo>
                    <a:pt x="305" y="4"/>
                  </a:lnTo>
                  <a:lnTo>
                    <a:pt x="286" y="8"/>
                  </a:lnTo>
                  <a:lnTo>
                    <a:pt x="269" y="12"/>
                  </a:lnTo>
                  <a:lnTo>
                    <a:pt x="252" y="16"/>
                  </a:lnTo>
                  <a:lnTo>
                    <a:pt x="235" y="23"/>
                  </a:lnTo>
                  <a:lnTo>
                    <a:pt x="219" y="29"/>
                  </a:lnTo>
                  <a:lnTo>
                    <a:pt x="203" y="36"/>
                  </a:lnTo>
                  <a:lnTo>
                    <a:pt x="188" y="44"/>
                  </a:lnTo>
                  <a:lnTo>
                    <a:pt x="173" y="53"/>
                  </a:lnTo>
                  <a:lnTo>
                    <a:pt x="158" y="62"/>
                  </a:lnTo>
                  <a:lnTo>
                    <a:pt x="144" y="72"/>
                  </a:lnTo>
                  <a:lnTo>
                    <a:pt x="130" y="83"/>
                  </a:lnTo>
                  <a:lnTo>
                    <a:pt x="117" y="94"/>
                  </a:lnTo>
                  <a:lnTo>
                    <a:pt x="106" y="106"/>
                  </a:lnTo>
                  <a:lnTo>
                    <a:pt x="93" y="118"/>
                  </a:lnTo>
                  <a:lnTo>
                    <a:pt x="82" y="132"/>
                  </a:lnTo>
                  <a:lnTo>
                    <a:pt x="71" y="145"/>
                  </a:lnTo>
                  <a:lnTo>
                    <a:pt x="62" y="159"/>
                  </a:lnTo>
                  <a:lnTo>
                    <a:pt x="52" y="174"/>
                  </a:lnTo>
                  <a:lnTo>
                    <a:pt x="44" y="188"/>
                  </a:lnTo>
                  <a:lnTo>
                    <a:pt x="35" y="205"/>
                  </a:lnTo>
                  <a:lnTo>
                    <a:pt x="29" y="220"/>
                  </a:lnTo>
                  <a:lnTo>
                    <a:pt x="22" y="237"/>
                  </a:lnTo>
                  <a:lnTo>
                    <a:pt x="16" y="253"/>
                  </a:lnTo>
                  <a:lnTo>
                    <a:pt x="11" y="270"/>
                  </a:lnTo>
                  <a:lnTo>
                    <a:pt x="7" y="287"/>
                  </a:lnTo>
                  <a:lnTo>
                    <a:pt x="4" y="305"/>
                  </a:lnTo>
                  <a:lnTo>
                    <a:pt x="2" y="322"/>
                  </a:lnTo>
                  <a:lnTo>
                    <a:pt x="1" y="340"/>
                  </a:lnTo>
                  <a:lnTo>
                    <a:pt x="0" y="360"/>
                  </a:lnTo>
                  <a:lnTo>
                    <a:pt x="1" y="378"/>
                  </a:lnTo>
                  <a:lnTo>
                    <a:pt x="2" y="396"/>
                  </a:lnTo>
                  <a:lnTo>
                    <a:pt x="4" y="414"/>
                  </a:lnTo>
                  <a:lnTo>
                    <a:pt x="7" y="431"/>
                  </a:lnTo>
                  <a:lnTo>
                    <a:pt x="11" y="450"/>
                  </a:lnTo>
                  <a:lnTo>
                    <a:pt x="16" y="467"/>
                  </a:lnTo>
                  <a:lnTo>
                    <a:pt x="22" y="483"/>
                  </a:lnTo>
                  <a:lnTo>
                    <a:pt x="29" y="499"/>
                  </a:lnTo>
                  <a:lnTo>
                    <a:pt x="35" y="515"/>
                  </a:lnTo>
                  <a:lnTo>
                    <a:pt x="44" y="531"/>
                  </a:lnTo>
                  <a:lnTo>
                    <a:pt x="52" y="546"/>
                  </a:lnTo>
                  <a:lnTo>
                    <a:pt x="62" y="560"/>
                  </a:lnTo>
                  <a:lnTo>
                    <a:pt x="71" y="575"/>
                  </a:lnTo>
                  <a:lnTo>
                    <a:pt x="82" y="588"/>
                  </a:lnTo>
                  <a:lnTo>
                    <a:pt x="93" y="600"/>
                  </a:lnTo>
                  <a:lnTo>
                    <a:pt x="106" y="613"/>
                  </a:lnTo>
                  <a:lnTo>
                    <a:pt x="117" y="625"/>
                  </a:lnTo>
                  <a:lnTo>
                    <a:pt x="130" y="637"/>
                  </a:lnTo>
                  <a:lnTo>
                    <a:pt x="144" y="647"/>
                  </a:lnTo>
                  <a:lnTo>
                    <a:pt x="158" y="657"/>
                  </a:lnTo>
                  <a:lnTo>
                    <a:pt x="173" y="667"/>
                  </a:lnTo>
                  <a:lnTo>
                    <a:pt x="188" y="675"/>
                  </a:lnTo>
                  <a:lnTo>
                    <a:pt x="203" y="683"/>
                  </a:lnTo>
                  <a:lnTo>
                    <a:pt x="219" y="690"/>
                  </a:lnTo>
                  <a:lnTo>
                    <a:pt x="235" y="697"/>
                  </a:lnTo>
                  <a:lnTo>
                    <a:pt x="252" y="702"/>
                  </a:lnTo>
                  <a:lnTo>
                    <a:pt x="269" y="707"/>
                  </a:lnTo>
                  <a:lnTo>
                    <a:pt x="286" y="711"/>
                  </a:lnTo>
                  <a:lnTo>
                    <a:pt x="305" y="714"/>
                  </a:lnTo>
                  <a:lnTo>
                    <a:pt x="322" y="716"/>
                  </a:lnTo>
                  <a:lnTo>
                    <a:pt x="340" y="718"/>
                  </a:lnTo>
                  <a:lnTo>
                    <a:pt x="359" y="718"/>
                  </a:lnTo>
                  <a:lnTo>
                    <a:pt x="377" y="718"/>
                  </a:lnTo>
                  <a:lnTo>
                    <a:pt x="396" y="716"/>
                  </a:lnTo>
                  <a:lnTo>
                    <a:pt x="414" y="714"/>
                  </a:lnTo>
                  <a:lnTo>
                    <a:pt x="431" y="711"/>
                  </a:lnTo>
                  <a:lnTo>
                    <a:pt x="448" y="707"/>
                  </a:lnTo>
                  <a:lnTo>
                    <a:pt x="465" y="702"/>
                  </a:lnTo>
                  <a:lnTo>
                    <a:pt x="482" y="697"/>
                  </a:lnTo>
                  <a:lnTo>
                    <a:pt x="498" y="690"/>
                  </a:lnTo>
                  <a:lnTo>
                    <a:pt x="514" y="683"/>
                  </a:lnTo>
                  <a:lnTo>
                    <a:pt x="529" y="675"/>
                  </a:lnTo>
                  <a:lnTo>
                    <a:pt x="544" y="667"/>
                  </a:lnTo>
                  <a:lnTo>
                    <a:pt x="559" y="657"/>
                  </a:lnTo>
                  <a:lnTo>
                    <a:pt x="573" y="647"/>
                  </a:lnTo>
                  <a:lnTo>
                    <a:pt x="587" y="637"/>
                  </a:lnTo>
                  <a:lnTo>
                    <a:pt x="600" y="625"/>
                  </a:lnTo>
                  <a:lnTo>
                    <a:pt x="613" y="613"/>
                  </a:lnTo>
                  <a:lnTo>
                    <a:pt x="625" y="600"/>
                  </a:lnTo>
                  <a:lnTo>
                    <a:pt x="635" y="588"/>
                  </a:lnTo>
                  <a:lnTo>
                    <a:pt x="646" y="575"/>
                  </a:lnTo>
                  <a:lnTo>
                    <a:pt x="657" y="560"/>
                  </a:lnTo>
                  <a:lnTo>
                    <a:pt x="665" y="546"/>
                  </a:lnTo>
                  <a:lnTo>
                    <a:pt x="675" y="531"/>
                  </a:lnTo>
                  <a:lnTo>
                    <a:pt x="682" y="515"/>
                  </a:lnTo>
                  <a:lnTo>
                    <a:pt x="690" y="499"/>
                  </a:lnTo>
                  <a:lnTo>
                    <a:pt x="696" y="483"/>
                  </a:lnTo>
                  <a:lnTo>
                    <a:pt x="702" y="467"/>
                  </a:lnTo>
                  <a:lnTo>
                    <a:pt x="707" y="450"/>
                  </a:lnTo>
                  <a:lnTo>
                    <a:pt x="710" y="431"/>
                  </a:lnTo>
                  <a:lnTo>
                    <a:pt x="713" y="414"/>
                  </a:lnTo>
                  <a:lnTo>
                    <a:pt x="716" y="396"/>
                  </a:lnTo>
                  <a:lnTo>
                    <a:pt x="718" y="378"/>
                  </a:lnTo>
                  <a:lnTo>
                    <a:pt x="718" y="360"/>
                  </a:lnTo>
                  <a:lnTo>
                    <a:pt x="718" y="340"/>
                  </a:lnTo>
                  <a:lnTo>
                    <a:pt x="716" y="322"/>
                  </a:lnTo>
                  <a:lnTo>
                    <a:pt x="713" y="305"/>
                  </a:lnTo>
                  <a:lnTo>
                    <a:pt x="710" y="287"/>
                  </a:lnTo>
                  <a:lnTo>
                    <a:pt x="707" y="270"/>
                  </a:lnTo>
                  <a:lnTo>
                    <a:pt x="702" y="253"/>
                  </a:lnTo>
                  <a:lnTo>
                    <a:pt x="696" y="237"/>
                  </a:lnTo>
                  <a:lnTo>
                    <a:pt x="690" y="220"/>
                  </a:lnTo>
                  <a:lnTo>
                    <a:pt x="682" y="205"/>
                  </a:lnTo>
                  <a:lnTo>
                    <a:pt x="675" y="188"/>
                  </a:lnTo>
                  <a:lnTo>
                    <a:pt x="665" y="174"/>
                  </a:lnTo>
                  <a:lnTo>
                    <a:pt x="657" y="159"/>
                  </a:lnTo>
                  <a:lnTo>
                    <a:pt x="646" y="145"/>
                  </a:lnTo>
                  <a:lnTo>
                    <a:pt x="635" y="132"/>
                  </a:lnTo>
                  <a:lnTo>
                    <a:pt x="625" y="118"/>
                  </a:lnTo>
                  <a:lnTo>
                    <a:pt x="613" y="106"/>
                  </a:lnTo>
                  <a:lnTo>
                    <a:pt x="600" y="94"/>
                  </a:lnTo>
                  <a:lnTo>
                    <a:pt x="587" y="83"/>
                  </a:lnTo>
                  <a:lnTo>
                    <a:pt x="573" y="72"/>
                  </a:lnTo>
                  <a:lnTo>
                    <a:pt x="559" y="62"/>
                  </a:lnTo>
                  <a:lnTo>
                    <a:pt x="544" y="53"/>
                  </a:lnTo>
                  <a:lnTo>
                    <a:pt x="529" y="44"/>
                  </a:lnTo>
                  <a:lnTo>
                    <a:pt x="514" y="36"/>
                  </a:lnTo>
                  <a:lnTo>
                    <a:pt x="498" y="29"/>
                  </a:lnTo>
                  <a:lnTo>
                    <a:pt x="482" y="23"/>
                  </a:lnTo>
                  <a:lnTo>
                    <a:pt x="465" y="16"/>
                  </a:lnTo>
                  <a:lnTo>
                    <a:pt x="448" y="12"/>
                  </a:lnTo>
                  <a:lnTo>
                    <a:pt x="431" y="8"/>
                  </a:lnTo>
                  <a:lnTo>
                    <a:pt x="414" y="4"/>
                  </a:lnTo>
                  <a:lnTo>
                    <a:pt x="396" y="2"/>
                  </a:lnTo>
                  <a:lnTo>
                    <a:pt x="377" y="1"/>
                  </a:lnTo>
                  <a:lnTo>
                    <a:pt x="359"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TextBox 44">
              <a:extLst>
                <a:ext uri="{FF2B5EF4-FFF2-40B4-BE49-F238E27FC236}">
                  <a16:creationId xmlns:a16="http://schemas.microsoft.com/office/drawing/2014/main" id="{9CBC2701-F951-40F2-94C5-EED0206FF3B9}"/>
                </a:ext>
              </a:extLst>
            </p:cNvPr>
            <p:cNvSpPr txBox="1"/>
            <p:nvPr/>
          </p:nvSpPr>
          <p:spPr>
            <a:xfrm>
              <a:off x="3129915" y="2006389"/>
              <a:ext cx="4434630" cy="246221"/>
            </a:xfrm>
            <a:prstGeom prst="rect">
              <a:avLst/>
            </a:prstGeom>
            <a:noFill/>
          </p:spPr>
          <p:txBody>
            <a:bodyPr wrap="square" lIns="0" tIns="0" rIns="0" bIns="0" rtlCol="0">
              <a:spAutoFit/>
            </a:bodyPr>
            <a:lstStyle/>
            <a:p>
              <a:r>
                <a:rPr lang="en-US" sz="1600" dirty="0"/>
                <a:t>CSR helps increase employee loyalty and engagement</a:t>
              </a:r>
            </a:p>
          </p:txBody>
        </p:sp>
      </p:grpSp>
      <p:grpSp>
        <p:nvGrpSpPr>
          <p:cNvPr id="46" name="Group 45">
            <a:extLst>
              <a:ext uri="{FF2B5EF4-FFF2-40B4-BE49-F238E27FC236}">
                <a16:creationId xmlns:a16="http://schemas.microsoft.com/office/drawing/2014/main" id="{77D51096-BBC5-408C-88EF-42A98DC44576}"/>
              </a:ext>
            </a:extLst>
          </p:cNvPr>
          <p:cNvGrpSpPr/>
          <p:nvPr/>
        </p:nvGrpSpPr>
        <p:grpSpPr>
          <a:xfrm>
            <a:off x="907856" y="5058595"/>
            <a:ext cx="5001650" cy="492443"/>
            <a:chOff x="2562895" y="1897663"/>
            <a:chExt cx="5001650" cy="492443"/>
          </a:xfrm>
        </p:grpSpPr>
        <p:sp>
          <p:nvSpPr>
            <p:cNvPr id="47" name="Freeform 4460">
              <a:extLst>
                <a:ext uri="{FF2B5EF4-FFF2-40B4-BE49-F238E27FC236}">
                  <a16:creationId xmlns:a16="http://schemas.microsoft.com/office/drawing/2014/main" id="{A3ADAFBE-D3F5-457E-9295-B64F12E7DD5C}"/>
                </a:ext>
              </a:extLst>
            </p:cNvPr>
            <p:cNvSpPr>
              <a:spLocks noEditPoints="1"/>
            </p:cNvSpPr>
            <p:nvPr/>
          </p:nvSpPr>
          <p:spPr bwMode="auto">
            <a:xfrm>
              <a:off x="2562895" y="1967272"/>
              <a:ext cx="355600" cy="355600"/>
            </a:xfrm>
            <a:custGeom>
              <a:avLst/>
              <a:gdLst>
                <a:gd name="T0" fmla="*/ 371 w 718"/>
                <a:gd name="T1" fmla="*/ 473 h 718"/>
                <a:gd name="T2" fmla="*/ 359 w 718"/>
                <a:gd name="T3" fmla="*/ 478 h 718"/>
                <a:gd name="T4" fmla="*/ 346 w 718"/>
                <a:gd name="T5" fmla="*/ 473 h 718"/>
                <a:gd name="T6" fmla="*/ 344 w 718"/>
                <a:gd name="T7" fmla="*/ 371 h 718"/>
                <a:gd name="T8" fmla="*/ 353 w 718"/>
                <a:gd name="T9" fmla="*/ 361 h 718"/>
                <a:gd name="T10" fmla="*/ 381 w 718"/>
                <a:gd name="T11" fmla="*/ 356 h 718"/>
                <a:gd name="T12" fmla="*/ 412 w 718"/>
                <a:gd name="T13" fmla="*/ 337 h 718"/>
                <a:gd name="T14" fmla="*/ 430 w 718"/>
                <a:gd name="T15" fmla="*/ 307 h 718"/>
                <a:gd name="T16" fmla="*/ 432 w 718"/>
                <a:gd name="T17" fmla="*/ 270 h 718"/>
                <a:gd name="T18" fmla="*/ 417 w 718"/>
                <a:gd name="T19" fmla="*/ 238 h 718"/>
                <a:gd name="T20" fmla="*/ 388 w 718"/>
                <a:gd name="T21" fmla="*/ 215 h 718"/>
                <a:gd name="T22" fmla="*/ 352 w 718"/>
                <a:gd name="T23" fmla="*/ 210 h 718"/>
                <a:gd name="T24" fmla="*/ 318 w 718"/>
                <a:gd name="T25" fmla="*/ 223 h 718"/>
                <a:gd name="T26" fmla="*/ 293 w 718"/>
                <a:gd name="T27" fmla="*/ 249 h 718"/>
                <a:gd name="T28" fmla="*/ 284 w 718"/>
                <a:gd name="T29" fmla="*/ 285 h 718"/>
                <a:gd name="T30" fmla="*/ 278 w 718"/>
                <a:gd name="T31" fmla="*/ 298 h 718"/>
                <a:gd name="T32" fmla="*/ 263 w 718"/>
                <a:gd name="T33" fmla="*/ 299 h 718"/>
                <a:gd name="T34" fmla="*/ 254 w 718"/>
                <a:gd name="T35" fmla="*/ 288 h 718"/>
                <a:gd name="T36" fmla="*/ 263 w 718"/>
                <a:gd name="T37" fmla="*/ 244 h 718"/>
                <a:gd name="T38" fmla="*/ 292 w 718"/>
                <a:gd name="T39" fmla="*/ 205 h 718"/>
                <a:gd name="T40" fmla="*/ 338 w 718"/>
                <a:gd name="T41" fmla="*/ 182 h 718"/>
                <a:gd name="T42" fmla="*/ 390 w 718"/>
                <a:gd name="T43" fmla="*/ 184 h 718"/>
                <a:gd name="T44" fmla="*/ 433 w 718"/>
                <a:gd name="T45" fmla="*/ 211 h 718"/>
                <a:gd name="T46" fmla="*/ 459 w 718"/>
                <a:gd name="T47" fmla="*/ 254 h 718"/>
                <a:gd name="T48" fmla="*/ 462 w 718"/>
                <a:gd name="T49" fmla="*/ 304 h 718"/>
                <a:gd name="T50" fmla="*/ 444 w 718"/>
                <a:gd name="T51" fmla="*/ 347 h 718"/>
                <a:gd name="T52" fmla="*/ 410 w 718"/>
                <a:gd name="T53" fmla="*/ 377 h 718"/>
                <a:gd name="T54" fmla="*/ 359 w 718"/>
                <a:gd name="T55" fmla="*/ 576 h 718"/>
                <a:gd name="T56" fmla="*/ 328 w 718"/>
                <a:gd name="T57" fmla="*/ 560 h 718"/>
                <a:gd name="T58" fmla="*/ 324 w 718"/>
                <a:gd name="T59" fmla="*/ 524 h 718"/>
                <a:gd name="T60" fmla="*/ 352 w 718"/>
                <a:gd name="T61" fmla="*/ 502 h 718"/>
                <a:gd name="T62" fmla="*/ 385 w 718"/>
                <a:gd name="T63" fmla="*/ 513 h 718"/>
                <a:gd name="T64" fmla="*/ 396 w 718"/>
                <a:gd name="T65" fmla="*/ 546 h 718"/>
                <a:gd name="T66" fmla="*/ 373 w 718"/>
                <a:gd name="T67" fmla="*/ 574 h 718"/>
                <a:gd name="T68" fmla="*/ 322 w 718"/>
                <a:gd name="T69" fmla="*/ 2 h 718"/>
                <a:gd name="T70" fmla="*/ 235 w 718"/>
                <a:gd name="T71" fmla="*/ 23 h 718"/>
                <a:gd name="T72" fmla="*/ 158 w 718"/>
                <a:gd name="T73" fmla="*/ 62 h 718"/>
                <a:gd name="T74" fmla="*/ 93 w 718"/>
                <a:gd name="T75" fmla="*/ 118 h 718"/>
                <a:gd name="T76" fmla="*/ 44 w 718"/>
                <a:gd name="T77" fmla="*/ 188 h 718"/>
                <a:gd name="T78" fmla="*/ 11 w 718"/>
                <a:gd name="T79" fmla="*/ 270 h 718"/>
                <a:gd name="T80" fmla="*/ 0 w 718"/>
                <a:gd name="T81" fmla="*/ 360 h 718"/>
                <a:gd name="T82" fmla="*/ 11 w 718"/>
                <a:gd name="T83" fmla="*/ 450 h 718"/>
                <a:gd name="T84" fmla="*/ 44 w 718"/>
                <a:gd name="T85" fmla="*/ 531 h 718"/>
                <a:gd name="T86" fmla="*/ 93 w 718"/>
                <a:gd name="T87" fmla="*/ 600 h 718"/>
                <a:gd name="T88" fmla="*/ 158 w 718"/>
                <a:gd name="T89" fmla="*/ 657 h 718"/>
                <a:gd name="T90" fmla="*/ 235 w 718"/>
                <a:gd name="T91" fmla="*/ 697 h 718"/>
                <a:gd name="T92" fmla="*/ 322 w 718"/>
                <a:gd name="T93" fmla="*/ 716 h 718"/>
                <a:gd name="T94" fmla="*/ 414 w 718"/>
                <a:gd name="T95" fmla="*/ 714 h 718"/>
                <a:gd name="T96" fmla="*/ 498 w 718"/>
                <a:gd name="T97" fmla="*/ 690 h 718"/>
                <a:gd name="T98" fmla="*/ 573 w 718"/>
                <a:gd name="T99" fmla="*/ 647 h 718"/>
                <a:gd name="T100" fmla="*/ 635 w 718"/>
                <a:gd name="T101" fmla="*/ 588 h 718"/>
                <a:gd name="T102" fmla="*/ 682 w 718"/>
                <a:gd name="T103" fmla="*/ 515 h 718"/>
                <a:gd name="T104" fmla="*/ 710 w 718"/>
                <a:gd name="T105" fmla="*/ 431 h 718"/>
                <a:gd name="T106" fmla="*/ 718 w 718"/>
                <a:gd name="T107" fmla="*/ 340 h 718"/>
                <a:gd name="T108" fmla="*/ 702 w 718"/>
                <a:gd name="T109" fmla="*/ 253 h 718"/>
                <a:gd name="T110" fmla="*/ 665 w 718"/>
                <a:gd name="T111" fmla="*/ 174 h 718"/>
                <a:gd name="T112" fmla="*/ 613 w 718"/>
                <a:gd name="T113" fmla="*/ 106 h 718"/>
                <a:gd name="T114" fmla="*/ 544 w 718"/>
                <a:gd name="T115" fmla="*/ 53 h 718"/>
                <a:gd name="T116" fmla="*/ 465 w 718"/>
                <a:gd name="T117" fmla="*/ 16 h 718"/>
                <a:gd name="T118" fmla="*/ 377 w 718"/>
                <a:gd name="T119" fmla="*/ 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8" h="718">
                  <a:moveTo>
                    <a:pt x="374" y="390"/>
                  </a:moveTo>
                  <a:lnTo>
                    <a:pt x="374" y="463"/>
                  </a:lnTo>
                  <a:lnTo>
                    <a:pt x="373" y="467"/>
                  </a:lnTo>
                  <a:lnTo>
                    <a:pt x="373" y="470"/>
                  </a:lnTo>
                  <a:lnTo>
                    <a:pt x="371" y="473"/>
                  </a:lnTo>
                  <a:lnTo>
                    <a:pt x="370" y="475"/>
                  </a:lnTo>
                  <a:lnTo>
                    <a:pt x="367" y="476"/>
                  </a:lnTo>
                  <a:lnTo>
                    <a:pt x="365" y="477"/>
                  </a:lnTo>
                  <a:lnTo>
                    <a:pt x="361" y="478"/>
                  </a:lnTo>
                  <a:lnTo>
                    <a:pt x="359" y="478"/>
                  </a:lnTo>
                  <a:lnTo>
                    <a:pt x="356" y="478"/>
                  </a:lnTo>
                  <a:lnTo>
                    <a:pt x="353" y="477"/>
                  </a:lnTo>
                  <a:lnTo>
                    <a:pt x="351" y="476"/>
                  </a:lnTo>
                  <a:lnTo>
                    <a:pt x="349" y="475"/>
                  </a:lnTo>
                  <a:lnTo>
                    <a:pt x="346" y="473"/>
                  </a:lnTo>
                  <a:lnTo>
                    <a:pt x="345" y="470"/>
                  </a:lnTo>
                  <a:lnTo>
                    <a:pt x="344" y="467"/>
                  </a:lnTo>
                  <a:lnTo>
                    <a:pt x="344" y="463"/>
                  </a:lnTo>
                  <a:lnTo>
                    <a:pt x="344" y="375"/>
                  </a:lnTo>
                  <a:lnTo>
                    <a:pt x="344" y="371"/>
                  </a:lnTo>
                  <a:lnTo>
                    <a:pt x="345" y="368"/>
                  </a:lnTo>
                  <a:lnTo>
                    <a:pt x="346" y="366"/>
                  </a:lnTo>
                  <a:lnTo>
                    <a:pt x="349" y="364"/>
                  </a:lnTo>
                  <a:lnTo>
                    <a:pt x="351" y="362"/>
                  </a:lnTo>
                  <a:lnTo>
                    <a:pt x="353" y="361"/>
                  </a:lnTo>
                  <a:lnTo>
                    <a:pt x="356" y="360"/>
                  </a:lnTo>
                  <a:lnTo>
                    <a:pt x="359" y="360"/>
                  </a:lnTo>
                  <a:lnTo>
                    <a:pt x="367" y="359"/>
                  </a:lnTo>
                  <a:lnTo>
                    <a:pt x="374" y="358"/>
                  </a:lnTo>
                  <a:lnTo>
                    <a:pt x="381" y="356"/>
                  </a:lnTo>
                  <a:lnTo>
                    <a:pt x="388" y="353"/>
                  </a:lnTo>
                  <a:lnTo>
                    <a:pt x="395" y="350"/>
                  </a:lnTo>
                  <a:lnTo>
                    <a:pt x="401" y="347"/>
                  </a:lnTo>
                  <a:lnTo>
                    <a:pt x="406" y="343"/>
                  </a:lnTo>
                  <a:lnTo>
                    <a:pt x="412" y="337"/>
                  </a:lnTo>
                  <a:lnTo>
                    <a:pt x="417" y="332"/>
                  </a:lnTo>
                  <a:lnTo>
                    <a:pt x="421" y="327"/>
                  </a:lnTo>
                  <a:lnTo>
                    <a:pt x="425" y="320"/>
                  </a:lnTo>
                  <a:lnTo>
                    <a:pt x="428" y="314"/>
                  </a:lnTo>
                  <a:lnTo>
                    <a:pt x="430" y="307"/>
                  </a:lnTo>
                  <a:lnTo>
                    <a:pt x="432" y="300"/>
                  </a:lnTo>
                  <a:lnTo>
                    <a:pt x="433" y="292"/>
                  </a:lnTo>
                  <a:lnTo>
                    <a:pt x="434" y="285"/>
                  </a:lnTo>
                  <a:lnTo>
                    <a:pt x="433" y="277"/>
                  </a:lnTo>
                  <a:lnTo>
                    <a:pt x="432" y="270"/>
                  </a:lnTo>
                  <a:lnTo>
                    <a:pt x="430" y="262"/>
                  </a:lnTo>
                  <a:lnTo>
                    <a:pt x="428" y="256"/>
                  </a:lnTo>
                  <a:lnTo>
                    <a:pt x="425" y="249"/>
                  </a:lnTo>
                  <a:lnTo>
                    <a:pt x="421" y="243"/>
                  </a:lnTo>
                  <a:lnTo>
                    <a:pt x="417" y="238"/>
                  </a:lnTo>
                  <a:lnTo>
                    <a:pt x="412" y="232"/>
                  </a:lnTo>
                  <a:lnTo>
                    <a:pt x="406" y="227"/>
                  </a:lnTo>
                  <a:lnTo>
                    <a:pt x="401" y="223"/>
                  </a:lnTo>
                  <a:lnTo>
                    <a:pt x="395" y="218"/>
                  </a:lnTo>
                  <a:lnTo>
                    <a:pt x="388" y="215"/>
                  </a:lnTo>
                  <a:lnTo>
                    <a:pt x="381" y="213"/>
                  </a:lnTo>
                  <a:lnTo>
                    <a:pt x="374" y="211"/>
                  </a:lnTo>
                  <a:lnTo>
                    <a:pt x="367" y="210"/>
                  </a:lnTo>
                  <a:lnTo>
                    <a:pt x="359" y="210"/>
                  </a:lnTo>
                  <a:lnTo>
                    <a:pt x="352" y="210"/>
                  </a:lnTo>
                  <a:lnTo>
                    <a:pt x="344" y="211"/>
                  </a:lnTo>
                  <a:lnTo>
                    <a:pt x="337" y="213"/>
                  </a:lnTo>
                  <a:lnTo>
                    <a:pt x="329" y="215"/>
                  </a:lnTo>
                  <a:lnTo>
                    <a:pt x="323" y="218"/>
                  </a:lnTo>
                  <a:lnTo>
                    <a:pt x="318" y="223"/>
                  </a:lnTo>
                  <a:lnTo>
                    <a:pt x="311" y="227"/>
                  </a:lnTo>
                  <a:lnTo>
                    <a:pt x="306" y="232"/>
                  </a:lnTo>
                  <a:lnTo>
                    <a:pt x="301" y="238"/>
                  </a:lnTo>
                  <a:lnTo>
                    <a:pt x="297" y="243"/>
                  </a:lnTo>
                  <a:lnTo>
                    <a:pt x="293" y="249"/>
                  </a:lnTo>
                  <a:lnTo>
                    <a:pt x="290" y="256"/>
                  </a:lnTo>
                  <a:lnTo>
                    <a:pt x="288" y="262"/>
                  </a:lnTo>
                  <a:lnTo>
                    <a:pt x="285" y="270"/>
                  </a:lnTo>
                  <a:lnTo>
                    <a:pt x="284" y="277"/>
                  </a:lnTo>
                  <a:lnTo>
                    <a:pt x="284" y="285"/>
                  </a:lnTo>
                  <a:lnTo>
                    <a:pt x="283" y="288"/>
                  </a:lnTo>
                  <a:lnTo>
                    <a:pt x="283" y="290"/>
                  </a:lnTo>
                  <a:lnTo>
                    <a:pt x="281" y="293"/>
                  </a:lnTo>
                  <a:lnTo>
                    <a:pt x="280" y="295"/>
                  </a:lnTo>
                  <a:lnTo>
                    <a:pt x="278" y="298"/>
                  </a:lnTo>
                  <a:lnTo>
                    <a:pt x="275" y="299"/>
                  </a:lnTo>
                  <a:lnTo>
                    <a:pt x="273" y="299"/>
                  </a:lnTo>
                  <a:lnTo>
                    <a:pt x="269" y="300"/>
                  </a:lnTo>
                  <a:lnTo>
                    <a:pt x="266" y="299"/>
                  </a:lnTo>
                  <a:lnTo>
                    <a:pt x="263" y="299"/>
                  </a:lnTo>
                  <a:lnTo>
                    <a:pt x="261" y="298"/>
                  </a:lnTo>
                  <a:lnTo>
                    <a:pt x="259" y="295"/>
                  </a:lnTo>
                  <a:lnTo>
                    <a:pt x="257" y="293"/>
                  </a:lnTo>
                  <a:lnTo>
                    <a:pt x="255" y="290"/>
                  </a:lnTo>
                  <a:lnTo>
                    <a:pt x="254" y="288"/>
                  </a:lnTo>
                  <a:lnTo>
                    <a:pt x="254" y="285"/>
                  </a:lnTo>
                  <a:lnTo>
                    <a:pt x="254" y="274"/>
                  </a:lnTo>
                  <a:lnTo>
                    <a:pt x="257" y="263"/>
                  </a:lnTo>
                  <a:lnTo>
                    <a:pt x="259" y="254"/>
                  </a:lnTo>
                  <a:lnTo>
                    <a:pt x="263" y="244"/>
                  </a:lnTo>
                  <a:lnTo>
                    <a:pt x="267" y="236"/>
                  </a:lnTo>
                  <a:lnTo>
                    <a:pt x="273" y="226"/>
                  </a:lnTo>
                  <a:lnTo>
                    <a:pt x="278" y="218"/>
                  </a:lnTo>
                  <a:lnTo>
                    <a:pt x="285" y="211"/>
                  </a:lnTo>
                  <a:lnTo>
                    <a:pt x="292" y="205"/>
                  </a:lnTo>
                  <a:lnTo>
                    <a:pt x="300" y="198"/>
                  </a:lnTo>
                  <a:lnTo>
                    <a:pt x="309" y="193"/>
                  </a:lnTo>
                  <a:lnTo>
                    <a:pt x="319" y="188"/>
                  </a:lnTo>
                  <a:lnTo>
                    <a:pt x="328" y="184"/>
                  </a:lnTo>
                  <a:lnTo>
                    <a:pt x="338" y="182"/>
                  </a:lnTo>
                  <a:lnTo>
                    <a:pt x="349" y="180"/>
                  </a:lnTo>
                  <a:lnTo>
                    <a:pt x="359" y="180"/>
                  </a:lnTo>
                  <a:lnTo>
                    <a:pt x="370" y="180"/>
                  </a:lnTo>
                  <a:lnTo>
                    <a:pt x="380" y="182"/>
                  </a:lnTo>
                  <a:lnTo>
                    <a:pt x="390" y="184"/>
                  </a:lnTo>
                  <a:lnTo>
                    <a:pt x="400" y="188"/>
                  </a:lnTo>
                  <a:lnTo>
                    <a:pt x="408" y="193"/>
                  </a:lnTo>
                  <a:lnTo>
                    <a:pt x="417" y="198"/>
                  </a:lnTo>
                  <a:lnTo>
                    <a:pt x="426" y="205"/>
                  </a:lnTo>
                  <a:lnTo>
                    <a:pt x="433" y="211"/>
                  </a:lnTo>
                  <a:lnTo>
                    <a:pt x="439" y="218"/>
                  </a:lnTo>
                  <a:lnTo>
                    <a:pt x="446" y="226"/>
                  </a:lnTo>
                  <a:lnTo>
                    <a:pt x="451" y="236"/>
                  </a:lnTo>
                  <a:lnTo>
                    <a:pt x="456" y="244"/>
                  </a:lnTo>
                  <a:lnTo>
                    <a:pt x="459" y="254"/>
                  </a:lnTo>
                  <a:lnTo>
                    <a:pt x="461" y="263"/>
                  </a:lnTo>
                  <a:lnTo>
                    <a:pt x="463" y="274"/>
                  </a:lnTo>
                  <a:lnTo>
                    <a:pt x="463" y="285"/>
                  </a:lnTo>
                  <a:lnTo>
                    <a:pt x="463" y="294"/>
                  </a:lnTo>
                  <a:lnTo>
                    <a:pt x="462" y="304"/>
                  </a:lnTo>
                  <a:lnTo>
                    <a:pt x="460" y="314"/>
                  </a:lnTo>
                  <a:lnTo>
                    <a:pt x="457" y="322"/>
                  </a:lnTo>
                  <a:lnTo>
                    <a:pt x="453" y="331"/>
                  </a:lnTo>
                  <a:lnTo>
                    <a:pt x="448" y="339"/>
                  </a:lnTo>
                  <a:lnTo>
                    <a:pt x="444" y="347"/>
                  </a:lnTo>
                  <a:lnTo>
                    <a:pt x="437" y="354"/>
                  </a:lnTo>
                  <a:lnTo>
                    <a:pt x="431" y="361"/>
                  </a:lnTo>
                  <a:lnTo>
                    <a:pt x="425" y="367"/>
                  </a:lnTo>
                  <a:lnTo>
                    <a:pt x="417" y="373"/>
                  </a:lnTo>
                  <a:lnTo>
                    <a:pt x="410" y="377"/>
                  </a:lnTo>
                  <a:lnTo>
                    <a:pt x="401" y="381"/>
                  </a:lnTo>
                  <a:lnTo>
                    <a:pt x="392" y="384"/>
                  </a:lnTo>
                  <a:lnTo>
                    <a:pt x="383" y="387"/>
                  </a:lnTo>
                  <a:lnTo>
                    <a:pt x="374" y="390"/>
                  </a:lnTo>
                  <a:close/>
                  <a:moveTo>
                    <a:pt x="359" y="576"/>
                  </a:moveTo>
                  <a:lnTo>
                    <a:pt x="352" y="576"/>
                  </a:lnTo>
                  <a:lnTo>
                    <a:pt x="344" y="574"/>
                  </a:lnTo>
                  <a:lnTo>
                    <a:pt x="338" y="569"/>
                  </a:lnTo>
                  <a:lnTo>
                    <a:pt x="332" y="565"/>
                  </a:lnTo>
                  <a:lnTo>
                    <a:pt x="328" y="560"/>
                  </a:lnTo>
                  <a:lnTo>
                    <a:pt x="324" y="553"/>
                  </a:lnTo>
                  <a:lnTo>
                    <a:pt x="322" y="546"/>
                  </a:lnTo>
                  <a:lnTo>
                    <a:pt x="322" y="538"/>
                  </a:lnTo>
                  <a:lnTo>
                    <a:pt x="322" y="532"/>
                  </a:lnTo>
                  <a:lnTo>
                    <a:pt x="324" y="524"/>
                  </a:lnTo>
                  <a:lnTo>
                    <a:pt x="328" y="518"/>
                  </a:lnTo>
                  <a:lnTo>
                    <a:pt x="332" y="513"/>
                  </a:lnTo>
                  <a:lnTo>
                    <a:pt x="338" y="508"/>
                  </a:lnTo>
                  <a:lnTo>
                    <a:pt x="344" y="504"/>
                  </a:lnTo>
                  <a:lnTo>
                    <a:pt x="352" y="502"/>
                  </a:lnTo>
                  <a:lnTo>
                    <a:pt x="359" y="501"/>
                  </a:lnTo>
                  <a:lnTo>
                    <a:pt x="367" y="502"/>
                  </a:lnTo>
                  <a:lnTo>
                    <a:pt x="373" y="504"/>
                  </a:lnTo>
                  <a:lnTo>
                    <a:pt x="380" y="508"/>
                  </a:lnTo>
                  <a:lnTo>
                    <a:pt x="385" y="513"/>
                  </a:lnTo>
                  <a:lnTo>
                    <a:pt x="390" y="518"/>
                  </a:lnTo>
                  <a:lnTo>
                    <a:pt x="393" y="524"/>
                  </a:lnTo>
                  <a:lnTo>
                    <a:pt x="396" y="532"/>
                  </a:lnTo>
                  <a:lnTo>
                    <a:pt x="397" y="538"/>
                  </a:lnTo>
                  <a:lnTo>
                    <a:pt x="396" y="546"/>
                  </a:lnTo>
                  <a:lnTo>
                    <a:pt x="393" y="553"/>
                  </a:lnTo>
                  <a:lnTo>
                    <a:pt x="390" y="560"/>
                  </a:lnTo>
                  <a:lnTo>
                    <a:pt x="385" y="565"/>
                  </a:lnTo>
                  <a:lnTo>
                    <a:pt x="380" y="569"/>
                  </a:lnTo>
                  <a:lnTo>
                    <a:pt x="373" y="574"/>
                  </a:lnTo>
                  <a:lnTo>
                    <a:pt x="367" y="576"/>
                  </a:lnTo>
                  <a:lnTo>
                    <a:pt x="359" y="576"/>
                  </a:lnTo>
                  <a:close/>
                  <a:moveTo>
                    <a:pt x="359" y="0"/>
                  </a:moveTo>
                  <a:lnTo>
                    <a:pt x="340" y="1"/>
                  </a:lnTo>
                  <a:lnTo>
                    <a:pt x="322" y="2"/>
                  </a:lnTo>
                  <a:lnTo>
                    <a:pt x="305" y="4"/>
                  </a:lnTo>
                  <a:lnTo>
                    <a:pt x="286" y="8"/>
                  </a:lnTo>
                  <a:lnTo>
                    <a:pt x="269" y="12"/>
                  </a:lnTo>
                  <a:lnTo>
                    <a:pt x="252" y="16"/>
                  </a:lnTo>
                  <a:lnTo>
                    <a:pt x="235" y="23"/>
                  </a:lnTo>
                  <a:lnTo>
                    <a:pt x="219" y="29"/>
                  </a:lnTo>
                  <a:lnTo>
                    <a:pt x="203" y="36"/>
                  </a:lnTo>
                  <a:lnTo>
                    <a:pt x="188" y="44"/>
                  </a:lnTo>
                  <a:lnTo>
                    <a:pt x="173" y="53"/>
                  </a:lnTo>
                  <a:lnTo>
                    <a:pt x="158" y="62"/>
                  </a:lnTo>
                  <a:lnTo>
                    <a:pt x="144" y="72"/>
                  </a:lnTo>
                  <a:lnTo>
                    <a:pt x="130" y="83"/>
                  </a:lnTo>
                  <a:lnTo>
                    <a:pt x="117" y="94"/>
                  </a:lnTo>
                  <a:lnTo>
                    <a:pt x="106" y="106"/>
                  </a:lnTo>
                  <a:lnTo>
                    <a:pt x="93" y="118"/>
                  </a:lnTo>
                  <a:lnTo>
                    <a:pt x="82" y="132"/>
                  </a:lnTo>
                  <a:lnTo>
                    <a:pt x="71" y="145"/>
                  </a:lnTo>
                  <a:lnTo>
                    <a:pt x="62" y="159"/>
                  </a:lnTo>
                  <a:lnTo>
                    <a:pt x="52" y="174"/>
                  </a:lnTo>
                  <a:lnTo>
                    <a:pt x="44" y="188"/>
                  </a:lnTo>
                  <a:lnTo>
                    <a:pt x="35" y="205"/>
                  </a:lnTo>
                  <a:lnTo>
                    <a:pt x="29" y="220"/>
                  </a:lnTo>
                  <a:lnTo>
                    <a:pt x="22" y="237"/>
                  </a:lnTo>
                  <a:lnTo>
                    <a:pt x="16" y="253"/>
                  </a:lnTo>
                  <a:lnTo>
                    <a:pt x="11" y="270"/>
                  </a:lnTo>
                  <a:lnTo>
                    <a:pt x="7" y="287"/>
                  </a:lnTo>
                  <a:lnTo>
                    <a:pt x="4" y="305"/>
                  </a:lnTo>
                  <a:lnTo>
                    <a:pt x="2" y="322"/>
                  </a:lnTo>
                  <a:lnTo>
                    <a:pt x="1" y="340"/>
                  </a:lnTo>
                  <a:lnTo>
                    <a:pt x="0" y="360"/>
                  </a:lnTo>
                  <a:lnTo>
                    <a:pt x="1" y="378"/>
                  </a:lnTo>
                  <a:lnTo>
                    <a:pt x="2" y="396"/>
                  </a:lnTo>
                  <a:lnTo>
                    <a:pt x="4" y="414"/>
                  </a:lnTo>
                  <a:lnTo>
                    <a:pt x="7" y="431"/>
                  </a:lnTo>
                  <a:lnTo>
                    <a:pt x="11" y="450"/>
                  </a:lnTo>
                  <a:lnTo>
                    <a:pt x="16" y="467"/>
                  </a:lnTo>
                  <a:lnTo>
                    <a:pt x="22" y="483"/>
                  </a:lnTo>
                  <a:lnTo>
                    <a:pt x="29" y="499"/>
                  </a:lnTo>
                  <a:lnTo>
                    <a:pt x="35" y="515"/>
                  </a:lnTo>
                  <a:lnTo>
                    <a:pt x="44" y="531"/>
                  </a:lnTo>
                  <a:lnTo>
                    <a:pt x="52" y="546"/>
                  </a:lnTo>
                  <a:lnTo>
                    <a:pt x="62" y="560"/>
                  </a:lnTo>
                  <a:lnTo>
                    <a:pt x="71" y="575"/>
                  </a:lnTo>
                  <a:lnTo>
                    <a:pt x="82" y="588"/>
                  </a:lnTo>
                  <a:lnTo>
                    <a:pt x="93" y="600"/>
                  </a:lnTo>
                  <a:lnTo>
                    <a:pt x="106" y="613"/>
                  </a:lnTo>
                  <a:lnTo>
                    <a:pt x="117" y="625"/>
                  </a:lnTo>
                  <a:lnTo>
                    <a:pt x="130" y="637"/>
                  </a:lnTo>
                  <a:lnTo>
                    <a:pt x="144" y="647"/>
                  </a:lnTo>
                  <a:lnTo>
                    <a:pt x="158" y="657"/>
                  </a:lnTo>
                  <a:lnTo>
                    <a:pt x="173" y="667"/>
                  </a:lnTo>
                  <a:lnTo>
                    <a:pt x="188" y="675"/>
                  </a:lnTo>
                  <a:lnTo>
                    <a:pt x="203" y="683"/>
                  </a:lnTo>
                  <a:lnTo>
                    <a:pt x="219" y="690"/>
                  </a:lnTo>
                  <a:lnTo>
                    <a:pt x="235" y="697"/>
                  </a:lnTo>
                  <a:lnTo>
                    <a:pt x="252" y="702"/>
                  </a:lnTo>
                  <a:lnTo>
                    <a:pt x="269" y="707"/>
                  </a:lnTo>
                  <a:lnTo>
                    <a:pt x="286" y="711"/>
                  </a:lnTo>
                  <a:lnTo>
                    <a:pt x="305" y="714"/>
                  </a:lnTo>
                  <a:lnTo>
                    <a:pt x="322" y="716"/>
                  </a:lnTo>
                  <a:lnTo>
                    <a:pt x="340" y="718"/>
                  </a:lnTo>
                  <a:lnTo>
                    <a:pt x="359" y="718"/>
                  </a:lnTo>
                  <a:lnTo>
                    <a:pt x="377" y="718"/>
                  </a:lnTo>
                  <a:lnTo>
                    <a:pt x="396" y="716"/>
                  </a:lnTo>
                  <a:lnTo>
                    <a:pt x="414" y="714"/>
                  </a:lnTo>
                  <a:lnTo>
                    <a:pt x="431" y="711"/>
                  </a:lnTo>
                  <a:lnTo>
                    <a:pt x="448" y="707"/>
                  </a:lnTo>
                  <a:lnTo>
                    <a:pt x="465" y="702"/>
                  </a:lnTo>
                  <a:lnTo>
                    <a:pt x="482" y="697"/>
                  </a:lnTo>
                  <a:lnTo>
                    <a:pt x="498" y="690"/>
                  </a:lnTo>
                  <a:lnTo>
                    <a:pt x="514" y="683"/>
                  </a:lnTo>
                  <a:lnTo>
                    <a:pt x="529" y="675"/>
                  </a:lnTo>
                  <a:lnTo>
                    <a:pt x="544" y="667"/>
                  </a:lnTo>
                  <a:lnTo>
                    <a:pt x="559" y="657"/>
                  </a:lnTo>
                  <a:lnTo>
                    <a:pt x="573" y="647"/>
                  </a:lnTo>
                  <a:lnTo>
                    <a:pt x="587" y="637"/>
                  </a:lnTo>
                  <a:lnTo>
                    <a:pt x="600" y="625"/>
                  </a:lnTo>
                  <a:lnTo>
                    <a:pt x="613" y="613"/>
                  </a:lnTo>
                  <a:lnTo>
                    <a:pt x="625" y="600"/>
                  </a:lnTo>
                  <a:lnTo>
                    <a:pt x="635" y="588"/>
                  </a:lnTo>
                  <a:lnTo>
                    <a:pt x="646" y="575"/>
                  </a:lnTo>
                  <a:lnTo>
                    <a:pt x="657" y="560"/>
                  </a:lnTo>
                  <a:lnTo>
                    <a:pt x="665" y="546"/>
                  </a:lnTo>
                  <a:lnTo>
                    <a:pt x="675" y="531"/>
                  </a:lnTo>
                  <a:lnTo>
                    <a:pt x="682" y="515"/>
                  </a:lnTo>
                  <a:lnTo>
                    <a:pt x="690" y="499"/>
                  </a:lnTo>
                  <a:lnTo>
                    <a:pt x="696" y="483"/>
                  </a:lnTo>
                  <a:lnTo>
                    <a:pt x="702" y="467"/>
                  </a:lnTo>
                  <a:lnTo>
                    <a:pt x="707" y="450"/>
                  </a:lnTo>
                  <a:lnTo>
                    <a:pt x="710" y="431"/>
                  </a:lnTo>
                  <a:lnTo>
                    <a:pt x="713" y="414"/>
                  </a:lnTo>
                  <a:lnTo>
                    <a:pt x="716" y="396"/>
                  </a:lnTo>
                  <a:lnTo>
                    <a:pt x="718" y="378"/>
                  </a:lnTo>
                  <a:lnTo>
                    <a:pt x="718" y="360"/>
                  </a:lnTo>
                  <a:lnTo>
                    <a:pt x="718" y="340"/>
                  </a:lnTo>
                  <a:lnTo>
                    <a:pt x="716" y="322"/>
                  </a:lnTo>
                  <a:lnTo>
                    <a:pt x="713" y="305"/>
                  </a:lnTo>
                  <a:lnTo>
                    <a:pt x="710" y="287"/>
                  </a:lnTo>
                  <a:lnTo>
                    <a:pt x="707" y="270"/>
                  </a:lnTo>
                  <a:lnTo>
                    <a:pt x="702" y="253"/>
                  </a:lnTo>
                  <a:lnTo>
                    <a:pt x="696" y="237"/>
                  </a:lnTo>
                  <a:lnTo>
                    <a:pt x="690" y="220"/>
                  </a:lnTo>
                  <a:lnTo>
                    <a:pt x="682" y="205"/>
                  </a:lnTo>
                  <a:lnTo>
                    <a:pt x="675" y="188"/>
                  </a:lnTo>
                  <a:lnTo>
                    <a:pt x="665" y="174"/>
                  </a:lnTo>
                  <a:lnTo>
                    <a:pt x="657" y="159"/>
                  </a:lnTo>
                  <a:lnTo>
                    <a:pt x="646" y="145"/>
                  </a:lnTo>
                  <a:lnTo>
                    <a:pt x="635" y="132"/>
                  </a:lnTo>
                  <a:lnTo>
                    <a:pt x="625" y="118"/>
                  </a:lnTo>
                  <a:lnTo>
                    <a:pt x="613" y="106"/>
                  </a:lnTo>
                  <a:lnTo>
                    <a:pt x="600" y="94"/>
                  </a:lnTo>
                  <a:lnTo>
                    <a:pt x="587" y="83"/>
                  </a:lnTo>
                  <a:lnTo>
                    <a:pt x="573" y="72"/>
                  </a:lnTo>
                  <a:lnTo>
                    <a:pt x="559" y="62"/>
                  </a:lnTo>
                  <a:lnTo>
                    <a:pt x="544" y="53"/>
                  </a:lnTo>
                  <a:lnTo>
                    <a:pt x="529" y="44"/>
                  </a:lnTo>
                  <a:lnTo>
                    <a:pt x="514" y="36"/>
                  </a:lnTo>
                  <a:lnTo>
                    <a:pt x="498" y="29"/>
                  </a:lnTo>
                  <a:lnTo>
                    <a:pt x="482" y="23"/>
                  </a:lnTo>
                  <a:lnTo>
                    <a:pt x="465" y="16"/>
                  </a:lnTo>
                  <a:lnTo>
                    <a:pt x="448" y="12"/>
                  </a:lnTo>
                  <a:lnTo>
                    <a:pt x="431" y="8"/>
                  </a:lnTo>
                  <a:lnTo>
                    <a:pt x="414" y="4"/>
                  </a:lnTo>
                  <a:lnTo>
                    <a:pt x="396" y="2"/>
                  </a:lnTo>
                  <a:lnTo>
                    <a:pt x="377" y="1"/>
                  </a:lnTo>
                  <a:lnTo>
                    <a:pt x="359"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TextBox 47">
              <a:extLst>
                <a:ext uri="{FF2B5EF4-FFF2-40B4-BE49-F238E27FC236}">
                  <a16:creationId xmlns:a16="http://schemas.microsoft.com/office/drawing/2014/main" id="{99511ED0-8514-4262-A024-C99E145CC340}"/>
                </a:ext>
              </a:extLst>
            </p:cNvPr>
            <p:cNvSpPr txBox="1"/>
            <p:nvPr/>
          </p:nvSpPr>
          <p:spPr>
            <a:xfrm>
              <a:off x="3129914" y="1897663"/>
              <a:ext cx="4434631" cy="492443"/>
            </a:xfrm>
            <a:prstGeom prst="rect">
              <a:avLst/>
            </a:prstGeom>
            <a:noFill/>
          </p:spPr>
          <p:txBody>
            <a:bodyPr wrap="square" lIns="0" tIns="0" rIns="0" bIns="0" rtlCol="0">
              <a:spAutoFit/>
            </a:bodyPr>
            <a:lstStyle/>
            <a:p>
              <a:r>
                <a:rPr lang="en-US" sz="1600" dirty="0"/>
                <a:t>CSR enhances the company’s ability to attract and recruit top talent.</a:t>
              </a:r>
            </a:p>
          </p:txBody>
        </p:sp>
      </p:grpSp>
      <p:sp>
        <p:nvSpPr>
          <p:cNvPr id="50" name="Rectangle: Rounded Corners 49">
            <a:extLst>
              <a:ext uri="{FF2B5EF4-FFF2-40B4-BE49-F238E27FC236}">
                <a16:creationId xmlns:a16="http://schemas.microsoft.com/office/drawing/2014/main" id="{5E09CD6F-CEF6-434B-A6ED-9A2E0789D5BB}"/>
              </a:ext>
            </a:extLst>
          </p:cNvPr>
          <p:cNvSpPr/>
          <p:nvPr/>
        </p:nvSpPr>
        <p:spPr>
          <a:xfrm>
            <a:off x="6820060" y="1348608"/>
            <a:ext cx="478565" cy="4448651"/>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E7994FEA-733A-4DF9-9988-16EA8BC86119}"/>
              </a:ext>
            </a:extLst>
          </p:cNvPr>
          <p:cNvSpPr/>
          <p:nvPr/>
        </p:nvSpPr>
        <p:spPr>
          <a:xfrm rot="10800000">
            <a:off x="6820058" y="3416252"/>
            <a:ext cx="478567" cy="2381007"/>
          </a:xfrm>
          <a:prstGeom prst="roundRect">
            <a:avLst>
              <a:gd name="adj" fmla="val 50000"/>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C0944A8F-5788-4D90-8C91-792DAADAA972}"/>
              </a:ext>
            </a:extLst>
          </p:cNvPr>
          <p:cNvSpPr/>
          <p:nvPr/>
        </p:nvSpPr>
        <p:spPr>
          <a:xfrm>
            <a:off x="6686356" y="5051284"/>
            <a:ext cx="745975" cy="745975"/>
          </a:xfrm>
          <a:prstGeom prst="ellipse">
            <a:avLst/>
          </a:prstGeom>
          <a:solidFill>
            <a:schemeClr val="accent1">
              <a:lumMod val="9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 name="Rectangle: Rounded Corners 53">
            <a:extLst>
              <a:ext uri="{FF2B5EF4-FFF2-40B4-BE49-F238E27FC236}">
                <a16:creationId xmlns:a16="http://schemas.microsoft.com/office/drawing/2014/main" id="{6CF635EE-A50A-48CC-A8D4-DF34FA8B45C0}"/>
              </a:ext>
            </a:extLst>
          </p:cNvPr>
          <p:cNvSpPr/>
          <p:nvPr/>
        </p:nvSpPr>
        <p:spPr>
          <a:xfrm>
            <a:off x="8103998" y="1348608"/>
            <a:ext cx="478565" cy="4448651"/>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Rounded Corners 54">
            <a:extLst>
              <a:ext uri="{FF2B5EF4-FFF2-40B4-BE49-F238E27FC236}">
                <a16:creationId xmlns:a16="http://schemas.microsoft.com/office/drawing/2014/main" id="{85D27116-2A7F-4B44-A066-99EBE20F20C8}"/>
              </a:ext>
            </a:extLst>
          </p:cNvPr>
          <p:cNvSpPr/>
          <p:nvPr/>
        </p:nvSpPr>
        <p:spPr>
          <a:xfrm rot="10800000">
            <a:off x="8103995" y="1991631"/>
            <a:ext cx="478567" cy="3805628"/>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2EE48A7E-DB8A-430A-820A-0879B1B68102}"/>
              </a:ext>
            </a:extLst>
          </p:cNvPr>
          <p:cNvSpPr/>
          <p:nvPr/>
        </p:nvSpPr>
        <p:spPr>
          <a:xfrm>
            <a:off x="7970294" y="5051284"/>
            <a:ext cx="745975" cy="745975"/>
          </a:xfrm>
          <a:prstGeom prst="ellipse">
            <a:avLst/>
          </a:prstGeom>
          <a:solidFill>
            <a:schemeClr val="accent1">
              <a:lumMod val="5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8" name="Rectangle: Rounded Corners 57">
            <a:extLst>
              <a:ext uri="{FF2B5EF4-FFF2-40B4-BE49-F238E27FC236}">
                <a16:creationId xmlns:a16="http://schemas.microsoft.com/office/drawing/2014/main" id="{11E26A98-A6E6-4976-AB3A-F4F82DE1DD3A}"/>
              </a:ext>
            </a:extLst>
          </p:cNvPr>
          <p:cNvSpPr/>
          <p:nvPr/>
        </p:nvSpPr>
        <p:spPr>
          <a:xfrm>
            <a:off x="9387936" y="1348608"/>
            <a:ext cx="478565" cy="4448651"/>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Rounded Corners 58">
            <a:extLst>
              <a:ext uri="{FF2B5EF4-FFF2-40B4-BE49-F238E27FC236}">
                <a16:creationId xmlns:a16="http://schemas.microsoft.com/office/drawing/2014/main" id="{ABB226EC-21EB-4AD1-98D0-0F085C6F6D51}"/>
              </a:ext>
            </a:extLst>
          </p:cNvPr>
          <p:cNvSpPr/>
          <p:nvPr/>
        </p:nvSpPr>
        <p:spPr>
          <a:xfrm rot="10800000">
            <a:off x="9387933" y="2884047"/>
            <a:ext cx="478567" cy="2913212"/>
          </a:xfrm>
          <a:prstGeom prst="roundRect">
            <a:avLst>
              <a:gd name="adj" fmla="val 500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9A4456E9-DEAA-49D6-9B7E-2329DE154912}"/>
              </a:ext>
            </a:extLst>
          </p:cNvPr>
          <p:cNvSpPr/>
          <p:nvPr/>
        </p:nvSpPr>
        <p:spPr>
          <a:xfrm>
            <a:off x="9254232" y="5051284"/>
            <a:ext cx="745975" cy="745975"/>
          </a:xfrm>
          <a:prstGeom prst="ellipse">
            <a:avLst/>
          </a:prstGeom>
          <a:solidFill>
            <a:schemeClr val="accent3">
              <a:lumMod val="40000"/>
              <a:lumOff val="6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2" name="Rectangle: Rounded Corners 61">
            <a:extLst>
              <a:ext uri="{FF2B5EF4-FFF2-40B4-BE49-F238E27FC236}">
                <a16:creationId xmlns:a16="http://schemas.microsoft.com/office/drawing/2014/main" id="{64AAC813-DCDB-4937-A92D-DD29F793BF83}"/>
              </a:ext>
            </a:extLst>
          </p:cNvPr>
          <p:cNvSpPr/>
          <p:nvPr/>
        </p:nvSpPr>
        <p:spPr>
          <a:xfrm>
            <a:off x="10671874" y="1348608"/>
            <a:ext cx="478565" cy="4448651"/>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Rounded Corners 62">
            <a:extLst>
              <a:ext uri="{FF2B5EF4-FFF2-40B4-BE49-F238E27FC236}">
                <a16:creationId xmlns:a16="http://schemas.microsoft.com/office/drawing/2014/main" id="{29C5E4DB-5FE5-45DB-8FCE-68C164FF1D42}"/>
              </a:ext>
            </a:extLst>
          </p:cNvPr>
          <p:cNvSpPr/>
          <p:nvPr/>
        </p:nvSpPr>
        <p:spPr>
          <a:xfrm rot="10800000">
            <a:off x="10671871" y="2420255"/>
            <a:ext cx="478567" cy="3377003"/>
          </a:xfrm>
          <a:prstGeom prst="roundRect">
            <a:avLst>
              <a:gd name="adj"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B66A7EB5-8A43-4641-98D4-3B9EAC2A68FB}"/>
              </a:ext>
            </a:extLst>
          </p:cNvPr>
          <p:cNvSpPr/>
          <p:nvPr/>
        </p:nvSpPr>
        <p:spPr>
          <a:xfrm>
            <a:off x="10538170" y="5051284"/>
            <a:ext cx="745975" cy="745975"/>
          </a:xfrm>
          <a:prstGeom prst="ellipse">
            <a:avLst/>
          </a:prstGeom>
          <a:solidFill>
            <a:schemeClr val="accent3">
              <a:lumMod val="60000"/>
              <a:lumOff val="40000"/>
            </a:schemeClr>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65" name="Group 64">
            <a:extLst>
              <a:ext uri="{FF2B5EF4-FFF2-40B4-BE49-F238E27FC236}">
                <a16:creationId xmlns:a16="http://schemas.microsoft.com/office/drawing/2014/main" id="{9B946657-FF9B-45CD-BD89-C30003057554}"/>
              </a:ext>
            </a:extLst>
          </p:cNvPr>
          <p:cNvGrpSpPr/>
          <p:nvPr/>
        </p:nvGrpSpPr>
        <p:grpSpPr>
          <a:xfrm>
            <a:off x="6971879" y="5281396"/>
            <a:ext cx="185737" cy="285750"/>
            <a:chOff x="7666038" y="5922963"/>
            <a:chExt cx="185737" cy="285750"/>
          </a:xfrm>
          <a:solidFill>
            <a:schemeClr val="bg1"/>
          </a:solidFill>
        </p:grpSpPr>
        <p:sp>
          <p:nvSpPr>
            <p:cNvPr id="66" name="Freeform 3584">
              <a:extLst>
                <a:ext uri="{FF2B5EF4-FFF2-40B4-BE49-F238E27FC236}">
                  <a16:creationId xmlns:a16="http://schemas.microsoft.com/office/drawing/2014/main" id="{0DA3CCBE-7AEC-4476-BE14-5E2527C71A0E}"/>
                </a:ext>
              </a:extLst>
            </p:cNvPr>
            <p:cNvSpPr>
              <a:spLocks/>
            </p:cNvSpPr>
            <p:nvPr/>
          </p:nvSpPr>
          <p:spPr bwMode="auto">
            <a:xfrm>
              <a:off x="7689850" y="5922963"/>
              <a:ext cx="95250" cy="95250"/>
            </a:xfrm>
            <a:custGeom>
              <a:avLst/>
              <a:gdLst>
                <a:gd name="T0" fmla="*/ 133 w 240"/>
                <a:gd name="T1" fmla="*/ 239 h 240"/>
                <a:gd name="T2" fmla="*/ 156 w 240"/>
                <a:gd name="T3" fmla="*/ 235 h 240"/>
                <a:gd name="T4" fmla="*/ 177 w 240"/>
                <a:gd name="T5" fmla="*/ 226 h 240"/>
                <a:gd name="T6" fmla="*/ 197 w 240"/>
                <a:gd name="T7" fmla="*/ 212 h 240"/>
                <a:gd name="T8" fmla="*/ 213 w 240"/>
                <a:gd name="T9" fmla="*/ 196 h 240"/>
                <a:gd name="T10" fmla="*/ 226 w 240"/>
                <a:gd name="T11" fmla="*/ 177 h 240"/>
                <a:gd name="T12" fmla="*/ 235 w 240"/>
                <a:gd name="T13" fmla="*/ 155 h 240"/>
                <a:gd name="T14" fmla="*/ 240 w 240"/>
                <a:gd name="T15" fmla="*/ 132 h 240"/>
                <a:gd name="T16" fmla="*/ 240 w 240"/>
                <a:gd name="T17" fmla="*/ 108 h 240"/>
                <a:gd name="T18" fmla="*/ 235 w 240"/>
                <a:gd name="T19" fmla="*/ 83 h 240"/>
                <a:gd name="T20" fmla="*/ 226 w 240"/>
                <a:gd name="T21" fmla="*/ 63 h 240"/>
                <a:gd name="T22" fmla="*/ 213 w 240"/>
                <a:gd name="T23" fmla="*/ 43 h 240"/>
                <a:gd name="T24" fmla="*/ 197 w 240"/>
                <a:gd name="T25" fmla="*/ 27 h 240"/>
                <a:gd name="T26" fmla="*/ 177 w 240"/>
                <a:gd name="T27" fmla="*/ 14 h 240"/>
                <a:gd name="T28" fmla="*/ 156 w 240"/>
                <a:gd name="T29" fmla="*/ 5 h 240"/>
                <a:gd name="T30" fmla="*/ 133 w 240"/>
                <a:gd name="T31" fmla="*/ 0 h 240"/>
                <a:gd name="T32" fmla="*/ 108 w 240"/>
                <a:gd name="T33" fmla="*/ 0 h 240"/>
                <a:gd name="T34" fmla="*/ 85 w 240"/>
                <a:gd name="T35" fmla="*/ 5 h 240"/>
                <a:gd name="T36" fmla="*/ 63 w 240"/>
                <a:gd name="T37" fmla="*/ 14 h 240"/>
                <a:gd name="T38" fmla="*/ 44 w 240"/>
                <a:gd name="T39" fmla="*/ 27 h 240"/>
                <a:gd name="T40" fmla="*/ 27 w 240"/>
                <a:gd name="T41" fmla="*/ 43 h 240"/>
                <a:gd name="T42" fmla="*/ 14 w 240"/>
                <a:gd name="T43" fmla="*/ 63 h 240"/>
                <a:gd name="T44" fmla="*/ 5 w 240"/>
                <a:gd name="T45" fmla="*/ 83 h 240"/>
                <a:gd name="T46" fmla="*/ 0 w 240"/>
                <a:gd name="T47" fmla="*/ 108 h 240"/>
                <a:gd name="T48" fmla="*/ 0 w 240"/>
                <a:gd name="T49" fmla="*/ 132 h 240"/>
                <a:gd name="T50" fmla="*/ 5 w 240"/>
                <a:gd name="T51" fmla="*/ 155 h 240"/>
                <a:gd name="T52" fmla="*/ 14 w 240"/>
                <a:gd name="T53" fmla="*/ 177 h 240"/>
                <a:gd name="T54" fmla="*/ 27 w 240"/>
                <a:gd name="T55" fmla="*/ 196 h 240"/>
                <a:gd name="T56" fmla="*/ 44 w 240"/>
                <a:gd name="T57" fmla="*/ 212 h 240"/>
                <a:gd name="T58" fmla="*/ 63 w 240"/>
                <a:gd name="T59" fmla="*/ 226 h 240"/>
                <a:gd name="T60" fmla="*/ 85 w 240"/>
                <a:gd name="T61" fmla="*/ 235 h 240"/>
                <a:gd name="T62" fmla="*/ 108 w 240"/>
                <a:gd name="T63"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40">
                  <a:moveTo>
                    <a:pt x="121" y="240"/>
                  </a:moveTo>
                  <a:lnTo>
                    <a:pt x="133" y="239"/>
                  </a:lnTo>
                  <a:lnTo>
                    <a:pt x="144" y="237"/>
                  </a:lnTo>
                  <a:lnTo>
                    <a:pt x="156" y="235"/>
                  </a:lnTo>
                  <a:lnTo>
                    <a:pt x="167" y="230"/>
                  </a:lnTo>
                  <a:lnTo>
                    <a:pt x="177" y="226"/>
                  </a:lnTo>
                  <a:lnTo>
                    <a:pt x="188" y="219"/>
                  </a:lnTo>
                  <a:lnTo>
                    <a:pt x="197" y="212"/>
                  </a:lnTo>
                  <a:lnTo>
                    <a:pt x="206" y="204"/>
                  </a:lnTo>
                  <a:lnTo>
                    <a:pt x="213" y="196"/>
                  </a:lnTo>
                  <a:lnTo>
                    <a:pt x="220" y="187"/>
                  </a:lnTo>
                  <a:lnTo>
                    <a:pt x="226" y="177"/>
                  </a:lnTo>
                  <a:lnTo>
                    <a:pt x="231" y="167"/>
                  </a:lnTo>
                  <a:lnTo>
                    <a:pt x="235" y="155"/>
                  </a:lnTo>
                  <a:lnTo>
                    <a:pt x="238" y="144"/>
                  </a:lnTo>
                  <a:lnTo>
                    <a:pt x="240" y="132"/>
                  </a:lnTo>
                  <a:lnTo>
                    <a:pt x="240" y="119"/>
                  </a:lnTo>
                  <a:lnTo>
                    <a:pt x="240" y="108"/>
                  </a:lnTo>
                  <a:lnTo>
                    <a:pt x="238" y="95"/>
                  </a:lnTo>
                  <a:lnTo>
                    <a:pt x="235" y="83"/>
                  </a:lnTo>
                  <a:lnTo>
                    <a:pt x="231" y="73"/>
                  </a:lnTo>
                  <a:lnTo>
                    <a:pt x="226" y="63"/>
                  </a:lnTo>
                  <a:lnTo>
                    <a:pt x="220" y="52"/>
                  </a:lnTo>
                  <a:lnTo>
                    <a:pt x="213" y="43"/>
                  </a:lnTo>
                  <a:lnTo>
                    <a:pt x="206" y="34"/>
                  </a:lnTo>
                  <a:lnTo>
                    <a:pt x="197" y="27"/>
                  </a:lnTo>
                  <a:lnTo>
                    <a:pt x="188" y="20"/>
                  </a:lnTo>
                  <a:lnTo>
                    <a:pt x="177" y="14"/>
                  </a:lnTo>
                  <a:lnTo>
                    <a:pt x="167" y="9"/>
                  </a:lnTo>
                  <a:lnTo>
                    <a:pt x="156" y="5"/>
                  </a:lnTo>
                  <a:lnTo>
                    <a:pt x="144" y="2"/>
                  </a:lnTo>
                  <a:lnTo>
                    <a:pt x="133" y="0"/>
                  </a:lnTo>
                  <a:lnTo>
                    <a:pt x="121" y="0"/>
                  </a:lnTo>
                  <a:lnTo>
                    <a:pt x="108" y="0"/>
                  </a:lnTo>
                  <a:lnTo>
                    <a:pt x="97" y="2"/>
                  </a:lnTo>
                  <a:lnTo>
                    <a:pt x="85" y="5"/>
                  </a:lnTo>
                  <a:lnTo>
                    <a:pt x="73" y="9"/>
                  </a:lnTo>
                  <a:lnTo>
                    <a:pt x="63" y="14"/>
                  </a:lnTo>
                  <a:lnTo>
                    <a:pt x="53" y="20"/>
                  </a:lnTo>
                  <a:lnTo>
                    <a:pt x="44" y="27"/>
                  </a:lnTo>
                  <a:lnTo>
                    <a:pt x="35" y="34"/>
                  </a:lnTo>
                  <a:lnTo>
                    <a:pt x="27" y="43"/>
                  </a:lnTo>
                  <a:lnTo>
                    <a:pt x="21" y="52"/>
                  </a:lnTo>
                  <a:lnTo>
                    <a:pt x="14" y="63"/>
                  </a:lnTo>
                  <a:lnTo>
                    <a:pt x="9" y="73"/>
                  </a:lnTo>
                  <a:lnTo>
                    <a:pt x="5" y="83"/>
                  </a:lnTo>
                  <a:lnTo>
                    <a:pt x="3" y="95"/>
                  </a:lnTo>
                  <a:lnTo>
                    <a:pt x="0" y="108"/>
                  </a:lnTo>
                  <a:lnTo>
                    <a:pt x="0" y="119"/>
                  </a:lnTo>
                  <a:lnTo>
                    <a:pt x="0" y="132"/>
                  </a:lnTo>
                  <a:lnTo>
                    <a:pt x="3" y="144"/>
                  </a:lnTo>
                  <a:lnTo>
                    <a:pt x="5" y="155"/>
                  </a:lnTo>
                  <a:lnTo>
                    <a:pt x="9" y="167"/>
                  </a:lnTo>
                  <a:lnTo>
                    <a:pt x="14" y="177"/>
                  </a:lnTo>
                  <a:lnTo>
                    <a:pt x="21" y="187"/>
                  </a:lnTo>
                  <a:lnTo>
                    <a:pt x="27" y="196"/>
                  </a:lnTo>
                  <a:lnTo>
                    <a:pt x="35" y="204"/>
                  </a:lnTo>
                  <a:lnTo>
                    <a:pt x="44" y="212"/>
                  </a:lnTo>
                  <a:lnTo>
                    <a:pt x="53" y="219"/>
                  </a:lnTo>
                  <a:lnTo>
                    <a:pt x="63" y="226"/>
                  </a:lnTo>
                  <a:lnTo>
                    <a:pt x="73" y="230"/>
                  </a:lnTo>
                  <a:lnTo>
                    <a:pt x="85" y="235"/>
                  </a:lnTo>
                  <a:lnTo>
                    <a:pt x="97" y="237"/>
                  </a:lnTo>
                  <a:lnTo>
                    <a:pt x="108" y="239"/>
                  </a:lnTo>
                  <a:lnTo>
                    <a:pt x="121"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585">
              <a:extLst>
                <a:ext uri="{FF2B5EF4-FFF2-40B4-BE49-F238E27FC236}">
                  <a16:creationId xmlns:a16="http://schemas.microsoft.com/office/drawing/2014/main" id="{6F789699-7E36-47F2-8815-F2D141F97B04}"/>
                </a:ext>
              </a:extLst>
            </p:cNvPr>
            <p:cNvSpPr>
              <a:spLocks/>
            </p:cNvSpPr>
            <p:nvPr/>
          </p:nvSpPr>
          <p:spPr bwMode="auto">
            <a:xfrm>
              <a:off x="7666038" y="6027738"/>
              <a:ext cx="142875" cy="180975"/>
            </a:xfrm>
            <a:custGeom>
              <a:avLst/>
              <a:gdLst>
                <a:gd name="T0" fmla="*/ 361 w 361"/>
                <a:gd name="T1" fmla="*/ 0 h 456"/>
                <a:gd name="T2" fmla="*/ 200 w 361"/>
                <a:gd name="T3" fmla="*/ 0 h 456"/>
                <a:gd name="T4" fmla="*/ 216 w 361"/>
                <a:gd name="T5" fmla="*/ 202 h 456"/>
                <a:gd name="T6" fmla="*/ 214 w 361"/>
                <a:gd name="T7" fmla="*/ 204 h 456"/>
                <a:gd name="T8" fmla="*/ 213 w 361"/>
                <a:gd name="T9" fmla="*/ 206 h 456"/>
                <a:gd name="T10" fmla="*/ 184 w 361"/>
                <a:gd name="T11" fmla="*/ 237 h 456"/>
                <a:gd name="T12" fmla="*/ 181 w 361"/>
                <a:gd name="T13" fmla="*/ 238 h 456"/>
                <a:gd name="T14" fmla="*/ 178 w 361"/>
                <a:gd name="T15" fmla="*/ 238 h 456"/>
                <a:gd name="T16" fmla="*/ 177 w 361"/>
                <a:gd name="T17" fmla="*/ 238 h 456"/>
                <a:gd name="T18" fmla="*/ 175 w 361"/>
                <a:gd name="T19" fmla="*/ 237 h 456"/>
                <a:gd name="T20" fmla="*/ 144 w 361"/>
                <a:gd name="T21" fmla="*/ 206 h 456"/>
                <a:gd name="T22" fmla="*/ 142 w 361"/>
                <a:gd name="T23" fmla="*/ 204 h 456"/>
                <a:gd name="T24" fmla="*/ 142 w 361"/>
                <a:gd name="T25" fmla="*/ 202 h 456"/>
                <a:gd name="T26" fmla="*/ 158 w 361"/>
                <a:gd name="T27" fmla="*/ 0 h 456"/>
                <a:gd name="T28" fmla="*/ 0 w 361"/>
                <a:gd name="T29" fmla="*/ 0 h 456"/>
                <a:gd name="T30" fmla="*/ 0 w 361"/>
                <a:gd name="T31" fmla="*/ 12 h 456"/>
                <a:gd name="T32" fmla="*/ 1 w 361"/>
                <a:gd name="T33" fmla="*/ 36 h 456"/>
                <a:gd name="T34" fmla="*/ 2 w 361"/>
                <a:gd name="T35" fmla="*/ 59 h 456"/>
                <a:gd name="T36" fmla="*/ 6 w 361"/>
                <a:gd name="T37" fmla="*/ 81 h 456"/>
                <a:gd name="T38" fmla="*/ 10 w 361"/>
                <a:gd name="T39" fmla="*/ 102 h 456"/>
                <a:gd name="T40" fmla="*/ 15 w 361"/>
                <a:gd name="T41" fmla="*/ 121 h 456"/>
                <a:gd name="T42" fmla="*/ 20 w 361"/>
                <a:gd name="T43" fmla="*/ 139 h 456"/>
                <a:gd name="T44" fmla="*/ 28 w 361"/>
                <a:gd name="T45" fmla="*/ 157 h 456"/>
                <a:gd name="T46" fmla="*/ 35 w 361"/>
                <a:gd name="T47" fmla="*/ 172 h 456"/>
                <a:gd name="T48" fmla="*/ 44 w 361"/>
                <a:gd name="T49" fmla="*/ 188 h 456"/>
                <a:gd name="T50" fmla="*/ 51 w 361"/>
                <a:gd name="T51" fmla="*/ 201 h 456"/>
                <a:gd name="T52" fmla="*/ 60 w 361"/>
                <a:gd name="T53" fmla="*/ 213 h 456"/>
                <a:gd name="T54" fmla="*/ 69 w 361"/>
                <a:gd name="T55" fmla="*/ 225 h 456"/>
                <a:gd name="T56" fmla="*/ 80 w 361"/>
                <a:gd name="T57" fmla="*/ 235 h 456"/>
                <a:gd name="T58" fmla="*/ 89 w 361"/>
                <a:gd name="T59" fmla="*/ 244 h 456"/>
                <a:gd name="T60" fmla="*/ 99 w 361"/>
                <a:gd name="T61" fmla="*/ 252 h 456"/>
                <a:gd name="T62" fmla="*/ 108 w 361"/>
                <a:gd name="T63" fmla="*/ 258 h 456"/>
                <a:gd name="T64" fmla="*/ 108 w 361"/>
                <a:gd name="T65" fmla="*/ 456 h 456"/>
                <a:gd name="T66" fmla="*/ 253 w 361"/>
                <a:gd name="T67" fmla="*/ 456 h 456"/>
                <a:gd name="T68" fmla="*/ 253 w 361"/>
                <a:gd name="T69" fmla="*/ 258 h 456"/>
                <a:gd name="T70" fmla="*/ 262 w 361"/>
                <a:gd name="T71" fmla="*/ 252 h 456"/>
                <a:gd name="T72" fmla="*/ 272 w 361"/>
                <a:gd name="T73" fmla="*/ 244 h 456"/>
                <a:gd name="T74" fmla="*/ 281 w 361"/>
                <a:gd name="T75" fmla="*/ 235 h 456"/>
                <a:gd name="T76" fmla="*/ 291 w 361"/>
                <a:gd name="T77" fmla="*/ 225 h 456"/>
                <a:gd name="T78" fmla="*/ 300 w 361"/>
                <a:gd name="T79" fmla="*/ 213 h 456"/>
                <a:gd name="T80" fmla="*/ 309 w 361"/>
                <a:gd name="T81" fmla="*/ 201 h 456"/>
                <a:gd name="T82" fmla="*/ 318 w 361"/>
                <a:gd name="T83" fmla="*/ 188 h 456"/>
                <a:gd name="T84" fmla="*/ 326 w 361"/>
                <a:gd name="T85" fmla="*/ 172 h 456"/>
                <a:gd name="T86" fmla="*/ 334 w 361"/>
                <a:gd name="T87" fmla="*/ 157 h 456"/>
                <a:gd name="T88" fmla="*/ 340 w 361"/>
                <a:gd name="T89" fmla="*/ 139 h 456"/>
                <a:gd name="T90" fmla="*/ 345 w 361"/>
                <a:gd name="T91" fmla="*/ 121 h 456"/>
                <a:gd name="T92" fmla="*/ 351 w 361"/>
                <a:gd name="T93" fmla="*/ 102 h 456"/>
                <a:gd name="T94" fmla="*/ 356 w 361"/>
                <a:gd name="T95" fmla="*/ 81 h 456"/>
                <a:gd name="T96" fmla="*/ 358 w 361"/>
                <a:gd name="T97" fmla="*/ 59 h 456"/>
                <a:gd name="T98" fmla="*/ 359 w 361"/>
                <a:gd name="T99" fmla="*/ 36 h 456"/>
                <a:gd name="T100" fmla="*/ 361 w 361"/>
                <a:gd name="T101" fmla="*/ 12 h 456"/>
                <a:gd name="T102" fmla="*/ 361 w 361"/>
                <a:gd name="T10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1" h="456">
                  <a:moveTo>
                    <a:pt x="361" y="0"/>
                  </a:moveTo>
                  <a:lnTo>
                    <a:pt x="200" y="0"/>
                  </a:lnTo>
                  <a:lnTo>
                    <a:pt x="216" y="202"/>
                  </a:lnTo>
                  <a:lnTo>
                    <a:pt x="214" y="204"/>
                  </a:lnTo>
                  <a:lnTo>
                    <a:pt x="213" y="206"/>
                  </a:lnTo>
                  <a:lnTo>
                    <a:pt x="184" y="237"/>
                  </a:lnTo>
                  <a:lnTo>
                    <a:pt x="181" y="238"/>
                  </a:lnTo>
                  <a:lnTo>
                    <a:pt x="178" y="238"/>
                  </a:lnTo>
                  <a:lnTo>
                    <a:pt x="177" y="238"/>
                  </a:lnTo>
                  <a:lnTo>
                    <a:pt x="175" y="237"/>
                  </a:lnTo>
                  <a:lnTo>
                    <a:pt x="144" y="206"/>
                  </a:lnTo>
                  <a:lnTo>
                    <a:pt x="142" y="204"/>
                  </a:lnTo>
                  <a:lnTo>
                    <a:pt x="142" y="202"/>
                  </a:lnTo>
                  <a:lnTo>
                    <a:pt x="158" y="0"/>
                  </a:lnTo>
                  <a:lnTo>
                    <a:pt x="0" y="0"/>
                  </a:lnTo>
                  <a:lnTo>
                    <a:pt x="0" y="12"/>
                  </a:lnTo>
                  <a:lnTo>
                    <a:pt x="1" y="36"/>
                  </a:lnTo>
                  <a:lnTo>
                    <a:pt x="2" y="59"/>
                  </a:lnTo>
                  <a:lnTo>
                    <a:pt x="6" y="81"/>
                  </a:lnTo>
                  <a:lnTo>
                    <a:pt x="10" y="102"/>
                  </a:lnTo>
                  <a:lnTo>
                    <a:pt x="15" y="121"/>
                  </a:lnTo>
                  <a:lnTo>
                    <a:pt x="20" y="139"/>
                  </a:lnTo>
                  <a:lnTo>
                    <a:pt x="28" y="157"/>
                  </a:lnTo>
                  <a:lnTo>
                    <a:pt x="35" y="172"/>
                  </a:lnTo>
                  <a:lnTo>
                    <a:pt x="44" y="188"/>
                  </a:lnTo>
                  <a:lnTo>
                    <a:pt x="51" y="201"/>
                  </a:lnTo>
                  <a:lnTo>
                    <a:pt x="60" y="213"/>
                  </a:lnTo>
                  <a:lnTo>
                    <a:pt x="69" y="225"/>
                  </a:lnTo>
                  <a:lnTo>
                    <a:pt x="80" y="235"/>
                  </a:lnTo>
                  <a:lnTo>
                    <a:pt x="89" y="244"/>
                  </a:lnTo>
                  <a:lnTo>
                    <a:pt x="99" y="252"/>
                  </a:lnTo>
                  <a:lnTo>
                    <a:pt x="108" y="258"/>
                  </a:lnTo>
                  <a:lnTo>
                    <a:pt x="108" y="456"/>
                  </a:lnTo>
                  <a:lnTo>
                    <a:pt x="253" y="456"/>
                  </a:lnTo>
                  <a:lnTo>
                    <a:pt x="253" y="258"/>
                  </a:lnTo>
                  <a:lnTo>
                    <a:pt x="262" y="252"/>
                  </a:lnTo>
                  <a:lnTo>
                    <a:pt x="272" y="244"/>
                  </a:lnTo>
                  <a:lnTo>
                    <a:pt x="281" y="235"/>
                  </a:lnTo>
                  <a:lnTo>
                    <a:pt x="291" y="225"/>
                  </a:lnTo>
                  <a:lnTo>
                    <a:pt x="300" y="213"/>
                  </a:lnTo>
                  <a:lnTo>
                    <a:pt x="309" y="201"/>
                  </a:lnTo>
                  <a:lnTo>
                    <a:pt x="318" y="188"/>
                  </a:lnTo>
                  <a:lnTo>
                    <a:pt x="326" y="172"/>
                  </a:lnTo>
                  <a:lnTo>
                    <a:pt x="334" y="157"/>
                  </a:lnTo>
                  <a:lnTo>
                    <a:pt x="340" y="139"/>
                  </a:lnTo>
                  <a:lnTo>
                    <a:pt x="345" y="121"/>
                  </a:lnTo>
                  <a:lnTo>
                    <a:pt x="351" y="102"/>
                  </a:lnTo>
                  <a:lnTo>
                    <a:pt x="356" y="81"/>
                  </a:lnTo>
                  <a:lnTo>
                    <a:pt x="358" y="59"/>
                  </a:lnTo>
                  <a:lnTo>
                    <a:pt x="359" y="36"/>
                  </a:lnTo>
                  <a:lnTo>
                    <a:pt x="361" y="12"/>
                  </a:lnTo>
                  <a:lnTo>
                    <a:pt x="3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586">
              <a:extLst>
                <a:ext uri="{FF2B5EF4-FFF2-40B4-BE49-F238E27FC236}">
                  <a16:creationId xmlns:a16="http://schemas.microsoft.com/office/drawing/2014/main" id="{CE31EB4A-1CE9-4027-A17B-BC0EF803CEBB}"/>
                </a:ext>
              </a:extLst>
            </p:cNvPr>
            <p:cNvSpPr>
              <a:spLocks/>
            </p:cNvSpPr>
            <p:nvPr/>
          </p:nvSpPr>
          <p:spPr bwMode="auto">
            <a:xfrm>
              <a:off x="7804150" y="6103938"/>
              <a:ext cx="47625" cy="104775"/>
            </a:xfrm>
            <a:custGeom>
              <a:avLst/>
              <a:gdLst>
                <a:gd name="T0" fmla="*/ 72 w 120"/>
                <a:gd name="T1" fmla="*/ 24 h 264"/>
                <a:gd name="T2" fmla="*/ 72 w 120"/>
                <a:gd name="T3" fmla="*/ 0 h 264"/>
                <a:gd name="T4" fmla="*/ 48 w 120"/>
                <a:gd name="T5" fmla="*/ 0 h 264"/>
                <a:gd name="T6" fmla="*/ 48 w 120"/>
                <a:gd name="T7" fmla="*/ 24 h 264"/>
                <a:gd name="T8" fmla="*/ 0 w 120"/>
                <a:gd name="T9" fmla="*/ 24 h 264"/>
                <a:gd name="T10" fmla="*/ 0 w 120"/>
                <a:gd name="T11" fmla="*/ 264 h 264"/>
                <a:gd name="T12" fmla="*/ 120 w 120"/>
                <a:gd name="T13" fmla="*/ 264 h 264"/>
                <a:gd name="T14" fmla="*/ 120 w 120"/>
                <a:gd name="T15" fmla="*/ 24 h 264"/>
                <a:gd name="T16" fmla="*/ 72 w 120"/>
                <a:gd name="T17" fmla="*/ 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4">
                  <a:moveTo>
                    <a:pt x="72" y="24"/>
                  </a:moveTo>
                  <a:lnTo>
                    <a:pt x="72" y="0"/>
                  </a:lnTo>
                  <a:lnTo>
                    <a:pt x="48" y="0"/>
                  </a:lnTo>
                  <a:lnTo>
                    <a:pt x="48" y="24"/>
                  </a:lnTo>
                  <a:lnTo>
                    <a:pt x="0" y="24"/>
                  </a:lnTo>
                  <a:lnTo>
                    <a:pt x="0" y="264"/>
                  </a:lnTo>
                  <a:lnTo>
                    <a:pt x="120" y="264"/>
                  </a:lnTo>
                  <a:lnTo>
                    <a:pt x="120" y="24"/>
                  </a:lnTo>
                  <a:lnTo>
                    <a:pt x="7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 name="Freeform 391">
            <a:extLst>
              <a:ext uri="{FF2B5EF4-FFF2-40B4-BE49-F238E27FC236}">
                <a16:creationId xmlns:a16="http://schemas.microsoft.com/office/drawing/2014/main" id="{D9EFD648-63C5-402B-A178-446B67944BD1}"/>
              </a:ext>
            </a:extLst>
          </p:cNvPr>
          <p:cNvSpPr>
            <a:spLocks noEditPoints="1"/>
          </p:cNvSpPr>
          <p:nvPr/>
        </p:nvSpPr>
        <p:spPr bwMode="auto">
          <a:xfrm>
            <a:off x="9483547" y="5279808"/>
            <a:ext cx="287338" cy="287338"/>
          </a:xfrm>
          <a:custGeom>
            <a:avLst/>
            <a:gdLst>
              <a:gd name="T0" fmla="*/ 515 w 903"/>
              <a:gd name="T1" fmla="*/ 619 h 904"/>
              <a:gd name="T2" fmla="*/ 486 w 903"/>
              <a:gd name="T3" fmla="*/ 580 h 904"/>
              <a:gd name="T4" fmla="*/ 488 w 903"/>
              <a:gd name="T5" fmla="*/ 528 h 904"/>
              <a:gd name="T6" fmla="*/ 521 w 903"/>
              <a:gd name="T7" fmla="*/ 491 h 904"/>
              <a:gd name="T8" fmla="*/ 573 w 903"/>
              <a:gd name="T9" fmla="*/ 483 h 904"/>
              <a:gd name="T10" fmla="*/ 616 w 903"/>
              <a:gd name="T11" fmla="*/ 509 h 904"/>
              <a:gd name="T12" fmla="*/ 633 w 903"/>
              <a:gd name="T13" fmla="*/ 557 h 904"/>
              <a:gd name="T14" fmla="*/ 616 w 903"/>
              <a:gd name="T15" fmla="*/ 604 h 904"/>
              <a:gd name="T16" fmla="*/ 573 w 903"/>
              <a:gd name="T17" fmla="*/ 631 h 904"/>
              <a:gd name="T18" fmla="*/ 305 w 903"/>
              <a:gd name="T19" fmla="*/ 617 h 904"/>
              <a:gd name="T20" fmla="*/ 288 w 903"/>
              <a:gd name="T21" fmla="*/ 608 h 904"/>
              <a:gd name="T22" fmla="*/ 592 w 903"/>
              <a:gd name="T23" fmla="*/ 290 h 904"/>
              <a:gd name="T24" fmla="*/ 610 w 903"/>
              <a:gd name="T25" fmla="*/ 289 h 904"/>
              <a:gd name="T26" fmla="*/ 617 w 903"/>
              <a:gd name="T27" fmla="*/ 307 h 904"/>
              <a:gd name="T28" fmla="*/ 275 w 903"/>
              <a:gd name="T29" fmla="*/ 324 h 904"/>
              <a:gd name="T30" fmla="*/ 305 w 903"/>
              <a:gd name="T31" fmla="*/ 284 h 904"/>
              <a:gd name="T32" fmla="*/ 354 w 903"/>
              <a:gd name="T33" fmla="*/ 272 h 904"/>
              <a:gd name="T34" fmla="*/ 400 w 903"/>
              <a:gd name="T35" fmla="*/ 293 h 904"/>
              <a:gd name="T36" fmla="*/ 422 w 903"/>
              <a:gd name="T37" fmla="*/ 338 h 904"/>
              <a:gd name="T38" fmla="*/ 409 w 903"/>
              <a:gd name="T39" fmla="*/ 389 h 904"/>
              <a:gd name="T40" fmla="*/ 369 w 903"/>
              <a:gd name="T41" fmla="*/ 418 h 904"/>
              <a:gd name="T42" fmla="*/ 318 w 903"/>
              <a:gd name="T43" fmla="*/ 416 h 904"/>
              <a:gd name="T44" fmla="*/ 280 w 903"/>
              <a:gd name="T45" fmla="*/ 382 h 904"/>
              <a:gd name="T46" fmla="*/ 903 w 903"/>
              <a:gd name="T47" fmla="*/ 452 h 904"/>
              <a:gd name="T48" fmla="*/ 866 w 903"/>
              <a:gd name="T49" fmla="*/ 378 h 904"/>
              <a:gd name="T50" fmla="*/ 875 w 903"/>
              <a:gd name="T51" fmla="*/ 303 h 904"/>
              <a:gd name="T52" fmla="*/ 829 w 903"/>
              <a:gd name="T53" fmla="*/ 234 h 904"/>
              <a:gd name="T54" fmla="*/ 795 w 903"/>
              <a:gd name="T55" fmla="*/ 175 h 904"/>
              <a:gd name="T56" fmla="*/ 750 w 903"/>
              <a:gd name="T57" fmla="*/ 116 h 904"/>
              <a:gd name="T58" fmla="*/ 680 w 903"/>
              <a:gd name="T59" fmla="*/ 110 h 904"/>
              <a:gd name="T60" fmla="*/ 636 w 903"/>
              <a:gd name="T61" fmla="*/ 40 h 904"/>
              <a:gd name="T62" fmla="*/ 552 w 903"/>
              <a:gd name="T63" fmla="*/ 36 h 904"/>
              <a:gd name="T64" fmla="*/ 488 w 903"/>
              <a:gd name="T65" fmla="*/ 8 h 904"/>
              <a:gd name="T66" fmla="*/ 404 w 903"/>
              <a:gd name="T67" fmla="*/ 13 h 904"/>
              <a:gd name="T68" fmla="*/ 340 w 903"/>
              <a:gd name="T69" fmla="*/ 32 h 904"/>
              <a:gd name="T70" fmla="*/ 257 w 903"/>
              <a:gd name="T71" fmla="*/ 47 h 904"/>
              <a:gd name="T72" fmla="*/ 210 w 903"/>
              <a:gd name="T73" fmla="*/ 107 h 904"/>
              <a:gd name="T74" fmla="*/ 146 w 903"/>
              <a:gd name="T75" fmla="*/ 121 h 904"/>
              <a:gd name="T76" fmla="*/ 106 w 903"/>
              <a:gd name="T77" fmla="*/ 187 h 904"/>
              <a:gd name="T78" fmla="*/ 64 w 903"/>
              <a:gd name="T79" fmla="*/ 241 h 904"/>
              <a:gd name="T80" fmla="*/ 28 w 903"/>
              <a:gd name="T81" fmla="*/ 316 h 904"/>
              <a:gd name="T82" fmla="*/ 29 w 903"/>
              <a:gd name="T83" fmla="*/ 386 h 904"/>
              <a:gd name="T84" fmla="*/ 1 w 903"/>
              <a:gd name="T85" fmla="*/ 464 h 904"/>
              <a:gd name="T86" fmla="*/ 48 w 903"/>
              <a:gd name="T87" fmla="*/ 531 h 904"/>
              <a:gd name="T88" fmla="*/ 30 w 903"/>
              <a:gd name="T89" fmla="*/ 613 h 904"/>
              <a:gd name="T90" fmla="*/ 86 w 903"/>
              <a:gd name="T91" fmla="*/ 674 h 904"/>
              <a:gd name="T92" fmla="*/ 113 w 903"/>
              <a:gd name="T93" fmla="*/ 740 h 904"/>
              <a:gd name="T94" fmla="*/ 162 w 903"/>
              <a:gd name="T95" fmla="*/ 791 h 904"/>
              <a:gd name="T96" fmla="*/ 225 w 903"/>
              <a:gd name="T97" fmla="*/ 806 h 904"/>
              <a:gd name="T98" fmla="*/ 279 w 903"/>
              <a:gd name="T99" fmla="*/ 869 h 904"/>
              <a:gd name="T100" fmla="*/ 362 w 903"/>
              <a:gd name="T101" fmla="*/ 862 h 904"/>
              <a:gd name="T102" fmla="*/ 427 w 903"/>
              <a:gd name="T103" fmla="*/ 900 h 904"/>
              <a:gd name="T104" fmla="*/ 510 w 903"/>
              <a:gd name="T105" fmla="*/ 883 h 904"/>
              <a:gd name="T106" fmla="*/ 576 w 903"/>
              <a:gd name="T107" fmla="*/ 875 h 904"/>
              <a:gd name="T108" fmla="*/ 655 w 903"/>
              <a:gd name="T109" fmla="*/ 848 h 904"/>
              <a:gd name="T110" fmla="*/ 707 w 903"/>
              <a:gd name="T111" fmla="*/ 797 h 904"/>
              <a:gd name="T112" fmla="*/ 765 w 903"/>
              <a:gd name="T113" fmla="*/ 777 h 904"/>
              <a:gd name="T114" fmla="*/ 798 w 903"/>
              <a:gd name="T115" fmla="*/ 704 h 904"/>
              <a:gd name="T116" fmla="*/ 848 w 903"/>
              <a:gd name="T117" fmla="*/ 655 h 904"/>
              <a:gd name="T118" fmla="*/ 875 w 903"/>
              <a:gd name="T119" fmla="*/ 575 h 904"/>
              <a:gd name="T120" fmla="*/ 883 w 903"/>
              <a:gd name="T121" fmla="*/ 50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4">
                <a:moveTo>
                  <a:pt x="558" y="632"/>
                </a:moveTo>
                <a:lnTo>
                  <a:pt x="549" y="632"/>
                </a:lnTo>
                <a:lnTo>
                  <a:pt x="542" y="631"/>
                </a:lnTo>
                <a:lnTo>
                  <a:pt x="535" y="629"/>
                </a:lnTo>
                <a:lnTo>
                  <a:pt x="528" y="627"/>
                </a:lnTo>
                <a:lnTo>
                  <a:pt x="521" y="624"/>
                </a:lnTo>
                <a:lnTo>
                  <a:pt x="515" y="619"/>
                </a:lnTo>
                <a:lnTo>
                  <a:pt x="510" y="615"/>
                </a:lnTo>
                <a:lnTo>
                  <a:pt x="504" y="610"/>
                </a:lnTo>
                <a:lnTo>
                  <a:pt x="499" y="604"/>
                </a:lnTo>
                <a:lnTo>
                  <a:pt x="495" y="599"/>
                </a:lnTo>
                <a:lnTo>
                  <a:pt x="491" y="593"/>
                </a:lnTo>
                <a:lnTo>
                  <a:pt x="488" y="586"/>
                </a:lnTo>
                <a:lnTo>
                  <a:pt x="486" y="580"/>
                </a:lnTo>
                <a:lnTo>
                  <a:pt x="484" y="572"/>
                </a:lnTo>
                <a:lnTo>
                  <a:pt x="483" y="565"/>
                </a:lnTo>
                <a:lnTo>
                  <a:pt x="482" y="557"/>
                </a:lnTo>
                <a:lnTo>
                  <a:pt x="483" y="550"/>
                </a:lnTo>
                <a:lnTo>
                  <a:pt x="484" y="542"/>
                </a:lnTo>
                <a:lnTo>
                  <a:pt x="486" y="535"/>
                </a:lnTo>
                <a:lnTo>
                  <a:pt x="488" y="528"/>
                </a:lnTo>
                <a:lnTo>
                  <a:pt x="491" y="521"/>
                </a:lnTo>
                <a:lnTo>
                  <a:pt x="495" y="515"/>
                </a:lnTo>
                <a:lnTo>
                  <a:pt x="499" y="509"/>
                </a:lnTo>
                <a:lnTo>
                  <a:pt x="504" y="504"/>
                </a:lnTo>
                <a:lnTo>
                  <a:pt x="510" y="499"/>
                </a:lnTo>
                <a:lnTo>
                  <a:pt x="515" y="495"/>
                </a:lnTo>
                <a:lnTo>
                  <a:pt x="521" y="491"/>
                </a:lnTo>
                <a:lnTo>
                  <a:pt x="528" y="487"/>
                </a:lnTo>
                <a:lnTo>
                  <a:pt x="535" y="485"/>
                </a:lnTo>
                <a:lnTo>
                  <a:pt x="542" y="483"/>
                </a:lnTo>
                <a:lnTo>
                  <a:pt x="549" y="482"/>
                </a:lnTo>
                <a:lnTo>
                  <a:pt x="558" y="482"/>
                </a:lnTo>
                <a:lnTo>
                  <a:pt x="565" y="482"/>
                </a:lnTo>
                <a:lnTo>
                  <a:pt x="573" y="483"/>
                </a:lnTo>
                <a:lnTo>
                  <a:pt x="579" y="485"/>
                </a:lnTo>
                <a:lnTo>
                  <a:pt x="587" y="487"/>
                </a:lnTo>
                <a:lnTo>
                  <a:pt x="593" y="491"/>
                </a:lnTo>
                <a:lnTo>
                  <a:pt x="600" y="495"/>
                </a:lnTo>
                <a:lnTo>
                  <a:pt x="605" y="499"/>
                </a:lnTo>
                <a:lnTo>
                  <a:pt x="610" y="504"/>
                </a:lnTo>
                <a:lnTo>
                  <a:pt x="616" y="509"/>
                </a:lnTo>
                <a:lnTo>
                  <a:pt x="620" y="515"/>
                </a:lnTo>
                <a:lnTo>
                  <a:pt x="623" y="521"/>
                </a:lnTo>
                <a:lnTo>
                  <a:pt x="626" y="528"/>
                </a:lnTo>
                <a:lnTo>
                  <a:pt x="630" y="535"/>
                </a:lnTo>
                <a:lnTo>
                  <a:pt x="631" y="542"/>
                </a:lnTo>
                <a:lnTo>
                  <a:pt x="632" y="550"/>
                </a:lnTo>
                <a:lnTo>
                  <a:pt x="633" y="557"/>
                </a:lnTo>
                <a:lnTo>
                  <a:pt x="632" y="565"/>
                </a:lnTo>
                <a:lnTo>
                  <a:pt x="631" y="572"/>
                </a:lnTo>
                <a:lnTo>
                  <a:pt x="630" y="580"/>
                </a:lnTo>
                <a:lnTo>
                  <a:pt x="626" y="586"/>
                </a:lnTo>
                <a:lnTo>
                  <a:pt x="623" y="593"/>
                </a:lnTo>
                <a:lnTo>
                  <a:pt x="620" y="599"/>
                </a:lnTo>
                <a:lnTo>
                  <a:pt x="616" y="604"/>
                </a:lnTo>
                <a:lnTo>
                  <a:pt x="610" y="610"/>
                </a:lnTo>
                <a:lnTo>
                  <a:pt x="605" y="615"/>
                </a:lnTo>
                <a:lnTo>
                  <a:pt x="600" y="619"/>
                </a:lnTo>
                <a:lnTo>
                  <a:pt x="593" y="624"/>
                </a:lnTo>
                <a:lnTo>
                  <a:pt x="587" y="627"/>
                </a:lnTo>
                <a:lnTo>
                  <a:pt x="579" y="629"/>
                </a:lnTo>
                <a:lnTo>
                  <a:pt x="573" y="631"/>
                </a:lnTo>
                <a:lnTo>
                  <a:pt x="565" y="632"/>
                </a:lnTo>
                <a:lnTo>
                  <a:pt x="558" y="632"/>
                </a:lnTo>
                <a:lnTo>
                  <a:pt x="558" y="632"/>
                </a:lnTo>
                <a:close/>
                <a:moveTo>
                  <a:pt x="312" y="613"/>
                </a:moveTo>
                <a:lnTo>
                  <a:pt x="310" y="615"/>
                </a:lnTo>
                <a:lnTo>
                  <a:pt x="307" y="616"/>
                </a:lnTo>
                <a:lnTo>
                  <a:pt x="305" y="617"/>
                </a:lnTo>
                <a:lnTo>
                  <a:pt x="301" y="617"/>
                </a:lnTo>
                <a:lnTo>
                  <a:pt x="298" y="617"/>
                </a:lnTo>
                <a:lnTo>
                  <a:pt x="296" y="616"/>
                </a:lnTo>
                <a:lnTo>
                  <a:pt x="293" y="615"/>
                </a:lnTo>
                <a:lnTo>
                  <a:pt x="291" y="613"/>
                </a:lnTo>
                <a:lnTo>
                  <a:pt x="289" y="611"/>
                </a:lnTo>
                <a:lnTo>
                  <a:pt x="288" y="608"/>
                </a:lnTo>
                <a:lnTo>
                  <a:pt x="286" y="605"/>
                </a:lnTo>
                <a:lnTo>
                  <a:pt x="286" y="602"/>
                </a:lnTo>
                <a:lnTo>
                  <a:pt x="286" y="599"/>
                </a:lnTo>
                <a:lnTo>
                  <a:pt x="288" y="597"/>
                </a:lnTo>
                <a:lnTo>
                  <a:pt x="289" y="594"/>
                </a:lnTo>
                <a:lnTo>
                  <a:pt x="291" y="591"/>
                </a:lnTo>
                <a:lnTo>
                  <a:pt x="592" y="290"/>
                </a:lnTo>
                <a:lnTo>
                  <a:pt x="594" y="289"/>
                </a:lnTo>
                <a:lnTo>
                  <a:pt x="596" y="287"/>
                </a:lnTo>
                <a:lnTo>
                  <a:pt x="600" y="286"/>
                </a:lnTo>
                <a:lnTo>
                  <a:pt x="603" y="286"/>
                </a:lnTo>
                <a:lnTo>
                  <a:pt x="605" y="286"/>
                </a:lnTo>
                <a:lnTo>
                  <a:pt x="608" y="287"/>
                </a:lnTo>
                <a:lnTo>
                  <a:pt x="610" y="289"/>
                </a:lnTo>
                <a:lnTo>
                  <a:pt x="614" y="290"/>
                </a:lnTo>
                <a:lnTo>
                  <a:pt x="615" y="293"/>
                </a:lnTo>
                <a:lnTo>
                  <a:pt x="617" y="295"/>
                </a:lnTo>
                <a:lnTo>
                  <a:pt x="617" y="299"/>
                </a:lnTo>
                <a:lnTo>
                  <a:pt x="618" y="301"/>
                </a:lnTo>
                <a:lnTo>
                  <a:pt x="617" y="304"/>
                </a:lnTo>
                <a:lnTo>
                  <a:pt x="617" y="307"/>
                </a:lnTo>
                <a:lnTo>
                  <a:pt x="615" y="309"/>
                </a:lnTo>
                <a:lnTo>
                  <a:pt x="614" y="312"/>
                </a:lnTo>
                <a:lnTo>
                  <a:pt x="312" y="613"/>
                </a:lnTo>
                <a:close/>
                <a:moveTo>
                  <a:pt x="271" y="346"/>
                </a:moveTo>
                <a:lnTo>
                  <a:pt x="271" y="338"/>
                </a:lnTo>
                <a:lnTo>
                  <a:pt x="273" y="331"/>
                </a:lnTo>
                <a:lnTo>
                  <a:pt x="275" y="324"/>
                </a:lnTo>
                <a:lnTo>
                  <a:pt x="277" y="317"/>
                </a:lnTo>
                <a:lnTo>
                  <a:pt x="280" y="310"/>
                </a:lnTo>
                <a:lnTo>
                  <a:pt x="284" y="304"/>
                </a:lnTo>
                <a:lnTo>
                  <a:pt x="289" y="299"/>
                </a:lnTo>
                <a:lnTo>
                  <a:pt x="293" y="293"/>
                </a:lnTo>
                <a:lnTo>
                  <a:pt x="298" y="288"/>
                </a:lnTo>
                <a:lnTo>
                  <a:pt x="305" y="284"/>
                </a:lnTo>
                <a:lnTo>
                  <a:pt x="311" y="280"/>
                </a:lnTo>
                <a:lnTo>
                  <a:pt x="318" y="277"/>
                </a:lnTo>
                <a:lnTo>
                  <a:pt x="324" y="274"/>
                </a:lnTo>
                <a:lnTo>
                  <a:pt x="331" y="273"/>
                </a:lnTo>
                <a:lnTo>
                  <a:pt x="339" y="272"/>
                </a:lnTo>
                <a:lnTo>
                  <a:pt x="347" y="271"/>
                </a:lnTo>
                <a:lnTo>
                  <a:pt x="354" y="272"/>
                </a:lnTo>
                <a:lnTo>
                  <a:pt x="362" y="273"/>
                </a:lnTo>
                <a:lnTo>
                  <a:pt x="369" y="274"/>
                </a:lnTo>
                <a:lnTo>
                  <a:pt x="375" y="277"/>
                </a:lnTo>
                <a:lnTo>
                  <a:pt x="382" y="280"/>
                </a:lnTo>
                <a:lnTo>
                  <a:pt x="388" y="284"/>
                </a:lnTo>
                <a:lnTo>
                  <a:pt x="395" y="288"/>
                </a:lnTo>
                <a:lnTo>
                  <a:pt x="400" y="293"/>
                </a:lnTo>
                <a:lnTo>
                  <a:pt x="404" y="299"/>
                </a:lnTo>
                <a:lnTo>
                  <a:pt x="409" y="304"/>
                </a:lnTo>
                <a:lnTo>
                  <a:pt x="413" y="310"/>
                </a:lnTo>
                <a:lnTo>
                  <a:pt x="416" y="317"/>
                </a:lnTo>
                <a:lnTo>
                  <a:pt x="418" y="324"/>
                </a:lnTo>
                <a:lnTo>
                  <a:pt x="421" y="331"/>
                </a:lnTo>
                <a:lnTo>
                  <a:pt x="422" y="338"/>
                </a:lnTo>
                <a:lnTo>
                  <a:pt x="422" y="346"/>
                </a:lnTo>
                <a:lnTo>
                  <a:pt x="422" y="354"/>
                </a:lnTo>
                <a:lnTo>
                  <a:pt x="421" y="362"/>
                </a:lnTo>
                <a:lnTo>
                  <a:pt x="418" y="368"/>
                </a:lnTo>
                <a:lnTo>
                  <a:pt x="416" y="376"/>
                </a:lnTo>
                <a:lnTo>
                  <a:pt x="413" y="382"/>
                </a:lnTo>
                <a:lnTo>
                  <a:pt x="409" y="389"/>
                </a:lnTo>
                <a:lnTo>
                  <a:pt x="404" y="394"/>
                </a:lnTo>
                <a:lnTo>
                  <a:pt x="400" y="399"/>
                </a:lnTo>
                <a:lnTo>
                  <a:pt x="395" y="405"/>
                </a:lnTo>
                <a:lnTo>
                  <a:pt x="388" y="409"/>
                </a:lnTo>
                <a:lnTo>
                  <a:pt x="382" y="412"/>
                </a:lnTo>
                <a:lnTo>
                  <a:pt x="375" y="416"/>
                </a:lnTo>
                <a:lnTo>
                  <a:pt x="369" y="418"/>
                </a:lnTo>
                <a:lnTo>
                  <a:pt x="362" y="420"/>
                </a:lnTo>
                <a:lnTo>
                  <a:pt x="354" y="421"/>
                </a:lnTo>
                <a:lnTo>
                  <a:pt x="347" y="422"/>
                </a:lnTo>
                <a:lnTo>
                  <a:pt x="339" y="421"/>
                </a:lnTo>
                <a:lnTo>
                  <a:pt x="331" y="420"/>
                </a:lnTo>
                <a:lnTo>
                  <a:pt x="324" y="418"/>
                </a:lnTo>
                <a:lnTo>
                  <a:pt x="318" y="416"/>
                </a:lnTo>
                <a:lnTo>
                  <a:pt x="311" y="412"/>
                </a:lnTo>
                <a:lnTo>
                  <a:pt x="305" y="409"/>
                </a:lnTo>
                <a:lnTo>
                  <a:pt x="298" y="405"/>
                </a:lnTo>
                <a:lnTo>
                  <a:pt x="293" y="399"/>
                </a:lnTo>
                <a:lnTo>
                  <a:pt x="289" y="394"/>
                </a:lnTo>
                <a:lnTo>
                  <a:pt x="284" y="389"/>
                </a:lnTo>
                <a:lnTo>
                  <a:pt x="280" y="382"/>
                </a:lnTo>
                <a:lnTo>
                  <a:pt x="277" y="376"/>
                </a:lnTo>
                <a:lnTo>
                  <a:pt x="275" y="368"/>
                </a:lnTo>
                <a:lnTo>
                  <a:pt x="273" y="362"/>
                </a:lnTo>
                <a:lnTo>
                  <a:pt x="271" y="354"/>
                </a:lnTo>
                <a:lnTo>
                  <a:pt x="271" y="346"/>
                </a:lnTo>
                <a:lnTo>
                  <a:pt x="271" y="346"/>
                </a:lnTo>
                <a:close/>
                <a:moveTo>
                  <a:pt x="903" y="452"/>
                </a:moveTo>
                <a:lnTo>
                  <a:pt x="903" y="439"/>
                </a:lnTo>
                <a:lnTo>
                  <a:pt x="900" y="426"/>
                </a:lnTo>
                <a:lnTo>
                  <a:pt x="896" y="416"/>
                </a:lnTo>
                <a:lnTo>
                  <a:pt x="890" y="405"/>
                </a:lnTo>
                <a:lnTo>
                  <a:pt x="883" y="394"/>
                </a:lnTo>
                <a:lnTo>
                  <a:pt x="875" y="386"/>
                </a:lnTo>
                <a:lnTo>
                  <a:pt x="866" y="378"/>
                </a:lnTo>
                <a:lnTo>
                  <a:pt x="855" y="372"/>
                </a:lnTo>
                <a:lnTo>
                  <a:pt x="862" y="362"/>
                </a:lnTo>
                <a:lnTo>
                  <a:pt x="868" y="351"/>
                </a:lnTo>
                <a:lnTo>
                  <a:pt x="872" y="339"/>
                </a:lnTo>
                <a:lnTo>
                  <a:pt x="875" y="328"/>
                </a:lnTo>
                <a:lnTo>
                  <a:pt x="876" y="316"/>
                </a:lnTo>
                <a:lnTo>
                  <a:pt x="875" y="303"/>
                </a:lnTo>
                <a:lnTo>
                  <a:pt x="873" y="291"/>
                </a:lnTo>
                <a:lnTo>
                  <a:pt x="869" y="279"/>
                </a:lnTo>
                <a:lnTo>
                  <a:pt x="863" y="268"/>
                </a:lnTo>
                <a:lnTo>
                  <a:pt x="857" y="258"/>
                </a:lnTo>
                <a:lnTo>
                  <a:pt x="848" y="248"/>
                </a:lnTo>
                <a:lnTo>
                  <a:pt x="839" y="241"/>
                </a:lnTo>
                <a:lnTo>
                  <a:pt x="829" y="234"/>
                </a:lnTo>
                <a:lnTo>
                  <a:pt x="817" y="229"/>
                </a:lnTo>
                <a:lnTo>
                  <a:pt x="807" y="225"/>
                </a:lnTo>
                <a:lnTo>
                  <a:pt x="794" y="224"/>
                </a:lnTo>
                <a:lnTo>
                  <a:pt x="797" y="211"/>
                </a:lnTo>
                <a:lnTo>
                  <a:pt x="798" y="199"/>
                </a:lnTo>
                <a:lnTo>
                  <a:pt x="797" y="187"/>
                </a:lnTo>
                <a:lnTo>
                  <a:pt x="795" y="175"/>
                </a:lnTo>
                <a:lnTo>
                  <a:pt x="792" y="163"/>
                </a:lnTo>
                <a:lnTo>
                  <a:pt x="786" y="153"/>
                </a:lnTo>
                <a:lnTo>
                  <a:pt x="780" y="142"/>
                </a:lnTo>
                <a:lnTo>
                  <a:pt x="771" y="132"/>
                </a:lnTo>
                <a:lnTo>
                  <a:pt x="765" y="126"/>
                </a:lnTo>
                <a:lnTo>
                  <a:pt x="757" y="121"/>
                </a:lnTo>
                <a:lnTo>
                  <a:pt x="750" y="116"/>
                </a:lnTo>
                <a:lnTo>
                  <a:pt x="742" y="113"/>
                </a:lnTo>
                <a:lnTo>
                  <a:pt x="734" y="110"/>
                </a:lnTo>
                <a:lnTo>
                  <a:pt x="725" y="108"/>
                </a:lnTo>
                <a:lnTo>
                  <a:pt x="717" y="107"/>
                </a:lnTo>
                <a:lnTo>
                  <a:pt x="707" y="106"/>
                </a:lnTo>
                <a:lnTo>
                  <a:pt x="694" y="107"/>
                </a:lnTo>
                <a:lnTo>
                  <a:pt x="680" y="110"/>
                </a:lnTo>
                <a:lnTo>
                  <a:pt x="678" y="98"/>
                </a:lnTo>
                <a:lnTo>
                  <a:pt x="675" y="86"/>
                </a:lnTo>
                <a:lnTo>
                  <a:pt x="669" y="74"/>
                </a:lnTo>
                <a:lnTo>
                  <a:pt x="663" y="65"/>
                </a:lnTo>
                <a:lnTo>
                  <a:pt x="655" y="55"/>
                </a:lnTo>
                <a:lnTo>
                  <a:pt x="647" y="48"/>
                </a:lnTo>
                <a:lnTo>
                  <a:pt x="636" y="40"/>
                </a:lnTo>
                <a:lnTo>
                  <a:pt x="624" y="35"/>
                </a:lnTo>
                <a:lnTo>
                  <a:pt x="612" y="30"/>
                </a:lnTo>
                <a:lnTo>
                  <a:pt x="601" y="28"/>
                </a:lnTo>
                <a:lnTo>
                  <a:pt x="588" y="27"/>
                </a:lnTo>
                <a:lnTo>
                  <a:pt x="576" y="28"/>
                </a:lnTo>
                <a:lnTo>
                  <a:pt x="564" y="32"/>
                </a:lnTo>
                <a:lnTo>
                  <a:pt x="552" y="36"/>
                </a:lnTo>
                <a:lnTo>
                  <a:pt x="542" y="41"/>
                </a:lnTo>
                <a:lnTo>
                  <a:pt x="532" y="49"/>
                </a:lnTo>
                <a:lnTo>
                  <a:pt x="526" y="38"/>
                </a:lnTo>
                <a:lnTo>
                  <a:pt x="518" y="28"/>
                </a:lnTo>
                <a:lnTo>
                  <a:pt x="510" y="20"/>
                </a:lnTo>
                <a:lnTo>
                  <a:pt x="499" y="13"/>
                </a:lnTo>
                <a:lnTo>
                  <a:pt x="488" y="8"/>
                </a:lnTo>
                <a:lnTo>
                  <a:pt x="476" y="4"/>
                </a:lnTo>
                <a:lnTo>
                  <a:pt x="464" y="0"/>
                </a:lnTo>
                <a:lnTo>
                  <a:pt x="452" y="0"/>
                </a:lnTo>
                <a:lnTo>
                  <a:pt x="439" y="0"/>
                </a:lnTo>
                <a:lnTo>
                  <a:pt x="427" y="4"/>
                </a:lnTo>
                <a:lnTo>
                  <a:pt x="415" y="8"/>
                </a:lnTo>
                <a:lnTo>
                  <a:pt x="404" y="13"/>
                </a:lnTo>
                <a:lnTo>
                  <a:pt x="395" y="20"/>
                </a:lnTo>
                <a:lnTo>
                  <a:pt x="386" y="28"/>
                </a:lnTo>
                <a:lnTo>
                  <a:pt x="379" y="38"/>
                </a:lnTo>
                <a:lnTo>
                  <a:pt x="371" y="49"/>
                </a:lnTo>
                <a:lnTo>
                  <a:pt x="362" y="41"/>
                </a:lnTo>
                <a:lnTo>
                  <a:pt x="351" y="36"/>
                </a:lnTo>
                <a:lnTo>
                  <a:pt x="340" y="32"/>
                </a:lnTo>
                <a:lnTo>
                  <a:pt x="327" y="28"/>
                </a:lnTo>
                <a:lnTo>
                  <a:pt x="315" y="27"/>
                </a:lnTo>
                <a:lnTo>
                  <a:pt x="304" y="28"/>
                </a:lnTo>
                <a:lnTo>
                  <a:pt x="291" y="30"/>
                </a:lnTo>
                <a:lnTo>
                  <a:pt x="279" y="35"/>
                </a:lnTo>
                <a:lnTo>
                  <a:pt x="268" y="40"/>
                </a:lnTo>
                <a:lnTo>
                  <a:pt x="257" y="47"/>
                </a:lnTo>
                <a:lnTo>
                  <a:pt x="249" y="55"/>
                </a:lnTo>
                <a:lnTo>
                  <a:pt x="240" y="65"/>
                </a:lnTo>
                <a:lnTo>
                  <a:pt x="234" y="74"/>
                </a:lnTo>
                <a:lnTo>
                  <a:pt x="229" y="86"/>
                </a:lnTo>
                <a:lnTo>
                  <a:pt x="225" y="98"/>
                </a:lnTo>
                <a:lnTo>
                  <a:pt x="223" y="110"/>
                </a:lnTo>
                <a:lnTo>
                  <a:pt x="210" y="107"/>
                </a:lnTo>
                <a:lnTo>
                  <a:pt x="196" y="106"/>
                </a:lnTo>
                <a:lnTo>
                  <a:pt x="188" y="107"/>
                </a:lnTo>
                <a:lnTo>
                  <a:pt x="179" y="108"/>
                </a:lnTo>
                <a:lnTo>
                  <a:pt x="171" y="110"/>
                </a:lnTo>
                <a:lnTo>
                  <a:pt x="162" y="113"/>
                </a:lnTo>
                <a:lnTo>
                  <a:pt x="155" y="116"/>
                </a:lnTo>
                <a:lnTo>
                  <a:pt x="146" y="121"/>
                </a:lnTo>
                <a:lnTo>
                  <a:pt x="140" y="126"/>
                </a:lnTo>
                <a:lnTo>
                  <a:pt x="133" y="132"/>
                </a:lnTo>
                <a:lnTo>
                  <a:pt x="125" y="142"/>
                </a:lnTo>
                <a:lnTo>
                  <a:pt x="117" y="153"/>
                </a:lnTo>
                <a:lnTo>
                  <a:pt x="113" y="163"/>
                </a:lnTo>
                <a:lnTo>
                  <a:pt x="108" y="175"/>
                </a:lnTo>
                <a:lnTo>
                  <a:pt x="106" y="187"/>
                </a:lnTo>
                <a:lnTo>
                  <a:pt x="106" y="199"/>
                </a:lnTo>
                <a:lnTo>
                  <a:pt x="107" y="211"/>
                </a:lnTo>
                <a:lnTo>
                  <a:pt x="109" y="224"/>
                </a:lnTo>
                <a:lnTo>
                  <a:pt x="98" y="225"/>
                </a:lnTo>
                <a:lnTo>
                  <a:pt x="86" y="229"/>
                </a:lnTo>
                <a:lnTo>
                  <a:pt x="75" y="234"/>
                </a:lnTo>
                <a:lnTo>
                  <a:pt x="64" y="241"/>
                </a:lnTo>
                <a:lnTo>
                  <a:pt x="56" y="248"/>
                </a:lnTo>
                <a:lnTo>
                  <a:pt x="47" y="258"/>
                </a:lnTo>
                <a:lnTo>
                  <a:pt x="40" y="268"/>
                </a:lnTo>
                <a:lnTo>
                  <a:pt x="34" y="279"/>
                </a:lnTo>
                <a:lnTo>
                  <a:pt x="30" y="291"/>
                </a:lnTo>
                <a:lnTo>
                  <a:pt x="28" y="303"/>
                </a:lnTo>
                <a:lnTo>
                  <a:pt x="28" y="316"/>
                </a:lnTo>
                <a:lnTo>
                  <a:pt x="29" y="328"/>
                </a:lnTo>
                <a:lnTo>
                  <a:pt x="31" y="339"/>
                </a:lnTo>
                <a:lnTo>
                  <a:pt x="35" y="351"/>
                </a:lnTo>
                <a:lnTo>
                  <a:pt x="42" y="362"/>
                </a:lnTo>
                <a:lnTo>
                  <a:pt x="48" y="372"/>
                </a:lnTo>
                <a:lnTo>
                  <a:pt x="39" y="378"/>
                </a:lnTo>
                <a:lnTo>
                  <a:pt x="29" y="386"/>
                </a:lnTo>
                <a:lnTo>
                  <a:pt x="20" y="394"/>
                </a:lnTo>
                <a:lnTo>
                  <a:pt x="14" y="405"/>
                </a:lnTo>
                <a:lnTo>
                  <a:pt x="8" y="416"/>
                </a:lnTo>
                <a:lnTo>
                  <a:pt x="3" y="427"/>
                </a:lnTo>
                <a:lnTo>
                  <a:pt x="1" y="439"/>
                </a:lnTo>
                <a:lnTo>
                  <a:pt x="0" y="452"/>
                </a:lnTo>
                <a:lnTo>
                  <a:pt x="1" y="464"/>
                </a:lnTo>
                <a:lnTo>
                  <a:pt x="3" y="477"/>
                </a:lnTo>
                <a:lnTo>
                  <a:pt x="8" y="488"/>
                </a:lnTo>
                <a:lnTo>
                  <a:pt x="14" y="499"/>
                </a:lnTo>
                <a:lnTo>
                  <a:pt x="20" y="509"/>
                </a:lnTo>
                <a:lnTo>
                  <a:pt x="29" y="517"/>
                </a:lnTo>
                <a:lnTo>
                  <a:pt x="38" y="525"/>
                </a:lnTo>
                <a:lnTo>
                  <a:pt x="48" y="531"/>
                </a:lnTo>
                <a:lnTo>
                  <a:pt x="41" y="542"/>
                </a:lnTo>
                <a:lnTo>
                  <a:pt x="35" y="553"/>
                </a:lnTo>
                <a:lnTo>
                  <a:pt x="31" y="564"/>
                </a:lnTo>
                <a:lnTo>
                  <a:pt x="29" y="575"/>
                </a:lnTo>
                <a:lnTo>
                  <a:pt x="28" y="588"/>
                </a:lnTo>
                <a:lnTo>
                  <a:pt x="28" y="600"/>
                </a:lnTo>
                <a:lnTo>
                  <a:pt x="30" y="613"/>
                </a:lnTo>
                <a:lnTo>
                  <a:pt x="34" y="625"/>
                </a:lnTo>
                <a:lnTo>
                  <a:pt x="40" y="635"/>
                </a:lnTo>
                <a:lnTo>
                  <a:pt x="47" y="646"/>
                </a:lnTo>
                <a:lnTo>
                  <a:pt x="56" y="655"/>
                </a:lnTo>
                <a:lnTo>
                  <a:pt x="64" y="663"/>
                </a:lnTo>
                <a:lnTo>
                  <a:pt x="75" y="670"/>
                </a:lnTo>
                <a:lnTo>
                  <a:pt x="86" y="674"/>
                </a:lnTo>
                <a:lnTo>
                  <a:pt x="98" y="678"/>
                </a:lnTo>
                <a:lnTo>
                  <a:pt x="109" y="681"/>
                </a:lnTo>
                <a:lnTo>
                  <a:pt x="107" y="692"/>
                </a:lnTo>
                <a:lnTo>
                  <a:pt x="106" y="704"/>
                </a:lnTo>
                <a:lnTo>
                  <a:pt x="106" y="716"/>
                </a:lnTo>
                <a:lnTo>
                  <a:pt x="108" y="729"/>
                </a:lnTo>
                <a:lnTo>
                  <a:pt x="113" y="740"/>
                </a:lnTo>
                <a:lnTo>
                  <a:pt x="118" y="751"/>
                </a:lnTo>
                <a:lnTo>
                  <a:pt x="125" y="761"/>
                </a:lnTo>
                <a:lnTo>
                  <a:pt x="133" y="771"/>
                </a:lnTo>
                <a:lnTo>
                  <a:pt x="140" y="777"/>
                </a:lnTo>
                <a:lnTo>
                  <a:pt x="147" y="782"/>
                </a:lnTo>
                <a:lnTo>
                  <a:pt x="155" y="787"/>
                </a:lnTo>
                <a:lnTo>
                  <a:pt x="162" y="791"/>
                </a:lnTo>
                <a:lnTo>
                  <a:pt x="171" y="794"/>
                </a:lnTo>
                <a:lnTo>
                  <a:pt x="179" y="796"/>
                </a:lnTo>
                <a:lnTo>
                  <a:pt x="188" y="797"/>
                </a:lnTo>
                <a:lnTo>
                  <a:pt x="196" y="797"/>
                </a:lnTo>
                <a:lnTo>
                  <a:pt x="210" y="796"/>
                </a:lnTo>
                <a:lnTo>
                  <a:pt x="223" y="793"/>
                </a:lnTo>
                <a:lnTo>
                  <a:pt x="225" y="806"/>
                </a:lnTo>
                <a:lnTo>
                  <a:pt x="229" y="818"/>
                </a:lnTo>
                <a:lnTo>
                  <a:pt x="234" y="829"/>
                </a:lnTo>
                <a:lnTo>
                  <a:pt x="240" y="838"/>
                </a:lnTo>
                <a:lnTo>
                  <a:pt x="248" y="848"/>
                </a:lnTo>
                <a:lnTo>
                  <a:pt x="257" y="856"/>
                </a:lnTo>
                <a:lnTo>
                  <a:pt x="268" y="863"/>
                </a:lnTo>
                <a:lnTo>
                  <a:pt x="279" y="869"/>
                </a:lnTo>
                <a:lnTo>
                  <a:pt x="291" y="873"/>
                </a:lnTo>
                <a:lnTo>
                  <a:pt x="304" y="875"/>
                </a:lnTo>
                <a:lnTo>
                  <a:pt x="315" y="876"/>
                </a:lnTo>
                <a:lnTo>
                  <a:pt x="327" y="875"/>
                </a:lnTo>
                <a:lnTo>
                  <a:pt x="340" y="871"/>
                </a:lnTo>
                <a:lnTo>
                  <a:pt x="351" y="868"/>
                </a:lnTo>
                <a:lnTo>
                  <a:pt x="362" y="862"/>
                </a:lnTo>
                <a:lnTo>
                  <a:pt x="371" y="855"/>
                </a:lnTo>
                <a:lnTo>
                  <a:pt x="379" y="865"/>
                </a:lnTo>
                <a:lnTo>
                  <a:pt x="386" y="875"/>
                </a:lnTo>
                <a:lnTo>
                  <a:pt x="395" y="883"/>
                </a:lnTo>
                <a:lnTo>
                  <a:pt x="404" y="890"/>
                </a:lnTo>
                <a:lnTo>
                  <a:pt x="415" y="896"/>
                </a:lnTo>
                <a:lnTo>
                  <a:pt x="427" y="900"/>
                </a:lnTo>
                <a:lnTo>
                  <a:pt x="439" y="903"/>
                </a:lnTo>
                <a:lnTo>
                  <a:pt x="452" y="904"/>
                </a:lnTo>
                <a:lnTo>
                  <a:pt x="464" y="903"/>
                </a:lnTo>
                <a:lnTo>
                  <a:pt x="476" y="899"/>
                </a:lnTo>
                <a:lnTo>
                  <a:pt x="488" y="896"/>
                </a:lnTo>
                <a:lnTo>
                  <a:pt x="499" y="890"/>
                </a:lnTo>
                <a:lnTo>
                  <a:pt x="510" y="883"/>
                </a:lnTo>
                <a:lnTo>
                  <a:pt x="518" y="875"/>
                </a:lnTo>
                <a:lnTo>
                  <a:pt x="526" y="865"/>
                </a:lnTo>
                <a:lnTo>
                  <a:pt x="532" y="855"/>
                </a:lnTo>
                <a:lnTo>
                  <a:pt x="542" y="862"/>
                </a:lnTo>
                <a:lnTo>
                  <a:pt x="552" y="868"/>
                </a:lnTo>
                <a:lnTo>
                  <a:pt x="564" y="871"/>
                </a:lnTo>
                <a:lnTo>
                  <a:pt x="576" y="875"/>
                </a:lnTo>
                <a:lnTo>
                  <a:pt x="588" y="876"/>
                </a:lnTo>
                <a:lnTo>
                  <a:pt x="601" y="875"/>
                </a:lnTo>
                <a:lnTo>
                  <a:pt x="612" y="873"/>
                </a:lnTo>
                <a:lnTo>
                  <a:pt x="624" y="869"/>
                </a:lnTo>
                <a:lnTo>
                  <a:pt x="636" y="863"/>
                </a:lnTo>
                <a:lnTo>
                  <a:pt x="647" y="856"/>
                </a:lnTo>
                <a:lnTo>
                  <a:pt x="655" y="848"/>
                </a:lnTo>
                <a:lnTo>
                  <a:pt x="663" y="838"/>
                </a:lnTo>
                <a:lnTo>
                  <a:pt x="669" y="829"/>
                </a:lnTo>
                <a:lnTo>
                  <a:pt x="675" y="818"/>
                </a:lnTo>
                <a:lnTo>
                  <a:pt x="678" y="806"/>
                </a:lnTo>
                <a:lnTo>
                  <a:pt x="680" y="793"/>
                </a:lnTo>
                <a:lnTo>
                  <a:pt x="694" y="796"/>
                </a:lnTo>
                <a:lnTo>
                  <a:pt x="707" y="797"/>
                </a:lnTo>
                <a:lnTo>
                  <a:pt x="717" y="797"/>
                </a:lnTo>
                <a:lnTo>
                  <a:pt x="725" y="796"/>
                </a:lnTo>
                <a:lnTo>
                  <a:pt x="734" y="794"/>
                </a:lnTo>
                <a:lnTo>
                  <a:pt x="742" y="791"/>
                </a:lnTo>
                <a:lnTo>
                  <a:pt x="750" y="787"/>
                </a:lnTo>
                <a:lnTo>
                  <a:pt x="757" y="782"/>
                </a:lnTo>
                <a:lnTo>
                  <a:pt x="765" y="777"/>
                </a:lnTo>
                <a:lnTo>
                  <a:pt x="771" y="771"/>
                </a:lnTo>
                <a:lnTo>
                  <a:pt x="780" y="761"/>
                </a:lnTo>
                <a:lnTo>
                  <a:pt x="786" y="751"/>
                </a:lnTo>
                <a:lnTo>
                  <a:pt x="792" y="740"/>
                </a:lnTo>
                <a:lnTo>
                  <a:pt x="795" y="729"/>
                </a:lnTo>
                <a:lnTo>
                  <a:pt x="797" y="716"/>
                </a:lnTo>
                <a:lnTo>
                  <a:pt x="798" y="704"/>
                </a:lnTo>
                <a:lnTo>
                  <a:pt x="797" y="692"/>
                </a:lnTo>
                <a:lnTo>
                  <a:pt x="794" y="681"/>
                </a:lnTo>
                <a:lnTo>
                  <a:pt x="807" y="678"/>
                </a:lnTo>
                <a:lnTo>
                  <a:pt x="817" y="674"/>
                </a:lnTo>
                <a:lnTo>
                  <a:pt x="829" y="670"/>
                </a:lnTo>
                <a:lnTo>
                  <a:pt x="839" y="663"/>
                </a:lnTo>
                <a:lnTo>
                  <a:pt x="848" y="655"/>
                </a:lnTo>
                <a:lnTo>
                  <a:pt x="857" y="646"/>
                </a:lnTo>
                <a:lnTo>
                  <a:pt x="863" y="635"/>
                </a:lnTo>
                <a:lnTo>
                  <a:pt x="869" y="625"/>
                </a:lnTo>
                <a:lnTo>
                  <a:pt x="873" y="613"/>
                </a:lnTo>
                <a:lnTo>
                  <a:pt x="875" y="600"/>
                </a:lnTo>
                <a:lnTo>
                  <a:pt x="876" y="588"/>
                </a:lnTo>
                <a:lnTo>
                  <a:pt x="875" y="575"/>
                </a:lnTo>
                <a:lnTo>
                  <a:pt x="872" y="564"/>
                </a:lnTo>
                <a:lnTo>
                  <a:pt x="868" y="553"/>
                </a:lnTo>
                <a:lnTo>
                  <a:pt x="862" y="542"/>
                </a:lnTo>
                <a:lnTo>
                  <a:pt x="855" y="531"/>
                </a:lnTo>
                <a:lnTo>
                  <a:pt x="866" y="525"/>
                </a:lnTo>
                <a:lnTo>
                  <a:pt x="875" y="517"/>
                </a:lnTo>
                <a:lnTo>
                  <a:pt x="883" y="509"/>
                </a:lnTo>
                <a:lnTo>
                  <a:pt x="890" y="499"/>
                </a:lnTo>
                <a:lnTo>
                  <a:pt x="896" y="488"/>
                </a:lnTo>
                <a:lnTo>
                  <a:pt x="900" y="477"/>
                </a:lnTo>
                <a:lnTo>
                  <a:pt x="903" y="464"/>
                </a:lnTo>
                <a:lnTo>
                  <a:pt x="903" y="4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0" name="Group 69">
            <a:extLst>
              <a:ext uri="{FF2B5EF4-FFF2-40B4-BE49-F238E27FC236}">
                <a16:creationId xmlns:a16="http://schemas.microsoft.com/office/drawing/2014/main" id="{7154CD7E-FD9E-4244-ACAC-5B10ECB725A7}"/>
              </a:ext>
            </a:extLst>
          </p:cNvPr>
          <p:cNvGrpSpPr/>
          <p:nvPr/>
        </p:nvGrpSpPr>
        <p:grpSpPr>
          <a:xfrm>
            <a:off x="8201200" y="5317908"/>
            <a:ext cx="284163" cy="212725"/>
            <a:chOff x="7610475" y="3671888"/>
            <a:chExt cx="284163" cy="212725"/>
          </a:xfrm>
          <a:solidFill>
            <a:schemeClr val="bg1"/>
          </a:solidFill>
        </p:grpSpPr>
        <p:sp>
          <p:nvSpPr>
            <p:cNvPr id="71" name="Freeform 3248">
              <a:extLst>
                <a:ext uri="{FF2B5EF4-FFF2-40B4-BE49-F238E27FC236}">
                  <a16:creationId xmlns:a16="http://schemas.microsoft.com/office/drawing/2014/main" id="{502A43FC-2077-4E54-84EA-8DD28C60084A}"/>
                </a:ext>
              </a:extLst>
            </p:cNvPr>
            <p:cNvSpPr>
              <a:spLocks/>
            </p:cNvSpPr>
            <p:nvPr/>
          </p:nvSpPr>
          <p:spPr bwMode="auto">
            <a:xfrm>
              <a:off x="7843838" y="3689350"/>
              <a:ext cx="50800" cy="177800"/>
            </a:xfrm>
            <a:custGeom>
              <a:avLst/>
              <a:gdLst>
                <a:gd name="T0" fmla="*/ 20 w 162"/>
                <a:gd name="T1" fmla="*/ 1 h 559"/>
                <a:gd name="T2" fmla="*/ 15 w 162"/>
                <a:gd name="T3" fmla="*/ 0 h 559"/>
                <a:gd name="T4" fmla="*/ 9 w 162"/>
                <a:gd name="T5" fmla="*/ 1 h 559"/>
                <a:gd name="T6" fmla="*/ 4 w 162"/>
                <a:gd name="T7" fmla="*/ 4 h 559"/>
                <a:gd name="T8" fmla="*/ 1 w 162"/>
                <a:gd name="T9" fmla="*/ 10 h 559"/>
                <a:gd name="T10" fmla="*/ 0 w 162"/>
                <a:gd name="T11" fmla="*/ 15 h 559"/>
                <a:gd name="T12" fmla="*/ 2 w 162"/>
                <a:gd name="T13" fmla="*/ 22 h 559"/>
                <a:gd name="T14" fmla="*/ 5 w 162"/>
                <a:gd name="T15" fmla="*/ 26 h 559"/>
                <a:gd name="T16" fmla="*/ 21 w 162"/>
                <a:gd name="T17" fmla="*/ 38 h 559"/>
                <a:gd name="T18" fmla="*/ 47 w 162"/>
                <a:gd name="T19" fmla="*/ 60 h 559"/>
                <a:gd name="T20" fmla="*/ 70 w 162"/>
                <a:gd name="T21" fmla="*/ 86 h 559"/>
                <a:gd name="T22" fmla="*/ 90 w 162"/>
                <a:gd name="T23" fmla="*/ 116 h 559"/>
                <a:gd name="T24" fmla="*/ 107 w 162"/>
                <a:gd name="T25" fmla="*/ 149 h 559"/>
                <a:gd name="T26" fmla="*/ 118 w 162"/>
                <a:gd name="T27" fmla="*/ 183 h 559"/>
                <a:gd name="T28" fmla="*/ 127 w 162"/>
                <a:gd name="T29" fmla="*/ 221 h 559"/>
                <a:gd name="T30" fmla="*/ 131 w 162"/>
                <a:gd name="T31" fmla="*/ 259 h 559"/>
                <a:gd name="T32" fmla="*/ 131 w 162"/>
                <a:gd name="T33" fmla="*/ 299 h 559"/>
                <a:gd name="T34" fmla="*/ 127 w 162"/>
                <a:gd name="T35" fmla="*/ 337 h 559"/>
                <a:gd name="T36" fmla="*/ 118 w 162"/>
                <a:gd name="T37" fmla="*/ 375 h 559"/>
                <a:gd name="T38" fmla="*/ 107 w 162"/>
                <a:gd name="T39" fmla="*/ 410 h 559"/>
                <a:gd name="T40" fmla="*/ 90 w 162"/>
                <a:gd name="T41" fmla="*/ 442 h 559"/>
                <a:gd name="T42" fmla="*/ 70 w 162"/>
                <a:gd name="T43" fmla="*/ 472 h 559"/>
                <a:gd name="T44" fmla="*/ 47 w 162"/>
                <a:gd name="T45" fmla="*/ 499 h 559"/>
                <a:gd name="T46" fmla="*/ 21 w 162"/>
                <a:gd name="T47" fmla="*/ 521 h 559"/>
                <a:gd name="T48" fmla="*/ 5 w 162"/>
                <a:gd name="T49" fmla="*/ 533 h 559"/>
                <a:gd name="T50" fmla="*/ 2 w 162"/>
                <a:gd name="T51" fmla="*/ 537 h 559"/>
                <a:gd name="T52" fmla="*/ 0 w 162"/>
                <a:gd name="T53" fmla="*/ 543 h 559"/>
                <a:gd name="T54" fmla="*/ 1 w 162"/>
                <a:gd name="T55" fmla="*/ 549 h 559"/>
                <a:gd name="T56" fmla="*/ 5 w 162"/>
                <a:gd name="T57" fmla="*/ 554 h 559"/>
                <a:gd name="T58" fmla="*/ 11 w 162"/>
                <a:gd name="T59" fmla="*/ 558 h 559"/>
                <a:gd name="T60" fmla="*/ 19 w 162"/>
                <a:gd name="T61" fmla="*/ 558 h 559"/>
                <a:gd name="T62" fmla="*/ 39 w 162"/>
                <a:gd name="T63" fmla="*/ 545 h 559"/>
                <a:gd name="T64" fmla="*/ 68 w 162"/>
                <a:gd name="T65" fmla="*/ 520 h 559"/>
                <a:gd name="T66" fmla="*/ 94 w 162"/>
                <a:gd name="T67" fmla="*/ 491 h 559"/>
                <a:gd name="T68" fmla="*/ 115 w 162"/>
                <a:gd name="T69" fmla="*/ 458 h 559"/>
                <a:gd name="T70" fmla="*/ 133 w 162"/>
                <a:gd name="T71" fmla="*/ 423 h 559"/>
                <a:gd name="T72" fmla="*/ 147 w 162"/>
                <a:gd name="T73" fmla="*/ 384 h 559"/>
                <a:gd name="T74" fmla="*/ 157 w 162"/>
                <a:gd name="T75" fmla="*/ 344 h 559"/>
                <a:gd name="T76" fmla="*/ 161 w 162"/>
                <a:gd name="T77" fmla="*/ 301 h 559"/>
                <a:gd name="T78" fmla="*/ 161 w 162"/>
                <a:gd name="T79" fmla="*/ 257 h 559"/>
                <a:gd name="T80" fmla="*/ 157 w 162"/>
                <a:gd name="T81" fmla="*/ 215 h 559"/>
                <a:gd name="T82" fmla="*/ 147 w 162"/>
                <a:gd name="T83" fmla="*/ 175 h 559"/>
                <a:gd name="T84" fmla="*/ 133 w 162"/>
                <a:gd name="T85" fmla="*/ 136 h 559"/>
                <a:gd name="T86" fmla="*/ 115 w 162"/>
                <a:gd name="T87" fmla="*/ 100 h 559"/>
                <a:gd name="T88" fmla="*/ 94 w 162"/>
                <a:gd name="T89" fmla="*/ 68 h 559"/>
                <a:gd name="T90" fmla="*/ 68 w 162"/>
                <a:gd name="T91" fmla="*/ 38 h 559"/>
                <a:gd name="T92" fmla="*/ 39 w 162"/>
                <a:gd name="T93"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 h="559">
                  <a:moveTo>
                    <a:pt x="23" y="2"/>
                  </a:moveTo>
                  <a:lnTo>
                    <a:pt x="20" y="1"/>
                  </a:lnTo>
                  <a:lnTo>
                    <a:pt x="18" y="0"/>
                  </a:lnTo>
                  <a:lnTo>
                    <a:pt x="15" y="0"/>
                  </a:lnTo>
                  <a:lnTo>
                    <a:pt x="11" y="0"/>
                  </a:lnTo>
                  <a:lnTo>
                    <a:pt x="9" y="1"/>
                  </a:lnTo>
                  <a:lnTo>
                    <a:pt x="6" y="2"/>
                  </a:lnTo>
                  <a:lnTo>
                    <a:pt x="4" y="4"/>
                  </a:lnTo>
                  <a:lnTo>
                    <a:pt x="3" y="7"/>
                  </a:lnTo>
                  <a:lnTo>
                    <a:pt x="1" y="10"/>
                  </a:lnTo>
                  <a:lnTo>
                    <a:pt x="1" y="13"/>
                  </a:lnTo>
                  <a:lnTo>
                    <a:pt x="0" y="15"/>
                  </a:lnTo>
                  <a:lnTo>
                    <a:pt x="1" y="18"/>
                  </a:lnTo>
                  <a:lnTo>
                    <a:pt x="2" y="22"/>
                  </a:lnTo>
                  <a:lnTo>
                    <a:pt x="3" y="24"/>
                  </a:lnTo>
                  <a:lnTo>
                    <a:pt x="5" y="26"/>
                  </a:lnTo>
                  <a:lnTo>
                    <a:pt x="7" y="28"/>
                  </a:lnTo>
                  <a:lnTo>
                    <a:pt x="21" y="38"/>
                  </a:lnTo>
                  <a:lnTo>
                    <a:pt x="35" y="48"/>
                  </a:lnTo>
                  <a:lnTo>
                    <a:pt x="47" y="60"/>
                  </a:lnTo>
                  <a:lnTo>
                    <a:pt x="60" y="73"/>
                  </a:lnTo>
                  <a:lnTo>
                    <a:pt x="70" y="86"/>
                  </a:lnTo>
                  <a:lnTo>
                    <a:pt x="81" y="101"/>
                  </a:lnTo>
                  <a:lnTo>
                    <a:pt x="90" y="116"/>
                  </a:lnTo>
                  <a:lnTo>
                    <a:pt x="98" y="132"/>
                  </a:lnTo>
                  <a:lnTo>
                    <a:pt x="107" y="149"/>
                  </a:lnTo>
                  <a:lnTo>
                    <a:pt x="113" y="166"/>
                  </a:lnTo>
                  <a:lnTo>
                    <a:pt x="118" y="183"/>
                  </a:lnTo>
                  <a:lnTo>
                    <a:pt x="124" y="202"/>
                  </a:lnTo>
                  <a:lnTo>
                    <a:pt x="127" y="221"/>
                  </a:lnTo>
                  <a:lnTo>
                    <a:pt x="130" y="240"/>
                  </a:lnTo>
                  <a:lnTo>
                    <a:pt x="131" y="259"/>
                  </a:lnTo>
                  <a:lnTo>
                    <a:pt x="132" y="279"/>
                  </a:lnTo>
                  <a:lnTo>
                    <a:pt x="131" y="299"/>
                  </a:lnTo>
                  <a:lnTo>
                    <a:pt x="130" y="319"/>
                  </a:lnTo>
                  <a:lnTo>
                    <a:pt x="127" y="337"/>
                  </a:lnTo>
                  <a:lnTo>
                    <a:pt x="124" y="356"/>
                  </a:lnTo>
                  <a:lnTo>
                    <a:pt x="118" y="375"/>
                  </a:lnTo>
                  <a:lnTo>
                    <a:pt x="113" y="393"/>
                  </a:lnTo>
                  <a:lnTo>
                    <a:pt x="107" y="410"/>
                  </a:lnTo>
                  <a:lnTo>
                    <a:pt x="98" y="426"/>
                  </a:lnTo>
                  <a:lnTo>
                    <a:pt x="90" y="442"/>
                  </a:lnTo>
                  <a:lnTo>
                    <a:pt x="81" y="458"/>
                  </a:lnTo>
                  <a:lnTo>
                    <a:pt x="70" y="472"/>
                  </a:lnTo>
                  <a:lnTo>
                    <a:pt x="60" y="486"/>
                  </a:lnTo>
                  <a:lnTo>
                    <a:pt x="47" y="499"/>
                  </a:lnTo>
                  <a:lnTo>
                    <a:pt x="35" y="510"/>
                  </a:lnTo>
                  <a:lnTo>
                    <a:pt x="21" y="521"/>
                  </a:lnTo>
                  <a:lnTo>
                    <a:pt x="7" y="531"/>
                  </a:lnTo>
                  <a:lnTo>
                    <a:pt x="5" y="533"/>
                  </a:lnTo>
                  <a:lnTo>
                    <a:pt x="3" y="535"/>
                  </a:lnTo>
                  <a:lnTo>
                    <a:pt x="2" y="537"/>
                  </a:lnTo>
                  <a:lnTo>
                    <a:pt x="1" y="540"/>
                  </a:lnTo>
                  <a:lnTo>
                    <a:pt x="0" y="543"/>
                  </a:lnTo>
                  <a:lnTo>
                    <a:pt x="1" y="546"/>
                  </a:lnTo>
                  <a:lnTo>
                    <a:pt x="1" y="549"/>
                  </a:lnTo>
                  <a:lnTo>
                    <a:pt x="3" y="551"/>
                  </a:lnTo>
                  <a:lnTo>
                    <a:pt x="5" y="554"/>
                  </a:lnTo>
                  <a:lnTo>
                    <a:pt x="8" y="556"/>
                  </a:lnTo>
                  <a:lnTo>
                    <a:pt x="11" y="558"/>
                  </a:lnTo>
                  <a:lnTo>
                    <a:pt x="15" y="559"/>
                  </a:lnTo>
                  <a:lnTo>
                    <a:pt x="19" y="558"/>
                  </a:lnTo>
                  <a:lnTo>
                    <a:pt x="23" y="555"/>
                  </a:lnTo>
                  <a:lnTo>
                    <a:pt x="39" y="545"/>
                  </a:lnTo>
                  <a:lnTo>
                    <a:pt x="53" y="533"/>
                  </a:lnTo>
                  <a:lnTo>
                    <a:pt x="68" y="520"/>
                  </a:lnTo>
                  <a:lnTo>
                    <a:pt x="81" y="506"/>
                  </a:lnTo>
                  <a:lnTo>
                    <a:pt x="94" y="491"/>
                  </a:lnTo>
                  <a:lnTo>
                    <a:pt x="105" y="475"/>
                  </a:lnTo>
                  <a:lnTo>
                    <a:pt x="115" y="458"/>
                  </a:lnTo>
                  <a:lnTo>
                    <a:pt x="125" y="441"/>
                  </a:lnTo>
                  <a:lnTo>
                    <a:pt x="133" y="423"/>
                  </a:lnTo>
                  <a:lnTo>
                    <a:pt x="141" y="403"/>
                  </a:lnTo>
                  <a:lnTo>
                    <a:pt x="147" y="384"/>
                  </a:lnTo>
                  <a:lnTo>
                    <a:pt x="153" y="364"/>
                  </a:lnTo>
                  <a:lnTo>
                    <a:pt x="157" y="344"/>
                  </a:lnTo>
                  <a:lnTo>
                    <a:pt x="159" y="322"/>
                  </a:lnTo>
                  <a:lnTo>
                    <a:pt x="161" y="301"/>
                  </a:lnTo>
                  <a:lnTo>
                    <a:pt x="162" y="279"/>
                  </a:lnTo>
                  <a:lnTo>
                    <a:pt x="161" y="257"/>
                  </a:lnTo>
                  <a:lnTo>
                    <a:pt x="159" y="236"/>
                  </a:lnTo>
                  <a:lnTo>
                    <a:pt x="157" y="215"/>
                  </a:lnTo>
                  <a:lnTo>
                    <a:pt x="153" y="195"/>
                  </a:lnTo>
                  <a:lnTo>
                    <a:pt x="147" y="175"/>
                  </a:lnTo>
                  <a:lnTo>
                    <a:pt x="141" y="154"/>
                  </a:lnTo>
                  <a:lnTo>
                    <a:pt x="133" y="136"/>
                  </a:lnTo>
                  <a:lnTo>
                    <a:pt x="125" y="118"/>
                  </a:lnTo>
                  <a:lnTo>
                    <a:pt x="115" y="100"/>
                  </a:lnTo>
                  <a:lnTo>
                    <a:pt x="105" y="83"/>
                  </a:lnTo>
                  <a:lnTo>
                    <a:pt x="94" y="68"/>
                  </a:lnTo>
                  <a:lnTo>
                    <a:pt x="81" y="53"/>
                  </a:lnTo>
                  <a:lnTo>
                    <a:pt x="68" y="38"/>
                  </a:lnTo>
                  <a:lnTo>
                    <a:pt x="53" y="25"/>
                  </a:lnTo>
                  <a:lnTo>
                    <a:pt x="39" y="13"/>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249">
              <a:extLst>
                <a:ext uri="{FF2B5EF4-FFF2-40B4-BE49-F238E27FC236}">
                  <a16:creationId xmlns:a16="http://schemas.microsoft.com/office/drawing/2014/main" id="{DCB3DC6C-57AD-4C29-B0A3-4CC9D71B67FD}"/>
                </a:ext>
              </a:extLst>
            </p:cNvPr>
            <p:cNvSpPr>
              <a:spLocks/>
            </p:cNvSpPr>
            <p:nvPr/>
          </p:nvSpPr>
          <p:spPr bwMode="auto">
            <a:xfrm>
              <a:off x="7824788" y="3708400"/>
              <a:ext cx="46038" cy="141288"/>
            </a:xfrm>
            <a:custGeom>
              <a:avLst/>
              <a:gdLst>
                <a:gd name="T0" fmla="*/ 142 w 142"/>
                <a:gd name="T1" fmla="*/ 204 h 445"/>
                <a:gd name="T2" fmla="*/ 138 w 142"/>
                <a:gd name="T3" fmla="*/ 170 h 445"/>
                <a:gd name="T4" fmla="*/ 130 w 142"/>
                <a:gd name="T5" fmla="*/ 137 h 445"/>
                <a:gd name="T6" fmla="*/ 117 w 142"/>
                <a:gd name="T7" fmla="*/ 106 h 445"/>
                <a:gd name="T8" fmla="*/ 102 w 142"/>
                <a:gd name="T9" fmla="*/ 77 h 445"/>
                <a:gd name="T10" fmla="*/ 82 w 142"/>
                <a:gd name="T11" fmla="*/ 51 h 445"/>
                <a:gd name="T12" fmla="*/ 60 w 142"/>
                <a:gd name="T13" fmla="*/ 28 h 445"/>
                <a:gd name="T14" fmla="*/ 35 w 142"/>
                <a:gd name="T15" fmla="*/ 9 h 445"/>
                <a:gd name="T16" fmla="*/ 18 w 142"/>
                <a:gd name="T17" fmla="*/ 0 h 445"/>
                <a:gd name="T18" fmla="*/ 13 w 142"/>
                <a:gd name="T19" fmla="*/ 0 h 445"/>
                <a:gd name="T20" fmla="*/ 8 w 142"/>
                <a:gd name="T21" fmla="*/ 1 h 445"/>
                <a:gd name="T22" fmla="*/ 3 w 142"/>
                <a:gd name="T23" fmla="*/ 5 h 445"/>
                <a:gd name="T24" fmla="*/ 0 w 142"/>
                <a:gd name="T25" fmla="*/ 11 h 445"/>
                <a:gd name="T26" fmla="*/ 0 w 142"/>
                <a:gd name="T27" fmla="*/ 16 h 445"/>
                <a:gd name="T28" fmla="*/ 1 w 142"/>
                <a:gd name="T29" fmla="*/ 21 h 445"/>
                <a:gd name="T30" fmla="*/ 5 w 142"/>
                <a:gd name="T31" fmla="*/ 27 h 445"/>
                <a:gd name="T32" fmla="*/ 19 w 142"/>
                <a:gd name="T33" fmla="*/ 35 h 445"/>
                <a:gd name="T34" fmla="*/ 41 w 142"/>
                <a:gd name="T35" fmla="*/ 51 h 445"/>
                <a:gd name="T36" fmla="*/ 60 w 142"/>
                <a:gd name="T37" fmla="*/ 70 h 445"/>
                <a:gd name="T38" fmla="*/ 77 w 142"/>
                <a:gd name="T39" fmla="*/ 94 h 445"/>
                <a:gd name="T40" fmla="*/ 91 w 142"/>
                <a:gd name="T41" fmla="*/ 119 h 445"/>
                <a:gd name="T42" fmla="*/ 102 w 142"/>
                <a:gd name="T43" fmla="*/ 146 h 445"/>
                <a:gd name="T44" fmla="*/ 108 w 142"/>
                <a:gd name="T45" fmla="*/ 175 h 445"/>
                <a:gd name="T46" fmla="*/ 112 w 142"/>
                <a:gd name="T47" fmla="*/ 206 h 445"/>
                <a:gd name="T48" fmla="*/ 112 w 142"/>
                <a:gd name="T49" fmla="*/ 237 h 445"/>
                <a:gd name="T50" fmla="*/ 108 w 142"/>
                <a:gd name="T51" fmla="*/ 268 h 445"/>
                <a:gd name="T52" fmla="*/ 102 w 142"/>
                <a:gd name="T53" fmla="*/ 297 h 445"/>
                <a:gd name="T54" fmla="*/ 91 w 142"/>
                <a:gd name="T55" fmla="*/ 325 h 445"/>
                <a:gd name="T56" fmla="*/ 77 w 142"/>
                <a:gd name="T57" fmla="*/ 351 h 445"/>
                <a:gd name="T58" fmla="*/ 60 w 142"/>
                <a:gd name="T59" fmla="*/ 373 h 445"/>
                <a:gd name="T60" fmla="*/ 41 w 142"/>
                <a:gd name="T61" fmla="*/ 394 h 445"/>
                <a:gd name="T62" fmla="*/ 19 w 142"/>
                <a:gd name="T63" fmla="*/ 410 h 445"/>
                <a:gd name="T64" fmla="*/ 5 w 142"/>
                <a:gd name="T65" fmla="*/ 418 h 445"/>
                <a:gd name="T66" fmla="*/ 1 w 142"/>
                <a:gd name="T67" fmla="*/ 422 h 445"/>
                <a:gd name="T68" fmla="*/ 0 w 142"/>
                <a:gd name="T69" fmla="*/ 428 h 445"/>
                <a:gd name="T70" fmla="*/ 0 w 142"/>
                <a:gd name="T71" fmla="*/ 434 h 445"/>
                <a:gd name="T72" fmla="*/ 3 w 142"/>
                <a:gd name="T73" fmla="*/ 440 h 445"/>
                <a:gd name="T74" fmla="*/ 11 w 142"/>
                <a:gd name="T75" fmla="*/ 444 h 445"/>
                <a:gd name="T76" fmla="*/ 18 w 142"/>
                <a:gd name="T77" fmla="*/ 444 h 445"/>
                <a:gd name="T78" fmla="*/ 35 w 142"/>
                <a:gd name="T79" fmla="*/ 435 h 445"/>
                <a:gd name="T80" fmla="*/ 60 w 142"/>
                <a:gd name="T81" fmla="*/ 416 h 445"/>
                <a:gd name="T82" fmla="*/ 82 w 142"/>
                <a:gd name="T83" fmla="*/ 394 h 445"/>
                <a:gd name="T84" fmla="*/ 102 w 142"/>
                <a:gd name="T85" fmla="*/ 368 h 445"/>
                <a:gd name="T86" fmla="*/ 117 w 142"/>
                <a:gd name="T87" fmla="*/ 339 h 445"/>
                <a:gd name="T88" fmla="*/ 130 w 142"/>
                <a:gd name="T89" fmla="*/ 308 h 445"/>
                <a:gd name="T90" fmla="*/ 138 w 142"/>
                <a:gd name="T91" fmla="*/ 275 h 445"/>
                <a:gd name="T92" fmla="*/ 142 w 142"/>
                <a:gd name="T93" fmla="*/ 23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445">
                  <a:moveTo>
                    <a:pt x="142" y="222"/>
                  </a:moveTo>
                  <a:lnTo>
                    <a:pt x="142" y="204"/>
                  </a:lnTo>
                  <a:lnTo>
                    <a:pt x="140" y="187"/>
                  </a:lnTo>
                  <a:lnTo>
                    <a:pt x="138" y="170"/>
                  </a:lnTo>
                  <a:lnTo>
                    <a:pt x="134" y="153"/>
                  </a:lnTo>
                  <a:lnTo>
                    <a:pt x="130" y="137"/>
                  </a:lnTo>
                  <a:lnTo>
                    <a:pt x="124" y="121"/>
                  </a:lnTo>
                  <a:lnTo>
                    <a:pt x="117" y="106"/>
                  </a:lnTo>
                  <a:lnTo>
                    <a:pt x="109" y="91"/>
                  </a:lnTo>
                  <a:lnTo>
                    <a:pt x="102" y="77"/>
                  </a:lnTo>
                  <a:lnTo>
                    <a:pt x="92" y="63"/>
                  </a:lnTo>
                  <a:lnTo>
                    <a:pt x="82" y="51"/>
                  </a:lnTo>
                  <a:lnTo>
                    <a:pt x="72" y="39"/>
                  </a:lnTo>
                  <a:lnTo>
                    <a:pt x="60" y="28"/>
                  </a:lnTo>
                  <a:lnTo>
                    <a:pt x="48" y="18"/>
                  </a:lnTo>
                  <a:lnTo>
                    <a:pt x="35" y="9"/>
                  </a:lnTo>
                  <a:lnTo>
                    <a:pt x="21" y="2"/>
                  </a:lnTo>
                  <a:lnTo>
                    <a:pt x="18" y="0"/>
                  </a:lnTo>
                  <a:lnTo>
                    <a:pt x="16" y="0"/>
                  </a:lnTo>
                  <a:lnTo>
                    <a:pt x="13" y="0"/>
                  </a:lnTo>
                  <a:lnTo>
                    <a:pt x="10" y="0"/>
                  </a:lnTo>
                  <a:lnTo>
                    <a:pt x="8" y="1"/>
                  </a:lnTo>
                  <a:lnTo>
                    <a:pt x="5" y="3"/>
                  </a:lnTo>
                  <a:lnTo>
                    <a:pt x="3" y="5"/>
                  </a:lnTo>
                  <a:lnTo>
                    <a:pt x="1" y="7"/>
                  </a:lnTo>
                  <a:lnTo>
                    <a:pt x="0" y="11"/>
                  </a:lnTo>
                  <a:lnTo>
                    <a:pt x="0" y="14"/>
                  </a:lnTo>
                  <a:lnTo>
                    <a:pt x="0" y="16"/>
                  </a:lnTo>
                  <a:lnTo>
                    <a:pt x="0" y="19"/>
                  </a:lnTo>
                  <a:lnTo>
                    <a:pt x="1" y="21"/>
                  </a:lnTo>
                  <a:lnTo>
                    <a:pt x="3" y="24"/>
                  </a:lnTo>
                  <a:lnTo>
                    <a:pt x="5" y="27"/>
                  </a:lnTo>
                  <a:lnTo>
                    <a:pt x="8" y="28"/>
                  </a:lnTo>
                  <a:lnTo>
                    <a:pt x="19" y="35"/>
                  </a:lnTo>
                  <a:lnTo>
                    <a:pt x="30" y="43"/>
                  </a:lnTo>
                  <a:lnTo>
                    <a:pt x="41" y="51"/>
                  </a:lnTo>
                  <a:lnTo>
                    <a:pt x="51" y="61"/>
                  </a:lnTo>
                  <a:lnTo>
                    <a:pt x="60" y="70"/>
                  </a:lnTo>
                  <a:lnTo>
                    <a:pt x="69" y="82"/>
                  </a:lnTo>
                  <a:lnTo>
                    <a:pt x="77" y="94"/>
                  </a:lnTo>
                  <a:lnTo>
                    <a:pt x="85" y="106"/>
                  </a:lnTo>
                  <a:lnTo>
                    <a:pt x="91" y="119"/>
                  </a:lnTo>
                  <a:lnTo>
                    <a:pt x="96" y="133"/>
                  </a:lnTo>
                  <a:lnTo>
                    <a:pt x="102" y="146"/>
                  </a:lnTo>
                  <a:lnTo>
                    <a:pt x="105" y="161"/>
                  </a:lnTo>
                  <a:lnTo>
                    <a:pt x="108" y="175"/>
                  </a:lnTo>
                  <a:lnTo>
                    <a:pt x="111" y="191"/>
                  </a:lnTo>
                  <a:lnTo>
                    <a:pt x="112" y="206"/>
                  </a:lnTo>
                  <a:lnTo>
                    <a:pt x="112" y="222"/>
                  </a:lnTo>
                  <a:lnTo>
                    <a:pt x="112" y="237"/>
                  </a:lnTo>
                  <a:lnTo>
                    <a:pt x="111" y="253"/>
                  </a:lnTo>
                  <a:lnTo>
                    <a:pt x="108" y="268"/>
                  </a:lnTo>
                  <a:lnTo>
                    <a:pt x="105" y="283"/>
                  </a:lnTo>
                  <a:lnTo>
                    <a:pt x="102" y="297"/>
                  </a:lnTo>
                  <a:lnTo>
                    <a:pt x="96" y="311"/>
                  </a:lnTo>
                  <a:lnTo>
                    <a:pt x="91" y="325"/>
                  </a:lnTo>
                  <a:lnTo>
                    <a:pt x="85" y="338"/>
                  </a:lnTo>
                  <a:lnTo>
                    <a:pt x="77" y="351"/>
                  </a:lnTo>
                  <a:lnTo>
                    <a:pt x="69" y="363"/>
                  </a:lnTo>
                  <a:lnTo>
                    <a:pt x="60" y="373"/>
                  </a:lnTo>
                  <a:lnTo>
                    <a:pt x="51" y="384"/>
                  </a:lnTo>
                  <a:lnTo>
                    <a:pt x="41" y="394"/>
                  </a:lnTo>
                  <a:lnTo>
                    <a:pt x="30" y="402"/>
                  </a:lnTo>
                  <a:lnTo>
                    <a:pt x="19" y="410"/>
                  </a:lnTo>
                  <a:lnTo>
                    <a:pt x="8" y="416"/>
                  </a:lnTo>
                  <a:lnTo>
                    <a:pt x="5" y="418"/>
                  </a:lnTo>
                  <a:lnTo>
                    <a:pt x="3" y="420"/>
                  </a:lnTo>
                  <a:lnTo>
                    <a:pt x="1" y="422"/>
                  </a:lnTo>
                  <a:lnTo>
                    <a:pt x="0" y="426"/>
                  </a:lnTo>
                  <a:lnTo>
                    <a:pt x="0" y="428"/>
                  </a:lnTo>
                  <a:lnTo>
                    <a:pt x="0" y="431"/>
                  </a:lnTo>
                  <a:lnTo>
                    <a:pt x="0" y="434"/>
                  </a:lnTo>
                  <a:lnTo>
                    <a:pt x="1" y="436"/>
                  </a:lnTo>
                  <a:lnTo>
                    <a:pt x="3" y="440"/>
                  </a:lnTo>
                  <a:lnTo>
                    <a:pt x="7" y="443"/>
                  </a:lnTo>
                  <a:lnTo>
                    <a:pt x="11" y="444"/>
                  </a:lnTo>
                  <a:lnTo>
                    <a:pt x="15" y="445"/>
                  </a:lnTo>
                  <a:lnTo>
                    <a:pt x="18" y="444"/>
                  </a:lnTo>
                  <a:lnTo>
                    <a:pt x="21" y="443"/>
                  </a:lnTo>
                  <a:lnTo>
                    <a:pt x="35" y="435"/>
                  </a:lnTo>
                  <a:lnTo>
                    <a:pt x="48" y="426"/>
                  </a:lnTo>
                  <a:lnTo>
                    <a:pt x="60" y="416"/>
                  </a:lnTo>
                  <a:lnTo>
                    <a:pt x="72" y="405"/>
                  </a:lnTo>
                  <a:lnTo>
                    <a:pt x="82" y="394"/>
                  </a:lnTo>
                  <a:lnTo>
                    <a:pt x="92" y="381"/>
                  </a:lnTo>
                  <a:lnTo>
                    <a:pt x="102" y="368"/>
                  </a:lnTo>
                  <a:lnTo>
                    <a:pt x="109" y="354"/>
                  </a:lnTo>
                  <a:lnTo>
                    <a:pt x="117" y="339"/>
                  </a:lnTo>
                  <a:lnTo>
                    <a:pt x="124" y="323"/>
                  </a:lnTo>
                  <a:lnTo>
                    <a:pt x="130" y="308"/>
                  </a:lnTo>
                  <a:lnTo>
                    <a:pt x="134" y="291"/>
                  </a:lnTo>
                  <a:lnTo>
                    <a:pt x="138" y="275"/>
                  </a:lnTo>
                  <a:lnTo>
                    <a:pt x="140" y="258"/>
                  </a:lnTo>
                  <a:lnTo>
                    <a:pt x="142" y="239"/>
                  </a:lnTo>
                  <a:lnTo>
                    <a:pt x="142" y="2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250">
              <a:extLst>
                <a:ext uri="{FF2B5EF4-FFF2-40B4-BE49-F238E27FC236}">
                  <a16:creationId xmlns:a16="http://schemas.microsoft.com/office/drawing/2014/main" id="{81B70DAF-34D8-4EF9-B637-07F3F5C4EE52}"/>
                </a:ext>
              </a:extLst>
            </p:cNvPr>
            <p:cNvSpPr>
              <a:spLocks/>
            </p:cNvSpPr>
            <p:nvPr/>
          </p:nvSpPr>
          <p:spPr bwMode="auto">
            <a:xfrm>
              <a:off x="7807325" y="3725863"/>
              <a:ext cx="39688" cy="104775"/>
            </a:xfrm>
            <a:custGeom>
              <a:avLst/>
              <a:gdLst>
                <a:gd name="T0" fmla="*/ 123 w 124"/>
                <a:gd name="T1" fmla="*/ 150 h 331"/>
                <a:gd name="T2" fmla="*/ 120 w 124"/>
                <a:gd name="T3" fmla="*/ 123 h 331"/>
                <a:gd name="T4" fmla="*/ 113 w 124"/>
                <a:gd name="T5" fmla="*/ 97 h 331"/>
                <a:gd name="T6" fmla="*/ 102 w 124"/>
                <a:gd name="T7" fmla="*/ 72 h 331"/>
                <a:gd name="T8" fmla="*/ 88 w 124"/>
                <a:gd name="T9" fmla="*/ 51 h 331"/>
                <a:gd name="T10" fmla="*/ 72 w 124"/>
                <a:gd name="T11" fmla="*/ 33 h 331"/>
                <a:gd name="T12" fmla="*/ 53 w 124"/>
                <a:gd name="T13" fmla="*/ 17 h 331"/>
                <a:gd name="T14" fmla="*/ 31 w 124"/>
                <a:gd name="T15" fmla="*/ 5 h 331"/>
                <a:gd name="T16" fmla="*/ 16 w 124"/>
                <a:gd name="T17" fmla="*/ 0 h 331"/>
                <a:gd name="T18" fmla="*/ 11 w 124"/>
                <a:gd name="T19" fmla="*/ 0 h 331"/>
                <a:gd name="T20" fmla="*/ 6 w 124"/>
                <a:gd name="T21" fmla="*/ 3 h 331"/>
                <a:gd name="T22" fmla="*/ 3 w 124"/>
                <a:gd name="T23" fmla="*/ 7 h 331"/>
                <a:gd name="T24" fmla="*/ 0 w 124"/>
                <a:gd name="T25" fmla="*/ 12 h 331"/>
                <a:gd name="T26" fmla="*/ 0 w 124"/>
                <a:gd name="T27" fmla="*/ 18 h 331"/>
                <a:gd name="T28" fmla="*/ 3 w 124"/>
                <a:gd name="T29" fmla="*/ 23 h 331"/>
                <a:gd name="T30" fmla="*/ 8 w 124"/>
                <a:gd name="T31" fmla="*/ 27 h 331"/>
                <a:gd name="T32" fmla="*/ 20 w 124"/>
                <a:gd name="T33" fmla="*/ 32 h 331"/>
                <a:gd name="T34" fmla="*/ 37 w 124"/>
                <a:gd name="T35" fmla="*/ 42 h 331"/>
                <a:gd name="T36" fmla="*/ 52 w 124"/>
                <a:gd name="T37" fmla="*/ 55 h 331"/>
                <a:gd name="T38" fmla="*/ 66 w 124"/>
                <a:gd name="T39" fmla="*/ 70 h 331"/>
                <a:gd name="T40" fmla="*/ 76 w 124"/>
                <a:gd name="T41" fmla="*/ 88 h 331"/>
                <a:gd name="T42" fmla="*/ 85 w 124"/>
                <a:gd name="T43" fmla="*/ 109 h 331"/>
                <a:gd name="T44" fmla="*/ 91 w 124"/>
                <a:gd name="T45" fmla="*/ 130 h 331"/>
                <a:gd name="T46" fmla="*/ 93 w 124"/>
                <a:gd name="T47" fmla="*/ 154 h 331"/>
                <a:gd name="T48" fmla="*/ 93 w 124"/>
                <a:gd name="T49" fmla="*/ 177 h 331"/>
                <a:gd name="T50" fmla="*/ 91 w 124"/>
                <a:gd name="T51" fmla="*/ 201 h 331"/>
                <a:gd name="T52" fmla="*/ 85 w 124"/>
                <a:gd name="T53" fmla="*/ 222 h 331"/>
                <a:gd name="T54" fmla="*/ 76 w 124"/>
                <a:gd name="T55" fmla="*/ 242 h 331"/>
                <a:gd name="T56" fmla="*/ 66 w 124"/>
                <a:gd name="T57" fmla="*/ 260 h 331"/>
                <a:gd name="T58" fmla="*/ 52 w 124"/>
                <a:gd name="T59" fmla="*/ 276 h 331"/>
                <a:gd name="T60" fmla="*/ 37 w 124"/>
                <a:gd name="T61" fmla="*/ 288 h 331"/>
                <a:gd name="T62" fmla="*/ 20 w 124"/>
                <a:gd name="T63" fmla="*/ 298 h 331"/>
                <a:gd name="T64" fmla="*/ 8 w 124"/>
                <a:gd name="T65" fmla="*/ 303 h 331"/>
                <a:gd name="T66" fmla="*/ 3 w 124"/>
                <a:gd name="T67" fmla="*/ 307 h 331"/>
                <a:gd name="T68" fmla="*/ 0 w 124"/>
                <a:gd name="T69" fmla="*/ 312 h 331"/>
                <a:gd name="T70" fmla="*/ 0 w 124"/>
                <a:gd name="T71" fmla="*/ 318 h 331"/>
                <a:gd name="T72" fmla="*/ 3 w 124"/>
                <a:gd name="T73" fmla="*/ 325 h 331"/>
                <a:gd name="T74" fmla="*/ 10 w 124"/>
                <a:gd name="T75" fmla="*/ 330 h 331"/>
                <a:gd name="T76" fmla="*/ 17 w 124"/>
                <a:gd name="T77" fmla="*/ 331 h 331"/>
                <a:gd name="T78" fmla="*/ 31 w 124"/>
                <a:gd name="T79" fmla="*/ 326 h 331"/>
                <a:gd name="T80" fmla="*/ 53 w 124"/>
                <a:gd name="T81" fmla="*/ 314 h 331"/>
                <a:gd name="T82" fmla="*/ 72 w 124"/>
                <a:gd name="T83" fmla="*/ 298 h 331"/>
                <a:gd name="T84" fmla="*/ 88 w 124"/>
                <a:gd name="T85" fmla="*/ 279 h 331"/>
                <a:gd name="T86" fmla="*/ 102 w 124"/>
                <a:gd name="T87" fmla="*/ 257 h 331"/>
                <a:gd name="T88" fmla="*/ 113 w 124"/>
                <a:gd name="T89" fmla="*/ 234 h 331"/>
                <a:gd name="T90" fmla="*/ 120 w 124"/>
                <a:gd name="T91" fmla="*/ 207 h 331"/>
                <a:gd name="T92" fmla="*/ 123 w 124"/>
                <a:gd name="T93" fmla="*/ 17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331">
                  <a:moveTo>
                    <a:pt x="124" y="165"/>
                  </a:moveTo>
                  <a:lnTo>
                    <a:pt x="123" y="150"/>
                  </a:lnTo>
                  <a:lnTo>
                    <a:pt x="122" y="136"/>
                  </a:lnTo>
                  <a:lnTo>
                    <a:pt x="120" y="123"/>
                  </a:lnTo>
                  <a:lnTo>
                    <a:pt x="117" y="110"/>
                  </a:lnTo>
                  <a:lnTo>
                    <a:pt x="113" y="97"/>
                  </a:lnTo>
                  <a:lnTo>
                    <a:pt x="107" y="84"/>
                  </a:lnTo>
                  <a:lnTo>
                    <a:pt x="102" y="72"/>
                  </a:lnTo>
                  <a:lnTo>
                    <a:pt x="96" y="62"/>
                  </a:lnTo>
                  <a:lnTo>
                    <a:pt x="88" y="51"/>
                  </a:lnTo>
                  <a:lnTo>
                    <a:pt x="81" y="41"/>
                  </a:lnTo>
                  <a:lnTo>
                    <a:pt x="72" y="33"/>
                  </a:lnTo>
                  <a:lnTo>
                    <a:pt x="62" y="24"/>
                  </a:lnTo>
                  <a:lnTo>
                    <a:pt x="53" y="17"/>
                  </a:lnTo>
                  <a:lnTo>
                    <a:pt x="42" y="10"/>
                  </a:lnTo>
                  <a:lnTo>
                    <a:pt x="31" y="5"/>
                  </a:lnTo>
                  <a:lnTo>
                    <a:pt x="20" y="1"/>
                  </a:lnTo>
                  <a:lnTo>
                    <a:pt x="16" y="0"/>
                  </a:lnTo>
                  <a:lnTo>
                    <a:pt x="14" y="0"/>
                  </a:lnTo>
                  <a:lnTo>
                    <a:pt x="11" y="0"/>
                  </a:lnTo>
                  <a:lnTo>
                    <a:pt x="8" y="1"/>
                  </a:lnTo>
                  <a:lnTo>
                    <a:pt x="6" y="3"/>
                  </a:lnTo>
                  <a:lnTo>
                    <a:pt x="4" y="4"/>
                  </a:lnTo>
                  <a:lnTo>
                    <a:pt x="3" y="7"/>
                  </a:lnTo>
                  <a:lnTo>
                    <a:pt x="0" y="9"/>
                  </a:lnTo>
                  <a:lnTo>
                    <a:pt x="0" y="12"/>
                  </a:lnTo>
                  <a:lnTo>
                    <a:pt x="0" y="16"/>
                  </a:lnTo>
                  <a:lnTo>
                    <a:pt x="0" y="18"/>
                  </a:lnTo>
                  <a:lnTo>
                    <a:pt x="1" y="21"/>
                  </a:lnTo>
                  <a:lnTo>
                    <a:pt x="3" y="23"/>
                  </a:lnTo>
                  <a:lnTo>
                    <a:pt x="5" y="25"/>
                  </a:lnTo>
                  <a:lnTo>
                    <a:pt x="8" y="27"/>
                  </a:lnTo>
                  <a:lnTo>
                    <a:pt x="10" y="28"/>
                  </a:lnTo>
                  <a:lnTo>
                    <a:pt x="20" y="32"/>
                  </a:lnTo>
                  <a:lnTo>
                    <a:pt x="28" y="37"/>
                  </a:lnTo>
                  <a:lnTo>
                    <a:pt x="37" y="42"/>
                  </a:lnTo>
                  <a:lnTo>
                    <a:pt x="44" y="48"/>
                  </a:lnTo>
                  <a:lnTo>
                    <a:pt x="52" y="55"/>
                  </a:lnTo>
                  <a:lnTo>
                    <a:pt x="59" y="63"/>
                  </a:lnTo>
                  <a:lnTo>
                    <a:pt x="66" y="70"/>
                  </a:lnTo>
                  <a:lnTo>
                    <a:pt x="71" y="79"/>
                  </a:lnTo>
                  <a:lnTo>
                    <a:pt x="76" y="88"/>
                  </a:lnTo>
                  <a:lnTo>
                    <a:pt x="81" y="98"/>
                  </a:lnTo>
                  <a:lnTo>
                    <a:pt x="85" y="109"/>
                  </a:lnTo>
                  <a:lnTo>
                    <a:pt x="88" y="119"/>
                  </a:lnTo>
                  <a:lnTo>
                    <a:pt x="91" y="130"/>
                  </a:lnTo>
                  <a:lnTo>
                    <a:pt x="92" y="142"/>
                  </a:lnTo>
                  <a:lnTo>
                    <a:pt x="93" y="154"/>
                  </a:lnTo>
                  <a:lnTo>
                    <a:pt x="95" y="165"/>
                  </a:lnTo>
                  <a:lnTo>
                    <a:pt x="93" y="177"/>
                  </a:lnTo>
                  <a:lnTo>
                    <a:pt x="92" y="189"/>
                  </a:lnTo>
                  <a:lnTo>
                    <a:pt x="91" y="201"/>
                  </a:lnTo>
                  <a:lnTo>
                    <a:pt x="88" y="211"/>
                  </a:lnTo>
                  <a:lnTo>
                    <a:pt x="85" y="222"/>
                  </a:lnTo>
                  <a:lnTo>
                    <a:pt x="81" y="233"/>
                  </a:lnTo>
                  <a:lnTo>
                    <a:pt x="76" y="242"/>
                  </a:lnTo>
                  <a:lnTo>
                    <a:pt x="71" y="251"/>
                  </a:lnTo>
                  <a:lnTo>
                    <a:pt x="66" y="260"/>
                  </a:lnTo>
                  <a:lnTo>
                    <a:pt x="59" y="268"/>
                  </a:lnTo>
                  <a:lnTo>
                    <a:pt x="52" y="276"/>
                  </a:lnTo>
                  <a:lnTo>
                    <a:pt x="44" y="282"/>
                  </a:lnTo>
                  <a:lnTo>
                    <a:pt x="37" y="288"/>
                  </a:lnTo>
                  <a:lnTo>
                    <a:pt x="28" y="294"/>
                  </a:lnTo>
                  <a:lnTo>
                    <a:pt x="20" y="298"/>
                  </a:lnTo>
                  <a:lnTo>
                    <a:pt x="10" y="302"/>
                  </a:lnTo>
                  <a:lnTo>
                    <a:pt x="8" y="303"/>
                  </a:lnTo>
                  <a:lnTo>
                    <a:pt x="5" y="304"/>
                  </a:lnTo>
                  <a:lnTo>
                    <a:pt x="3" y="307"/>
                  </a:lnTo>
                  <a:lnTo>
                    <a:pt x="1" y="310"/>
                  </a:lnTo>
                  <a:lnTo>
                    <a:pt x="0" y="312"/>
                  </a:lnTo>
                  <a:lnTo>
                    <a:pt x="0" y="315"/>
                  </a:lnTo>
                  <a:lnTo>
                    <a:pt x="0" y="318"/>
                  </a:lnTo>
                  <a:lnTo>
                    <a:pt x="0" y="320"/>
                  </a:lnTo>
                  <a:lnTo>
                    <a:pt x="3" y="325"/>
                  </a:lnTo>
                  <a:lnTo>
                    <a:pt x="7" y="328"/>
                  </a:lnTo>
                  <a:lnTo>
                    <a:pt x="10" y="330"/>
                  </a:lnTo>
                  <a:lnTo>
                    <a:pt x="15" y="331"/>
                  </a:lnTo>
                  <a:lnTo>
                    <a:pt x="17" y="331"/>
                  </a:lnTo>
                  <a:lnTo>
                    <a:pt x="20" y="330"/>
                  </a:lnTo>
                  <a:lnTo>
                    <a:pt x="31" y="326"/>
                  </a:lnTo>
                  <a:lnTo>
                    <a:pt x="42" y="320"/>
                  </a:lnTo>
                  <a:lnTo>
                    <a:pt x="53" y="314"/>
                  </a:lnTo>
                  <a:lnTo>
                    <a:pt x="62" y="307"/>
                  </a:lnTo>
                  <a:lnTo>
                    <a:pt x="72" y="298"/>
                  </a:lnTo>
                  <a:lnTo>
                    <a:pt x="81" y="289"/>
                  </a:lnTo>
                  <a:lnTo>
                    <a:pt x="88" y="279"/>
                  </a:lnTo>
                  <a:lnTo>
                    <a:pt x="96" y="269"/>
                  </a:lnTo>
                  <a:lnTo>
                    <a:pt x="102" y="257"/>
                  </a:lnTo>
                  <a:lnTo>
                    <a:pt x="107" y="246"/>
                  </a:lnTo>
                  <a:lnTo>
                    <a:pt x="113" y="234"/>
                  </a:lnTo>
                  <a:lnTo>
                    <a:pt x="117" y="221"/>
                  </a:lnTo>
                  <a:lnTo>
                    <a:pt x="120" y="207"/>
                  </a:lnTo>
                  <a:lnTo>
                    <a:pt x="122" y="193"/>
                  </a:lnTo>
                  <a:lnTo>
                    <a:pt x="123" y="179"/>
                  </a:lnTo>
                  <a:lnTo>
                    <a:pt x="124"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251">
              <a:extLst>
                <a:ext uri="{FF2B5EF4-FFF2-40B4-BE49-F238E27FC236}">
                  <a16:creationId xmlns:a16="http://schemas.microsoft.com/office/drawing/2014/main" id="{5A66BB1E-FCB7-4CCB-9E4F-BE38331D7667}"/>
                </a:ext>
              </a:extLst>
            </p:cNvPr>
            <p:cNvSpPr>
              <a:spLocks/>
            </p:cNvSpPr>
            <p:nvPr/>
          </p:nvSpPr>
          <p:spPr bwMode="auto">
            <a:xfrm>
              <a:off x="7610475" y="3671888"/>
              <a:ext cx="160338" cy="212725"/>
            </a:xfrm>
            <a:custGeom>
              <a:avLst/>
              <a:gdLst>
                <a:gd name="T0" fmla="*/ 470 w 508"/>
                <a:gd name="T1" fmla="*/ 1 h 671"/>
                <a:gd name="T2" fmla="*/ 423 w 508"/>
                <a:gd name="T3" fmla="*/ 9 h 671"/>
                <a:gd name="T4" fmla="*/ 378 w 508"/>
                <a:gd name="T5" fmla="*/ 23 h 671"/>
                <a:gd name="T6" fmla="*/ 335 w 508"/>
                <a:gd name="T7" fmla="*/ 43 h 671"/>
                <a:gd name="T8" fmla="*/ 293 w 508"/>
                <a:gd name="T9" fmla="*/ 69 h 671"/>
                <a:gd name="T10" fmla="*/ 255 w 508"/>
                <a:gd name="T11" fmla="*/ 99 h 671"/>
                <a:gd name="T12" fmla="*/ 222 w 508"/>
                <a:gd name="T13" fmla="*/ 134 h 671"/>
                <a:gd name="T14" fmla="*/ 195 w 508"/>
                <a:gd name="T15" fmla="*/ 173 h 671"/>
                <a:gd name="T16" fmla="*/ 104 w 508"/>
                <a:gd name="T17" fmla="*/ 193 h 671"/>
                <a:gd name="T18" fmla="*/ 82 w 508"/>
                <a:gd name="T19" fmla="*/ 195 h 671"/>
                <a:gd name="T20" fmla="*/ 62 w 508"/>
                <a:gd name="T21" fmla="*/ 204 h 671"/>
                <a:gd name="T22" fmla="*/ 44 w 508"/>
                <a:gd name="T23" fmla="*/ 215 h 671"/>
                <a:gd name="T24" fmla="*/ 29 w 508"/>
                <a:gd name="T25" fmla="*/ 230 h 671"/>
                <a:gd name="T26" fmla="*/ 16 w 508"/>
                <a:gd name="T27" fmla="*/ 250 h 671"/>
                <a:gd name="T28" fmla="*/ 7 w 508"/>
                <a:gd name="T29" fmla="*/ 269 h 671"/>
                <a:gd name="T30" fmla="*/ 2 w 508"/>
                <a:gd name="T31" fmla="*/ 290 h 671"/>
                <a:gd name="T32" fmla="*/ 0 w 508"/>
                <a:gd name="T33" fmla="*/ 313 h 671"/>
                <a:gd name="T34" fmla="*/ 0 w 508"/>
                <a:gd name="T35" fmla="*/ 394 h 671"/>
                <a:gd name="T36" fmla="*/ 4 w 508"/>
                <a:gd name="T37" fmla="*/ 415 h 671"/>
                <a:gd name="T38" fmla="*/ 12 w 508"/>
                <a:gd name="T39" fmla="*/ 435 h 671"/>
                <a:gd name="T40" fmla="*/ 24 w 508"/>
                <a:gd name="T41" fmla="*/ 452 h 671"/>
                <a:gd name="T42" fmla="*/ 39 w 508"/>
                <a:gd name="T43" fmla="*/ 467 h 671"/>
                <a:gd name="T44" fmla="*/ 56 w 508"/>
                <a:gd name="T45" fmla="*/ 479 h 671"/>
                <a:gd name="T46" fmla="*/ 77 w 508"/>
                <a:gd name="T47" fmla="*/ 487 h 671"/>
                <a:gd name="T48" fmla="*/ 98 w 508"/>
                <a:gd name="T49" fmla="*/ 491 h 671"/>
                <a:gd name="T50" fmla="*/ 185 w 508"/>
                <a:gd name="T51" fmla="*/ 491 h 671"/>
                <a:gd name="T52" fmla="*/ 207 w 508"/>
                <a:gd name="T53" fmla="*/ 530 h 671"/>
                <a:gd name="T54" fmla="*/ 237 w 508"/>
                <a:gd name="T55" fmla="*/ 564 h 671"/>
                <a:gd name="T56" fmla="*/ 271 w 508"/>
                <a:gd name="T57" fmla="*/ 594 h 671"/>
                <a:gd name="T58" fmla="*/ 310 w 508"/>
                <a:gd name="T59" fmla="*/ 621 h 671"/>
                <a:gd name="T60" fmla="*/ 353 w 508"/>
                <a:gd name="T61" fmla="*/ 642 h 671"/>
                <a:gd name="T62" fmla="*/ 398 w 508"/>
                <a:gd name="T63" fmla="*/ 658 h 671"/>
                <a:gd name="T64" fmla="*/ 445 w 508"/>
                <a:gd name="T65" fmla="*/ 668 h 671"/>
                <a:gd name="T66" fmla="*/ 493 w 508"/>
                <a:gd name="T67" fmla="*/ 671 h 671"/>
                <a:gd name="T68" fmla="*/ 499 w 508"/>
                <a:gd name="T69" fmla="*/ 670 h 671"/>
                <a:gd name="T70" fmla="*/ 504 w 508"/>
                <a:gd name="T71" fmla="*/ 667 h 671"/>
                <a:gd name="T72" fmla="*/ 507 w 508"/>
                <a:gd name="T73" fmla="*/ 663 h 671"/>
                <a:gd name="T74" fmla="*/ 508 w 508"/>
                <a:gd name="T75" fmla="*/ 656 h 671"/>
                <a:gd name="T76" fmla="*/ 508 w 508"/>
                <a:gd name="T77" fmla="*/ 12 h 671"/>
                <a:gd name="T78" fmla="*/ 506 w 508"/>
                <a:gd name="T79" fmla="*/ 7 h 671"/>
                <a:gd name="T80" fmla="*/ 501 w 508"/>
                <a:gd name="T81" fmla="*/ 3 h 671"/>
                <a:gd name="T82" fmla="*/ 496 w 508"/>
                <a:gd name="T83"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8" h="671">
                  <a:moveTo>
                    <a:pt x="493" y="0"/>
                  </a:moveTo>
                  <a:lnTo>
                    <a:pt x="470" y="1"/>
                  </a:lnTo>
                  <a:lnTo>
                    <a:pt x="447" y="4"/>
                  </a:lnTo>
                  <a:lnTo>
                    <a:pt x="423" y="9"/>
                  </a:lnTo>
                  <a:lnTo>
                    <a:pt x="401" y="14"/>
                  </a:lnTo>
                  <a:lnTo>
                    <a:pt x="378" y="23"/>
                  </a:lnTo>
                  <a:lnTo>
                    <a:pt x="356" y="33"/>
                  </a:lnTo>
                  <a:lnTo>
                    <a:pt x="335" y="43"/>
                  </a:lnTo>
                  <a:lnTo>
                    <a:pt x="313" y="55"/>
                  </a:lnTo>
                  <a:lnTo>
                    <a:pt x="293" y="69"/>
                  </a:lnTo>
                  <a:lnTo>
                    <a:pt x="274" y="84"/>
                  </a:lnTo>
                  <a:lnTo>
                    <a:pt x="255" y="99"/>
                  </a:lnTo>
                  <a:lnTo>
                    <a:pt x="238" y="116"/>
                  </a:lnTo>
                  <a:lnTo>
                    <a:pt x="222" y="134"/>
                  </a:lnTo>
                  <a:lnTo>
                    <a:pt x="208" y="152"/>
                  </a:lnTo>
                  <a:lnTo>
                    <a:pt x="195" y="173"/>
                  </a:lnTo>
                  <a:lnTo>
                    <a:pt x="185" y="193"/>
                  </a:lnTo>
                  <a:lnTo>
                    <a:pt x="104" y="193"/>
                  </a:lnTo>
                  <a:lnTo>
                    <a:pt x="93" y="193"/>
                  </a:lnTo>
                  <a:lnTo>
                    <a:pt x="82" y="195"/>
                  </a:lnTo>
                  <a:lnTo>
                    <a:pt x="71" y="199"/>
                  </a:lnTo>
                  <a:lnTo>
                    <a:pt x="62" y="204"/>
                  </a:lnTo>
                  <a:lnTo>
                    <a:pt x="52" y="209"/>
                  </a:lnTo>
                  <a:lnTo>
                    <a:pt x="44" y="215"/>
                  </a:lnTo>
                  <a:lnTo>
                    <a:pt x="36" y="223"/>
                  </a:lnTo>
                  <a:lnTo>
                    <a:pt x="29" y="230"/>
                  </a:lnTo>
                  <a:lnTo>
                    <a:pt x="22" y="240"/>
                  </a:lnTo>
                  <a:lnTo>
                    <a:pt x="16" y="250"/>
                  </a:lnTo>
                  <a:lnTo>
                    <a:pt x="11" y="259"/>
                  </a:lnTo>
                  <a:lnTo>
                    <a:pt x="7" y="269"/>
                  </a:lnTo>
                  <a:lnTo>
                    <a:pt x="4" y="280"/>
                  </a:lnTo>
                  <a:lnTo>
                    <a:pt x="2" y="290"/>
                  </a:lnTo>
                  <a:lnTo>
                    <a:pt x="0" y="302"/>
                  </a:lnTo>
                  <a:lnTo>
                    <a:pt x="0" y="313"/>
                  </a:lnTo>
                  <a:lnTo>
                    <a:pt x="0" y="382"/>
                  </a:lnTo>
                  <a:lnTo>
                    <a:pt x="0" y="394"/>
                  </a:lnTo>
                  <a:lnTo>
                    <a:pt x="2" y="405"/>
                  </a:lnTo>
                  <a:lnTo>
                    <a:pt x="4" y="415"/>
                  </a:lnTo>
                  <a:lnTo>
                    <a:pt x="8" y="425"/>
                  </a:lnTo>
                  <a:lnTo>
                    <a:pt x="12" y="435"/>
                  </a:lnTo>
                  <a:lnTo>
                    <a:pt x="18" y="443"/>
                  </a:lnTo>
                  <a:lnTo>
                    <a:pt x="24" y="452"/>
                  </a:lnTo>
                  <a:lnTo>
                    <a:pt x="32" y="459"/>
                  </a:lnTo>
                  <a:lnTo>
                    <a:pt x="39" y="467"/>
                  </a:lnTo>
                  <a:lnTo>
                    <a:pt x="48" y="473"/>
                  </a:lnTo>
                  <a:lnTo>
                    <a:pt x="56" y="479"/>
                  </a:lnTo>
                  <a:lnTo>
                    <a:pt x="66" y="483"/>
                  </a:lnTo>
                  <a:lnTo>
                    <a:pt x="77" y="487"/>
                  </a:lnTo>
                  <a:lnTo>
                    <a:pt x="86" y="489"/>
                  </a:lnTo>
                  <a:lnTo>
                    <a:pt x="98" y="491"/>
                  </a:lnTo>
                  <a:lnTo>
                    <a:pt x="109" y="491"/>
                  </a:lnTo>
                  <a:lnTo>
                    <a:pt x="185" y="491"/>
                  </a:lnTo>
                  <a:lnTo>
                    <a:pt x="195" y="511"/>
                  </a:lnTo>
                  <a:lnTo>
                    <a:pt x="207" y="530"/>
                  </a:lnTo>
                  <a:lnTo>
                    <a:pt x="221" y="547"/>
                  </a:lnTo>
                  <a:lnTo>
                    <a:pt x="237" y="564"/>
                  </a:lnTo>
                  <a:lnTo>
                    <a:pt x="253" y="580"/>
                  </a:lnTo>
                  <a:lnTo>
                    <a:pt x="271" y="594"/>
                  </a:lnTo>
                  <a:lnTo>
                    <a:pt x="291" y="608"/>
                  </a:lnTo>
                  <a:lnTo>
                    <a:pt x="310" y="621"/>
                  </a:lnTo>
                  <a:lnTo>
                    <a:pt x="331" y="633"/>
                  </a:lnTo>
                  <a:lnTo>
                    <a:pt x="353" y="642"/>
                  </a:lnTo>
                  <a:lnTo>
                    <a:pt x="375" y="651"/>
                  </a:lnTo>
                  <a:lnTo>
                    <a:pt x="398" y="658"/>
                  </a:lnTo>
                  <a:lnTo>
                    <a:pt x="421" y="664"/>
                  </a:lnTo>
                  <a:lnTo>
                    <a:pt x="445" y="668"/>
                  </a:lnTo>
                  <a:lnTo>
                    <a:pt x="469" y="670"/>
                  </a:lnTo>
                  <a:lnTo>
                    <a:pt x="493" y="671"/>
                  </a:lnTo>
                  <a:lnTo>
                    <a:pt x="496" y="671"/>
                  </a:lnTo>
                  <a:lnTo>
                    <a:pt x="499" y="670"/>
                  </a:lnTo>
                  <a:lnTo>
                    <a:pt x="501" y="669"/>
                  </a:lnTo>
                  <a:lnTo>
                    <a:pt x="504" y="667"/>
                  </a:lnTo>
                  <a:lnTo>
                    <a:pt x="506" y="665"/>
                  </a:lnTo>
                  <a:lnTo>
                    <a:pt x="507" y="663"/>
                  </a:lnTo>
                  <a:lnTo>
                    <a:pt x="508" y="659"/>
                  </a:lnTo>
                  <a:lnTo>
                    <a:pt x="508" y="656"/>
                  </a:lnTo>
                  <a:lnTo>
                    <a:pt x="508" y="15"/>
                  </a:lnTo>
                  <a:lnTo>
                    <a:pt x="508" y="12"/>
                  </a:lnTo>
                  <a:lnTo>
                    <a:pt x="507" y="9"/>
                  </a:lnTo>
                  <a:lnTo>
                    <a:pt x="506" y="7"/>
                  </a:lnTo>
                  <a:lnTo>
                    <a:pt x="504" y="5"/>
                  </a:lnTo>
                  <a:lnTo>
                    <a:pt x="501" y="3"/>
                  </a:lnTo>
                  <a:lnTo>
                    <a:pt x="499" y="1"/>
                  </a:lnTo>
                  <a:lnTo>
                    <a:pt x="496" y="0"/>
                  </a:lnTo>
                  <a:lnTo>
                    <a:pt x="4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Freeform 950">
            <a:extLst>
              <a:ext uri="{FF2B5EF4-FFF2-40B4-BE49-F238E27FC236}">
                <a16:creationId xmlns:a16="http://schemas.microsoft.com/office/drawing/2014/main" id="{40067C6F-7333-4424-87A8-20A0EBC33CE8}"/>
              </a:ext>
            </a:extLst>
          </p:cNvPr>
          <p:cNvSpPr>
            <a:spLocks noEditPoints="1"/>
          </p:cNvSpPr>
          <p:nvPr/>
        </p:nvSpPr>
        <p:spPr bwMode="auto">
          <a:xfrm>
            <a:off x="10805577" y="5279808"/>
            <a:ext cx="220663" cy="285750"/>
          </a:xfrm>
          <a:custGeom>
            <a:avLst/>
            <a:gdLst>
              <a:gd name="T0" fmla="*/ 542 w 553"/>
              <a:gd name="T1" fmla="*/ 205 h 722"/>
              <a:gd name="T2" fmla="*/ 323 w 553"/>
              <a:gd name="T3" fmla="*/ 313 h 722"/>
              <a:gd name="T4" fmla="*/ 312 w 553"/>
              <a:gd name="T5" fmla="*/ 306 h 722"/>
              <a:gd name="T6" fmla="*/ 315 w 553"/>
              <a:gd name="T7" fmla="*/ 293 h 722"/>
              <a:gd name="T8" fmla="*/ 444 w 553"/>
              <a:gd name="T9" fmla="*/ 289 h 722"/>
              <a:gd name="T10" fmla="*/ 455 w 553"/>
              <a:gd name="T11" fmla="*/ 297 h 722"/>
              <a:gd name="T12" fmla="*/ 452 w 553"/>
              <a:gd name="T13" fmla="*/ 310 h 722"/>
              <a:gd name="T14" fmla="*/ 444 w 553"/>
              <a:gd name="T15" fmla="*/ 433 h 722"/>
              <a:gd name="T16" fmla="*/ 315 w 553"/>
              <a:gd name="T17" fmla="*/ 430 h 722"/>
              <a:gd name="T18" fmla="*/ 312 w 553"/>
              <a:gd name="T19" fmla="*/ 417 h 722"/>
              <a:gd name="T20" fmla="*/ 323 w 553"/>
              <a:gd name="T21" fmla="*/ 409 h 722"/>
              <a:gd name="T22" fmla="*/ 452 w 553"/>
              <a:gd name="T23" fmla="*/ 413 h 722"/>
              <a:gd name="T24" fmla="*/ 455 w 553"/>
              <a:gd name="T25" fmla="*/ 426 h 722"/>
              <a:gd name="T26" fmla="*/ 444 w 553"/>
              <a:gd name="T27" fmla="*/ 433 h 722"/>
              <a:gd name="T28" fmla="*/ 318 w 553"/>
              <a:gd name="T29" fmla="*/ 577 h 722"/>
              <a:gd name="T30" fmla="*/ 311 w 553"/>
              <a:gd name="T31" fmla="*/ 566 h 722"/>
              <a:gd name="T32" fmla="*/ 318 w 553"/>
              <a:gd name="T33" fmla="*/ 555 h 722"/>
              <a:gd name="T34" fmla="*/ 449 w 553"/>
              <a:gd name="T35" fmla="*/ 555 h 722"/>
              <a:gd name="T36" fmla="*/ 456 w 553"/>
              <a:gd name="T37" fmla="*/ 566 h 722"/>
              <a:gd name="T38" fmla="*/ 449 w 553"/>
              <a:gd name="T39" fmla="*/ 577 h 722"/>
              <a:gd name="T40" fmla="*/ 194 w 553"/>
              <a:gd name="T41" fmla="*/ 325 h 722"/>
              <a:gd name="T42" fmla="*/ 181 w 553"/>
              <a:gd name="T43" fmla="*/ 327 h 722"/>
              <a:gd name="T44" fmla="*/ 129 w 553"/>
              <a:gd name="T45" fmla="*/ 275 h 722"/>
              <a:gd name="T46" fmla="*/ 132 w 553"/>
              <a:gd name="T47" fmla="*/ 262 h 722"/>
              <a:gd name="T48" fmla="*/ 145 w 553"/>
              <a:gd name="T49" fmla="*/ 260 h 722"/>
              <a:gd name="T50" fmla="*/ 253 w 553"/>
              <a:gd name="T51" fmla="*/ 232 h 722"/>
              <a:gd name="T52" fmla="*/ 267 w 553"/>
              <a:gd name="T53" fmla="*/ 230 h 722"/>
              <a:gd name="T54" fmla="*/ 274 w 553"/>
              <a:gd name="T55" fmla="*/ 240 h 722"/>
              <a:gd name="T56" fmla="*/ 271 w 553"/>
              <a:gd name="T57" fmla="*/ 386 h 722"/>
              <a:gd name="T58" fmla="*/ 186 w 553"/>
              <a:gd name="T59" fmla="*/ 465 h 722"/>
              <a:gd name="T60" fmla="*/ 132 w 553"/>
              <a:gd name="T61" fmla="*/ 415 h 722"/>
              <a:gd name="T62" fmla="*/ 129 w 553"/>
              <a:gd name="T63" fmla="*/ 403 h 722"/>
              <a:gd name="T64" fmla="*/ 140 w 553"/>
              <a:gd name="T65" fmla="*/ 395 h 722"/>
              <a:gd name="T66" fmla="*/ 186 w 553"/>
              <a:gd name="T67" fmla="*/ 436 h 722"/>
              <a:gd name="T68" fmla="*/ 262 w 553"/>
              <a:gd name="T69" fmla="*/ 365 h 722"/>
              <a:gd name="T70" fmla="*/ 273 w 553"/>
              <a:gd name="T71" fmla="*/ 372 h 722"/>
              <a:gd name="T72" fmla="*/ 271 w 553"/>
              <a:gd name="T73" fmla="*/ 386 h 722"/>
              <a:gd name="T74" fmla="*/ 190 w 553"/>
              <a:gd name="T75" fmla="*/ 601 h 722"/>
              <a:gd name="T76" fmla="*/ 178 w 553"/>
              <a:gd name="T77" fmla="*/ 599 h 722"/>
              <a:gd name="T78" fmla="*/ 128 w 553"/>
              <a:gd name="T79" fmla="*/ 545 h 722"/>
              <a:gd name="T80" fmla="*/ 136 w 553"/>
              <a:gd name="T81" fmla="*/ 533 h 722"/>
              <a:gd name="T82" fmla="*/ 149 w 553"/>
              <a:gd name="T83" fmla="*/ 535 h 722"/>
              <a:gd name="T84" fmla="*/ 258 w 553"/>
              <a:gd name="T85" fmla="*/ 502 h 722"/>
              <a:gd name="T86" fmla="*/ 271 w 553"/>
              <a:gd name="T87" fmla="*/ 505 h 722"/>
              <a:gd name="T88" fmla="*/ 273 w 553"/>
              <a:gd name="T89" fmla="*/ 518 h 722"/>
              <a:gd name="T90" fmla="*/ 357 w 553"/>
              <a:gd name="T91" fmla="*/ 3 h 722"/>
              <a:gd name="T92" fmla="*/ 12 w 553"/>
              <a:gd name="T93" fmla="*/ 0 h 722"/>
              <a:gd name="T94" fmla="*/ 1 w 553"/>
              <a:gd name="T95" fmla="*/ 7 h 722"/>
              <a:gd name="T96" fmla="*/ 1 w 553"/>
              <a:gd name="T97" fmla="*/ 715 h 722"/>
              <a:gd name="T98" fmla="*/ 12 w 553"/>
              <a:gd name="T99" fmla="*/ 722 h 722"/>
              <a:gd name="T100" fmla="*/ 550 w 553"/>
              <a:gd name="T101" fmla="*/ 719 h 722"/>
              <a:gd name="T102" fmla="*/ 553 w 553"/>
              <a:gd name="T103" fmla="*/ 20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3" h="722">
                <a:moveTo>
                  <a:pt x="349" y="205"/>
                </a:moveTo>
                <a:lnTo>
                  <a:pt x="349" y="12"/>
                </a:lnTo>
                <a:lnTo>
                  <a:pt x="542" y="205"/>
                </a:lnTo>
                <a:lnTo>
                  <a:pt x="349" y="205"/>
                </a:lnTo>
                <a:close/>
                <a:moveTo>
                  <a:pt x="444" y="313"/>
                </a:moveTo>
                <a:lnTo>
                  <a:pt x="323" y="313"/>
                </a:lnTo>
                <a:lnTo>
                  <a:pt x="318" y="312"/>
                </a:lnTo>
                <a:lnTo>
                  <a:pt x="315" y="310"/>
                </a:lnTo>
                <a:lnTo>
                  <a:pt x="312" y="306"/>
                </a:lnTo>
                <a:lnTo>
                  <a:pt x="311" y="301"/>
                </a:lnTo>
                <a:lnTo>
                  <a:pt x="312" y="297"/>
                </a:lnTo>
                <a:lnTo>
                  <a:pt x="315" y="293"/>
                </a:lnTo>
                <a:lnTo>
                  <a:pt x="318" y="290"/>
                </a:lnTo>
                <a:lnTo>
                  <a:pt x="323" y="289"/>
                </a:lnTo>
                <a:lnTo>
                  <a:pt x="444" y="289"/>
                </a:lnTo>
                <a:lnTo>
                  <a:pt x="449" y="290"/>
                </a:lnTo>
                <a:lnTo>
                  <a:pt x="452" y="293"/>
                </a:lnTo>
                <a:lnTo>
                  <a:pt x="455" y="297"/>
                </a:lnTo>
                <a:lnTo>
                  <a:pt x="456" y="301"/>
                </a:lnTo>
                <a:lnTo>
                  <a:pt x="455" y="306"/>
                </a:lnTo>
                <a:lnTo>
                  <a:pt x="452" y="310"/>
                </a:lnTo>
                <a:lnTo>
                  <a:pt x="449" y="312"/>
                </a:lnTo>
                <a:lnTo>
                  <a:pt x="444" y="313"/>
                </a:lnTo>
                <a:close/>
                <a:moveTo>
                  <a:pt x="444" y="433"/>
                </a:moveTo>
                <a:lnTo>
                  <a:pt x="323" y="433"/>
                </a:lnTo>
                <a:lnTo>
                  <a:pt x="318" y="432"/>
                </a:lnTo>
                <a:lnTo>
                  <a:pt x="315" y="430"/>
                </a:lnTo>
                <a:lnTo>
                  <a:pt x="312" y="426"/>
                </a:lnTo>
                <a:lnTo>
                  <a:pt x="311" y="421"/>
                </a:lnTo>
                <a:lnTo>
                  <a:pt x="312" y="417"/>
                </a:lnTo>
                <a:lnTo>
                  <a:pt x="315" y="413"/>
                </a:lnTo>
                <a:lnTo>
                  <a:pt x="318" y="410"/>
                </a:lnTo>
                <a:lnTo>
                  <a:pt x="323" y="409"/>
                </a:lnTo>
                <a:lnTo>
                  <a:pt x="444" y="409"/>
                </a:lnTo>
                <a:lnTo>
                  <a:pt x="449" y="410"/>
                </a:lnTo>
                <a:lnTo>
                  <a:pt x="452" y="413"/>
                </a:lnTo>
                <a:lnTo>
                  <a:pt x="455" y="417"/>
                </a:lnTo>
                <a:lnTo>
                  <a:pt x="456" y="421"/>
                </a:lnTo>
                <a:lnTo>
                  <a:pt x="455" y="426"/>
                </a:lnTo>
                <a:lnTo>
                  <a:pt x="452" y="430"/>
                </a:lnTo>
                <a:lnTo>
                  <a:pt x="449" y="432"/>
                </a:lnTo>
                <a:lnTo>
                  <a:pt x="444" y="433"/>
                </a:lnTo>
                <a:close/>
                <a:moveTo>
                  <a:pt x="444" y="578"/>
                </a:moveTo>
                <a:lnTo>
                  <a:pt x="323" y="578"/>
                </a:lnTo>
                <a:lnTo>
                  <a:pt x="318" y="577"/>
                </a:lnTo>
                <a:lnTo>
                  <a:pt x="315" y="574"/>
                </a:lnTo>
                <a:lnTo>
                  <a:pt x="312" y="571"/>
                </a:lnTo>
                <a:lnTo>
                  <a:pt x="311" y="566"/>
                </a:lnTo>
                <a:lnTo>
                  <a:pt x="312" y="561"/>
                </a:lnTo>
                <a:lnTo>
                  <a:pt x="315" y="558"/>
                </a:lnTo>
                <a:lnTo>
                  <a:pt x="318" y="555"/>
                </a:lnTo>
                <a:lnTo>
                  <a:pt x="323" y="554"/>
                </a:lnTo>
                <a:lnTo>
                  <a:pt x="444" y="554"/>
                </a:lnTo>
                <a:lnTo>
                  <a:pt x="449" y="555"/>
                </a:lnTo>
                <a:lnTo>
                  <a:pt x="452" y="558"/>
                </a:lnTo>
                <a:lnTo>
                  <a:pt x="455" y="561"/>
                </a:lnTo>
                <a:lnTo>
                  <a:pt x="456" y="566"/>
                </a:lnTo>
                <a:lnTo>
                  <a:pt x="455" y="571"/>
                </a:lnTo>
                <a:lnTo>
                  <a:pt x="452" y="574"/>
                </a:lnTo>
                <a:lnTo>
                  <a:pt x="449" y="577"/>
                </a:lnTo>
                <a:lnTo>
                  <a:pt x="444" y="578"/>
                </a:lnTo>
                <a:close/>
                <a:moveTo>
                  <a:pt x="271" y="249"/>
                </a:moveTo>
                <a:lnTo>
                  <a:pt x="194" y="325"/>
                </a:lnTo>
                <a:lnTo>
                  <a:pt x="190" y="327"/>
                </a:lnTo>
                <a:lnTo>
                  <a:pt x="186" y="328"/>
                </a:lnTo>
                <a:lnTo>
                  <a:pt x="181" y="327"/>
                </a:lnTo>
                <a:lnTo>
                  <a:pt x="178" y="325"/>
                </a:lnTo>
                <a:lnTo>
                  <a:pt x="132" y="280"/>
                </a:lnTo>
                <a:lnTo>
                  <a:pt x="129" y="275"/>
                </a:lnTo>
                <a:lnTo>
                  <a:pt x="128" y="270"/>
                </a:lnTo>
                <a:lnTo>
                  <a:pt x="129" y="266"/>
                </a:lnTo>
                <a:lnTo>
                  <a:pt x="132" y="262"/>
                </a:lnTo>
                <a:lnTo>
                  <a:pt x="136" y="260"/>
                </a:lnTo>
                <a:lnTo>
                  <a:pt x="140" y="259"/>
                </a:lnTo>
                <a:lnTo>
                  <a:pt x="145" y="260"/>
                </a:lnTo>
                <a:lnTo>
                  <a:pt x="149" y="262"/>
                </a:lnTo>
                <a:lnTo>
                  <a:pt x="186" y="299"/>
                </a:lnTo>
                <a:lnTo>
                  <a:pt x="253" y="232"/>
                </a:lnTo>
                <a:lnTo>
                  <a:pt x="258" y="230"/>
                </a:lnTo>
                <a:lnTo>
                  <a:pt x="262" y="229"/>
                </a:lnTo>
                <a:lnTo>
                  <a:pt x="267" y="230"/>
                </a:lnTo>
                <a:lnTo>
                  <a:pt x="271" y="232"/>
                </a:lnTo>
                <a:lnTo>
                  <a:pt x="273" y="236"/>
                </a:lnTo>
                <a:lnTo>
                  <a:pt x="274" y="240"/>
                </a:lnTo>
                <a:lnTo>
                  <a:pt x="273" y="245"/>
                </a:lnTo>
                <a:lnTo>
                  <a:pt x="271" y="249"/>
                </a:lnTo>
                <a:close/>
                <a:moveTo>
                  <a:pt x="271" y="386"/>
                </a:moveTo>
                <a:lnTo>
                  <a:pt x="194" y="461"/>
                </a:lnTo>
                <a:lnTo>
                  <a:pt x="190" y="464"/>
                </a:lnTo>
                <a:lnTo>
                  <a:pt x="186" y="465"/>
                </a:lnTo>
                <a:lnTo>
                  <a:pt x="181" y="464"/>
                </a:lnTo>
                <a:lnTo>
                  <a:pt x="178" y="461"/>
                </a:lnTo>
                <a:lnTo>
                  <a:pt x="132" y="415"/>
                </a:lnTo>
                <a:lnTo>
                  <a:pt x="129" y="411"/>
                </a:lnTo>
                <a:lnTo>
                  <a:pt x="128" y="407"/>
                </a:lnTo>
                <a:lnTo>
                  <a:pt x="129" y="403"/>
                </a:lnTo>
                <a:lnTo>
                  <a:pt x="132" y="399"/>
                </a:lnTo>
                <a:lnTo>
                  <a:pt x="136" y="396"/>
                </a:lnTo>
                <a:lnTo>
                  <a:pt x="140" y="395"/>
                </a:lnTo>
                <a:lnTo>
                  <a:pt x="145" y="396"/>
                </a:lnTo>
                <a:lnTo>
                  <a:pt x="149" y="399"/>
                </a:lnTo>
                <a:lnTo>
                  <a:pt x="186" y="436"/>
                </a:lnTo>
                <a:lnTo>
                  <a:pt x="253" y="368"/>
                </a:lnTo>
                <a:lnTo>
                  <a:pt x="258" y="365"/>
                </a:lnTo>
                <a:lnTo>
                  <a:pt x="262" y="365"/>
                </a:lnTo>
                <a:lnTo>
                  <a:pt x="267" y="365"/>
                </a:lnTo>
                <a:lnTo>
                  <a:pt x="271" y="368"/>
                </a:lnTo>
                <a:lnTo>
                  <a:pt x="273" y="372"/>
                </a:lnTo>
                <a:lnTo>
                  <a:pt x="274" y="376"/>
                </a:lnTo>
                <a:lnTo>
                  <a:pt x="273" y="381"/>
                </a:lnTo>
                <a:lnTo>
                  <a:pt x="271" y="386"/>
                </a:lnTo>
                <a:close/>
                <a:moveTo>
                  <a:pt x="271" y="522"/>
                </a:moveTo>
                <a:lnTo>
                  <a:pt x="194" y="599"/>
                </a:lnTo>
                <a:lnTo>
                  <a:pt x="190" y="601"/>
                </a:lnTo>
                <a:lnTo>
                  <a:pt x="186" y="602"/>
                </a:lnTo>
                <a:lnTo>
                  <a:pt x="181" y="601"/>
                </a:lnTo>
                <a:lnTo>
                  <a:pt x="178" y="599"/>
                </a:lnTo>
                <a:lnTo>
                  <a:pt x="132" y="553"/>
                </a:lnTo>
                <a:lnTo>
                  <a:pt x="129" y="549"/>
                </a:lnTo>
                <a:lnTo>
                  <a:pt x="128" y="545"/>
                </a:lnTo>
                <a:lnTo>
                  <a:pt x="129" y="540"/>
                </a:lnTo>
                <a:lnTo>
                  <a:pt x="132" y="535"/>
                </a:lnTo>
                <a:lnTo>
                  <a:pt x="136" y="533"/>
                </a:lnTo>
                <a:lnTo>
                  <a:pt x="140" y="532"/>
                </a:lnTo>
                <a:lnTo>
                  <a:pt x="145" y="533"/>
                </a:lnTo>
                <a:lnTo>
                  <a:pt x="149" y="535"/>
                </a:lnTo>
                <a:lnTo>
                  <a:pt x="186" y="572"/>
                </a:lnTo>
                <a:lnTo>
                  <a:pt x="253" y="505"/>
                </a:lnTo>
                <a:lnTo>
                  <a:pt x="258" y="502"/>
                </a:lnTo>
                <a:lnTo>
                  <a:pt x="262" y="501"/>
                </a:lnTo>
                <a:lnTo>
                  <a:pt x="267" y="502"/>
                </a:lnTo>
                <a:lnTo>
                  <a:pt x="271" y="505"/>
                </a:lnTo>
                <a:lnTo>
                  <a:pt x="273" y="509"/>
                </a:lnTo>
                <a:lnTo>
                  <a:pt x="274" y="513"/>
                </a:lnTo>
                <a:lnTo>
                  <a:pt x="273" y="518"/>
                </a:lnTo>
                <a:lnTo>
                  <a:pt x="271" y="522"/>
                </a:lnTo>
                <a:close/>
                <a:moveTo>
                  <a:pt x="550" y="196"/>
                </a:moveTo>
                <a:lnTo>
                  <a:pt x="357" y="3"/>
                </a:lnTo>
                <a:lnTo>
                  <a:pt x="353" y="1"/>
                </a:lnTo>
                <a:lnTo>
                  <a:pt x="349" y="0"/>
                </a:lnTo>
                <a:lnTo>
                  <a:pt x="12" y="0"/>
                </a:lnTo>
                <a:lnTo>
                  <a:pt x="7" y="1"/>
                </a:lnTo>
                <a:lnTo>
                  <a:pt x="4" y="3"/>
                </a:lnTo>
                <a:lnTo>
                  <a:pt x="1" y="7"/>
                </a:lnTo>
                <a:lnTo>
                  <a:pt x="0" y="12"/>
                </a:lnTo>
                <a:lnTo>
                  <a:pt x="0" y="711"/>
                </a:lnTo>
                <a:lnTo>
                  <a:pt x="1" y="715"/>
                </a:lnTo>
                <a:lnTo>
                  <a:pt x="4" y="719"/>
                </a:lnTo>
                <a:lnTo>
                  <a:pt x="7" y="721"/>
                </a:lnTo>
                <a:lnTo>
                  <a:pt x="12" y="722"/>
                </a:lnTo>
                <a:lnTo>
                  <a:pt x="542" y="722"/>
                </a:lnTo>
                <a:lnTo>
                  <a:pt x="546" y="721"/>
                </a:lnTo>
                <a:lnTo>
                  <a:pt x="550" y="719"/>
                </a:lnTo>
                <a:lnTo>
                  <a:pt x="552" y="715"/>
                </a:lnTo>
                <a:lnTo>
                  <a:pt x="553" y="711"/>
                </a:lnTo>
                <a:lnTo>
                  <a:pt x="553" y="205"/>
                </a:lnTo>
                <a:lnTo>
                  <a:pt x="552" y="200"/>
                </a:lnTo>
                <a:lnTo>
                  <a:pt x="550"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998635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5</a:t>
            </a:fld>
            <a:endParaRPr lang="en-US"/>
          </a:p>
        </p:txBody>
      </p:sp>
      <p:grpSp>
        <p:nvGrpSpPr>
          <p:cNvPr id="4" name="Group 3">
            <a:extLst>
              <a:ext uri="{FF2B5EF4-FFF2-40B4-BE49-F238E27FC236}">
                <a16:creationId xmlns:a16="http://schemas.microsoft.com/office/drawing/2014/main" id="{E7F8EF2D-6410-4684-8FD6-334F293D5A02}"/>
              </a:ext>
            </a:extLst>
          </p:cNvPr>
          <p:cNvGrpSpPr/>
          <p:nvPr/>
        </p:nvGrpSpPr>
        <p:grpSpPr>
          <a:xfrm>
            <a:off x="1804194" y="1411287"/>
            <a:ext cx="8583613" cy="4808538"/>
            <a:chOff x="1804194" y="1024731"/>
            <a:chExt cx="8583613" cy="4808538"/>
          </a:xfrm>
          <a:pattFill prst="dkUpDiag">
            <a:fgClr>
              <a:srgbClr val="BBE0E3"/>
            </a:fgClr>
            <a:bgClr>
              <a:schemeClr val="bg1"/>
            </a:bgClr>
          </a:pattFill>
        </p:grpSpPr>
        <p:sp>
          <p:nvSpPr>
            <p:cNvPr id="114" name="Freeform 6">
              <a:extLst>
                <a:ext uri="{FF2B5EF4-FFF2-40B4-BE49-F238E27FC236}">
                  <a16:creationId xmlns:a16="http://schemas.microsoft.com/office/drawing/2014/main" id="{725169B7-9AE7-417B-87FD-C8D3B86D9696}"/>
                </a:ext>
              </a:extLst>
            </p:cNvPr>
            <p:cNvSpPr>
              <a:spLocks/>
            </p:cNvSpPr>
            <p:nvPr/>
          </p:nvSpPr>
          <p:spPr bwMode="auto">
            <a:xfrm>
              <a:off x="8689182" y="3934618"/>
              <a:ext cx="257175" cy="255588"/>
            </a:xfrm>
            <a:custGeom>
              <a:avLst/>
              <a:gdLst>
                <a:gd name="T0" fmla="*/ 350 w 485"/>
                <a:gd name="T1" fmla="*/ 7 h 484"/>
                <a:gd name="T2" fmla="*/ 310 w 485"/>
                <a:gd name="T3" fmla="*/ 155 h 484"/>
                <a:gd name="T4" fmla="*/ 95 w 485"/>
                <a:gd name="T5" fmla="*/ 228 h 484"/>
                <a:gd name="T6" fmla="*/ 31 w 485"/>
                <a:gd name="T7" fmla="*/ 153 h 484"/>
                <a:gd name="T8" fmla="*/ 0 w 485"/>
                <a:gd name="T9" fmla="*/ 161 h 484"/>
                <a:gd name="T10" fmla="*/ 58 w 485"/>
                <a:gd name="T11" fmla="*/ 385 h 484"/>
                <a:gd name="T12" fmla="*/ 146 w 485"/>
                <a:gd name="T13" fmla="*/ 396 h 484"/>
                <a:gd name="T14" fmla="*/ 261 w 485"/>
                <a:gd name="T15" fmla="*/ 439 h 484"/>
                <a:gd name="T16" fmla="*/ 261 w 485"/>
                <a:gd name="T17" fmla="*/ 484 h 484"/>
                <a:gd name="T18" fmla="*/ 315 w 485"/>
                <a:gd name="T19" fmla="*/ 474 h 484"/>
                <a:gd name="T20" fmla="*/ 392 w 485"/>
                <a:gd name="T21" fmla="*/ 366 h 484"/>
                <a:gd name="T22" fmla="*/ 392 w 485"/>
                <a:gd name="T23" fmla="*/ 279 h 484"/>
                <a:gd name="T24" fmla="*/ 436 w 485"/>
                <a:gd name="T25" fmla="*/ 190 h 484"/>
                <a:gd name="T26" fmla="*/ 485 w 485"/>
                <a:gd name="T27" fmla="*/ 201 h 484"/>
                <a:gd name="T28" fmla="*/ 426 w 485"/>
                <a:gd name="T29" fmla="*/ 79 h 484"/>
                <a:gd name="T30" fmla="*/ 418 w 485"/>
                <a:gd name="T31" fmla="*/ 0 h 484"/>
                <a:gd name="T32" fmla="*/ 350 w 485"/>
                <a:gd name="T33" fmla="*/ 7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484">
                  <a:moveTo>
                    <a:pt x="350" y="7"/>
                  </a:moveTo>
                  <a:lnTo>
                    <a:pt x="310" y="155"/>
                  </a:lnTo>
                  <a:lnTo>
                    <a:pt x="95" y="228"/>
                  </a:lnTo>
                  <a:lnTo>
                    <a:pt x="31" y="153"/>
                  </a:lnTo>
                  <a:lnTo>
                    <a:pt x="0" y="161"/>
                  </a:lnTo>
                  <a:lnTo>
                    <a:pt x="58" y="385"/>
                  </a:lnTo>
                  <a:lnTo>
                    <a:pt x="146" y="396"/>
                  </a:lnTo>
                  <a:lnTo>
                    <a:pt x="261" y="439"/>
                  </a:lnTo>
                  <a:lnTo>
                    <a:pt x="261" y="484"/>
                  </a:lnTo>
                  <a:lnTo>
                    <a:pt x="315" y="474"/>
                  </a:lnTo>
                  <a:lnTo>
                    <a:pt x="392" y="366"/>
                  </a:lnTo>
                  <a:lnTo>
                    <a:pt x="392" y="279"/>
                  </a:lnTo>
                  <a:lnTo>
                    <a:pt x="436" y="190"/>
                  </a:lnTo>
                  <a:lnTo>
                    <a:pt x="485" y="201"/>
                  </a:lnTo>
                  <a:lnTo>
                    <a:pt x="426" y="79"/>
                  </a:lnTo>
                  <a:lnTo>
                    <a:pt x="418" y="0"/>
                  </a:lnTo>
                  <a:lnTo>
                    <a:pt x="350" y="7"/>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7">
              <a:extLst>
                <a:ext uri="{FF2B5EF4-FFF2-40B4-BE49-F238E27FC236}">
                  <a16:creationId xmlns:a16="http://schemas.microsoft.com/office/drawing/2014/main" id="{4A154788-338C-44E6-8917-5BBB22FF0B88}"/>
                </a:ext>
              </a:extLst>
            </p:cNvPr>
            <p:cNvSpPr>
              <a:spLocks/>
            </p:cNvSpPr>
            <p:nvPr/>
          </p:nvSpPr>
          <p:spPr bwMode="auto">
            <a:xfrm>
              <a:off x="9514682" y="4155281"/>
              <a:ext cx="230188" cy="292100"/>
            </a:xfrm>
            <a:custGeom>
              <a:avLst/>
              <a:gdLst>
                <a:gd name="T0" fmla="*/ 6 w 434"/>
                <a:gd name="T1" fmla="*/ 0 h 554"/>
                <a:gd name="T2" fmla="*/ 0 w 434"/>
                <a:gd name="T3" fmla="*/ 418 h 554"/>
                <a:gd name="T4" fmla="*/ 59 w 434"/>
                <a:gd name="T5" fmla="*/ 415 h 554"/>
                <a:gd name="T6" fmla="*/ 139 w 434"/>
                <a:gd name="T7" fmla="*/ 323 h 554"/>
                <a:gd name="T8" fmla="*/ 206 w 434"/>
                <a:gd name="T9" fmla="*/ 326 h 554"/>
                <a:gd name="T10" fmla="*/ 248 w 434"/>
                <a:gd name="T11" fmla="*/ 364 h 554"/>
                <a:gd name="T12" fmla="*/ 262 w 434"/>
                <a:gd name="T13" fmla="*/ 482 h 554"/>
                <a:gd name="T14" fmla="*/ 398 w 434"/>
                <a:gd name="T15" fmla="*/ 554 h 554"/>
                <a:gd name="T16" fmla="*/ 434 w 434"/>
                <a:gd name="T17" fmla="*/ 542 h 554"/>
                <a:gd name="T18" fmla="*/ 434 w 434"/>
                <a:gd name="T19" fmla="*/ 498 h 554"/>
                <a:gd name="T20" fmla="*/ 324 w 434"/>
                <a:gd name="T21" fmla="*/ 407 h 554"/>
                <a:gd name="T22" fmla="*/ 271 w 434"/>
                <a:gd name="T23" fmla="*/ 283 h 554"/>
                <a:gd name="T24" fmla="*/ 313 w 434"/>
                <a:gd name="T25" fmla="*/ 262 h 554"/>
                <a:gd name="T26" fmla="*/ 282 w 434"/>
                <a:gd name="T27" fmla="*/ 193 h 554"/>
                <a:gd name="T28" fmla="*/ 218 w 434"/>
                <a:gd name="T29" fmla="*/ 192 h 554"/>
                <a:gd name="T30" fmla="*/ 203 w 434"/>
                <a:gd name="T31" fmla="*/ 119 h 554"/>
                <a:gd name="T32" fmla="*/ 34 w 434"/>
                <a:gd name="T33" fmla="*/ 5 h 554"/>
                <a:gd name="T34" fmla="*/ 6 w 434"/>
                <a:gd name="T35" fmla="*/ 0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4" h="554">
                  <a:moveTo>
                    <a:pt x="6" y="0"/>
                  </a:moveTo>
                  <a:lnTo>
                    <a:pt x="0" y="418"/>
                  </a:lnTo>
                  <a:lnTo>
                    <a:pt x="59" y="415"/>
                  </a:lnTo>
                  <a:lnTo>
                    <a:pt x="139" y="323"/>
                  </a:lnTo>
                  <a:lnTo>
                    <a:pt x="206" y="326"/>
                  </a:lnTo>
                  <a:lnTo>
                    <a:pt x="248" y="364"/>
                  </a:lnTo>
                  <a:lnTo>
                    <a:pt x="262" y="482"/>
                  </a:lnTo>
                  <a:lnTo>
                    <a:pt x="398" y="554"/>
                  </a:lnTo>
                  <a:lnTo>
                    <a:pt x="434" y="542"/>
                  </a:lnTo>
                  <a:lnTo>
                    <a:pt x="434" y="498"/>
                  </a:lnTo>
                  <a:lnTo>
                    <a:pt x="324" y="407"/>
                  </a:lnTo>
                  <a:lnTo>
                    <a:pt x="271" y="283"/>
                  </a:lnTo>
                  <a:lnTo>
                    <a:pt x="313" y="262"/>
                  </a:lnTo>
                  <a:lnTo>
                    <a:pt x="282" y="193"/>
                  </a:lnTo>
                  <a:lnTo>
                    <a:pt x="218" y="192"/>
                  </a:lnTo>
                  <a:lnTo>
                    <a:pt x="203" y="119"/>
                  </a:lnTo>
                  <a:lnTo>
                    <a:pt x="34" y="5"/>
                  </a:lnTo>
                  <a:lnTo>
                    <a:pt x="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8">
              <a:extLst>
                <a:ext uri="{FF2B5EF4-FFF2-40B4-BE49-F238E27FC236}">
                  <a16:creationId xmlns:a16="http://schemas.microsoft.com/office/drawing/2014/main" id="{B1501E69-3B35-4B4C-9081-72FCBECB1918}"/>
                </a:ext>
              </a:extLst>
            </p:cNvPr>
            <p:cNvSpPr>
              <a:spLocks/>
            </p:cNvSpPr>
            <p:nvPr/>
          </p:nvSpPr>
          <p:spPr bwMode="auto">
            <a:xfrm>
              <a:off x="3036094" y="3037681"/>
              <a:ext cx="690563" cy="598488"/>
            </a:xfrm>
            <a:custGeom>
              <a:avLst/>
              <a:gdLst>
                <a:gd name="T0" fmla="*/ 0 w 1304"/>
                <a:gd name="T1" fmla="*/ 6 h 1130"/>
                <a:gd name="T2" fmla="*/ 84 w 1304"/>
                <a:gd name="T3" fmla="*/ 267 h 1130"/>
                <a:gd name="T4" fmla="*/ 45 w 1304"/>
                <a:gd name="T5" fmla="*/ 289 h 1130"/>
                <a:gd name="T6" fmla="*/ 49 w 1304"/>
                <a:gd name="T7" fmla="*/ 340 h 1130"/>
                <a:gd name="T8" fmla="*/ 122 w 1304"/>
                <a:gd name="T9" fmla="*/ 396 h 1130"/>
                <a:gd name="T10" fmla="*/ 122 w 1304"/>
                <a:gd name="T11" fmla="*/ 500 h 1130"/>
                <a:gd name="T12" fmla="*/ 211 w 1304"/>
                <a:gd name="T13" fmla="*/ 586 h 1130"/>
                <a:gd name="T14" fmla="*/ 173 w 1304"/>
                <a:gd name="T15" fmla="*/ 332 h 1130"/>
                <a:gd name="T16" fmla="*/ 122 w 1304"/>
                <a:gd name="T17" fmla="*/ 164 h 1130"/>
                <a:gd name="T18" fmla="*/ 134 w 1304"/>
                <a:gd name="T19" fmla="*/ 47 h 1130"/>
                <a:gd name="T20" fmla="*/ 177 w 1304"/>
                <a:gd name="T21" fmla="*/ 51 h 1130"/>
                <a:gd name="T22" fmla="*/ 194 w 1304"/>
                <a:gd name="T23" fmla="*/ 90 h 1130"/>
                <a:gd name="T24" fmla="*/ 177 w 1304"/>
                <a:gd name="T25" fmla="*/ 189 h 1130"/>
                <a:gd name="T26" fmla="*/ 400 w 1304"/>
                <a:gd name="T27" fmla="*/ 625 h 1130"/>
                <a:gd name="T28" fmla="*/ 400 w 1304"/>
                <a:gd name="T29" fmla="*/ 780 h 1130"/>
                <a:gd name="T30" fmla="*/ 580 w 1304"/>
                <a:gd name="T31" fmla="*/ 992 h 1130"/>
                <a:gd name="T32" fmla="*/ 777 w 1304"/>
                <a:gd name="T33" fmla="*/ 1083 h 1130"/>
                <a:gd name="T34" fmla="*/ 858 w 1304"/>
                <a:gd name="T35" fmla="*/ 1035 h 1130"/>
                <a:gd name="T36" fmla="*/ 974 w 1304"/>
                <a:gd name="T37" fmla="*/ 1130 h 1130"/>
                <a:gd name="T38" fmla="*/ 1043 w 1304"/>
                <a:gd name="T39" fmla="*/ 1061 h 1130"/>
                <a:gd name="T40" fmla="*/ 1012 w 1304"/>
                <a:gd name="T41" fmla="*/ 983 h 1130"/>
                <a:gd name="T42" fmla="*/ 1111 w 1304"/>
                <a:gd name="T43" fmla="*/ 953 h 1130"/>
                <a:gd name="T44" fmla="*/ 1141 w 1304"/>
                <a:gd name="T45" fmla="*/ 970 h 1130"/>
                <a:gd name="T46" fmla="*/ 1171 w 1304"/>
                <a:gd name="T47" fmla="*/ 940 h 1130"/>
                <a:gd name="T48" fmla="*/ 1218 w 1304"/>
                <a:gd name="T49" fmla="*/ 940 h 1130"/>
                <a:gd name="T50" fmla="*/ 1304 w 1304"/>
                <a:gd name="T51" fmla="*/ 789 h 1130"/>
                <a:gd name="T52" fmla="*/ 1261 w 1304"/>
                <a:gd name="T53" fmla="*/ 751 h 1130"/>
                <a:gd name="T54" fmla="*/ 1093 w 1304"/>
                <a:gd name="T55" fmla="*/ 789 h 1130"/>
                <a:gd name="T56" fmla="*/ 1055 w 1304"/>
                <a:gd name="T57" fmla="*/ 901 h 1130"/>
                <a:gd name="T58" fmla="*/ 956 w 1304"/>
                <a:gd name="T59" fmla="*/ 918 h 1130"/>
                <a:gd name="T60" fmla="*/ 841 w 1304"/>
                <a:gd name="T61" fmla="*/ 871 h 1130"/>
                <a:gd name="T62" fmla="*/ 790 w 1304"/>
                <a:gd name="T63" fmla="*/ 707 h 1130"/>
                <a:gd name="T64" fmla="*/ 829 w 1304"/>
                <a:gd name="T65" fmla="*/ 501 h 1130"/>
                <a:gd name="T66" fmla="*/ 749 w 1304"/>
                <a:gd name="T67" fmla="*/ 451 h 1130"/>
                <a:gd name="T68" fmla="*/ 711 w 1304"/>
                <a:gd name="T69" fmla="*/ 252 h 1130"/>
                <a:gd name="T70" fmla="*/ 679 w 1304"/>
                <a:gd name="T71" fmla="*/ 239 h 1130"/>
                <a:gd name="T72" fmla="*/ 621 w 1304"/>
                <a:gd name="T73" fmla="*/ 298 h 1130"/>
                <a:gd name="T74" fmla="*/ 556 w 1304"/>
                <a:gd name="T75" fmla="*/ 262 h 1130"/>
                <a:gd name="T76" fmla="*/ 529 w 1304"/>
                <a:gd name="T77" fmla="*/ 129 h 1130"/>
                <a:gd name="T78" fmla="*/ 266 w 1304"/>
                <a:gd name="T79" fmla="*/ 102 h 1130"/>
                <a:gd name="T80" fmla="*/ 130 w 1304"/>
                <a:gd name="T81" fmla="*/ 0 h 1130"/>
                <a:gd name="T82" fmla="*/ 0 w 1304"/>
                <a:gd name="T83" fmla="*/ 6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4" h="1130">
                  <a:moveTo>
                    <a:pt x="0" y="6"/>
                  </a:moveTo>
                  <a:lnTo>
                    <a:pt x="84" y="267"/>
                  </a:lnTo>
                  <a:lnTo>
                    <a:pt x="45" y="289"/>
                  </a:lnTo>
                  <a:lnTo>
                    <a:pt x="49" y="340"/>
                  </a:lnTo>
                  <a:lnTo>
                    <a:pt x="122" y="396"/>
                  </a:lnTo>
                  <a:lnTo>
                    <a:pt x="122" y="500"/>
                  </a:lnTo>
                  <a:lnTo>
                    <a:pt x="211" y="586"/>
                  </a:lnTo>
                  <a:lnTo>
                    <a:pt x="173" y="332"/>
                  </a:lnTo>
                  <a:lnTo>
                    <a:pt x="122" y="164"/>
                  </a:lnTo>
                  <a:lnTo>
                    <a:pt x="134" y="47"/>
                  </a:lnTo>
                  <a:lnTo>
                    <a:pt x="177" y="51"/>
                  </a:lnTo>
                  <a:lnTo>
                    <a:pt x="194" y="90"/>
                  </a:lnTo>
                  <a:lnTo>
                    <a:pt x="177" y="189"/>
                  </a:lnTo>
                  <a:lnTo>
                    <a:pt x="400" y="625"/>
                  </a:lnTo>
                  <a:lnTo>
                    <a:pt x="400" y="780"/>
                  </a:lnTo>
                  <a:lnTo>
                    <a:pt x="580" y="992"/>
                  </a:lnTo>
                  <a:lnTo>
                    <a:pt x="777" y="1083"/>
                  </a:lnTo>
                  <a:lnTo>
                    <a:pt x="858" y="1035"/>
                  </a:lnTo>
                  <a:lnTo>
                    <a:pt x="974" y="1130"/>
                  </a:lnTo>
                  <a:lnTo>
                    <a:pt x="1043" y="1061"/>
                  </a:lnTo>
                  <a:lnTo>
                    <a:pt x="1012" y="983"/>
                  </a:lnTo>
                  <a:lnTo>
                    <a:pt x="1111" y="953"/>
                  </a:lnTo>
                  <a:lnTo>
                    <a:pt x="1141" y="970"/>
                  </a:lnTo>
                  <a:lnTo>
                    <a:pt x="1171" y="940"/>
                  </a:lnTo>
                  <a:lnTo>
                    <a:pt x="1218" y="940"/>
                  </a:lnTo>
                  <a:lnTo>
                    <a:pt x="1304" y="789"/>
                  </a:lnTo>
                  <a:lnTo>
                    <a:pt x="1261" y="751"/>
                  </a:lnTo>
                  <a:lnTo>
                    <a:pt x="1093" y="789"/>
                  </a:lnTo>
                  <a:lnTo>
                    <a:pt x="1055" y="901"/>
                  </a:lnTo>
                  <a:lnTo>
                    <a:pt x="956" y="918"/>
                  </a:lnTo>
                  <a:lnTo>
                    <a:pt x="841" y="871"/>
                  </a:lnTo>
                  <a:lnTo>
                    <a:pt x="790" y="707"/>
                  </a:lnTo>
                  <a:lnTo>
                    <a:pt x="829" y="501"/>
                  </a:lnTo>
                  <a:lnTo>
                    <a:pt x="749" y="451"/>
                  </a:lnTo>
                  <a:lnTo>
                    <a:pt x="711" y="252"/>
                  </a:lnTo>
                  <a:lnTo>
                    <a:pt x="679" y="239"/>
                  </a:lnTo>
                  <a:lnTo>
                    <a:pt x="621" y="298"/>
                  </a:lnTo>
                  <a:lnTo>
                    <a:pt x="556" y="262"/>
                  </a:lnTo>
                  <a:lnTo>
                    <a:pt x="529" y="129"/>
                  </a:lnTo>
                  <a:lnTo>
                    <a:pt x="266" y="102"/>
                  </a:lnTo>
                  <a:lnTo>
                    <a:pt x="130" y="0"/>
                  </a:lnTo>
                  <a:lnTo>
                    <a:pt x="0" y="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9">
              <a:extLst>
                <a:ext uri="{FF2B5EF4-FFF2-40B4-BE49-F238E27FC236}">
                  <a16:creationId xmlns:a16="http://schemas.microsoft.com/office/drawing/2014/main" id="{94BD13FF-8916-4B6A-ACE3-1BCDE3B1B60E}"/>
                </a:ext>
              </a:extLst>
            </p:cNvPr>
            <p:cNvSpPr>
              <a:spLocks/>
            </p:cNvSpPr>
            <p:nvPr/>
          </p:nvSpPr>
          <p:spPr bwMode="auto">
            <a:xfrm>
              <a:off x="6398419" y="2297906"/>
              <a:ext cx="85725" cy="65088"/>
            </a:xfrm>
            <a:custGeom>
              <a:avLst/>
              <a:gdLst>
                <a:gd name="T0" fmla="*/ 158 w 162"/>
                <a:gd name="T1" fmla="*/ 4 h 122"/>
                <a:gd name="T2" fmla="*/ 62 w 162"/>
                <a:gd name="T3" fmla="*/ 0 h 122"/>
                <a:gd name="T4" fmla="*/ 1 w 162"/>
                <a:gd name="T5" fmla="*/ 37 h 122"/>
                <a:gd name="T6" fmla="*/ 0 w 162"/>
                <a:gd name="T7" fmla="*/ 65 h 122"/>
                <a:gd name="T8" fmla="*/ 39 w 162"/>
                <a:gd name="T9" fmla="*/ 102 h 122"/>
                <a:gd name="T10" fmla="*/ 162 w 162"/>
                <a:gd name="T11" fmla="*/ 122 h 122"/>
                <a:gd name="T12" fmla="*/ 158 w 162"/>
                <a:gd name="T13" fmla="*/ 4 h 122"/>
              </a:gdLst>
              <a:ahLst/>
              <a:cxnLst>
                <a:cxn ang="0">
                  <a:pos x="T0" y="T1"/>
                </a:cxn>
                <a:cxn ang="0">
                  <a:pos x="T2" y="T3"/>
                </a:cxn>
                <a:cxn ang="0">
                  <a:pos x="T4" y="T5"/>
                </a:cxn>
                <a:cxn ang="0">
                  <a:pos x="T6" y="T7"/>
                </a:cxn>
                <a:cxn ang="0">
                  <a:pos x="T8" y="T9"/>
                </a:cxn>
                <a:cxn ang="0">
                  <a:pos x="T10" y="T11"/>
                </a:cxn>
                <a:cxn ang="0">
                  <a:pos x="T12" y="T13"/>
                </a:cxn>
              </a:cxnLst>
              <a:rect l="0" t="0" r="r" b="b"/>
              <a:pathLst>
                <a:path w="162" h="122">
                  <a:moveTo>
                    <a:pt x="158" y="4"/>
                  </a:moveTo>
                  <a:lnTo>
                    <a:pt x="62" y="0"/>
                  </a:lnTo>
                  <a:lnTo>
                    <a:pt x="1" y="37"/>
                  </a:lnTo>
                  <a:lnTo>
                    <a:pt x="0" y="65"/>
                  </a:lnTo>
                  <a:lnTo>
                    <a:pt x="39" y="102"/>
                  </a:lnTo>
                  <a:lnTo>
                    <a:pt x="162" y="122"/>
                  </a:lnTo>
                  <a:lnTo>
                    <a:pt x="158"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10">
              <a:extLst>
                <a:ext uri="{FF2B5EF4-FFF2-40B4-BE49-F238E27FC236}">
                  <a16:creationId xmlns:a16="http://schemas.microsoft.com/office/drawing/2014/main" id="{01294689-841B-4015-8376-C2B8613D1BCD}"/>
                </a:ext>
              </a:extLst>
            </p:cNvPr>
            <p:cNvSpPr>
              <a:spLocks/>
            </p:cNvSpPr>
            <p:nvPr/>
          </p:nvSpPr>
          <p:spPr bwMode="auto">
            <a:xfrm>
              <a:off x="5695157" y="3047206"/>
              <a:ext cx="501650" cy="511175"/>
            </a:xfrm>
            <a:custGeom>
              <a:avLst/>
              <a:gdLst>
                <a:gd name="T0" fmla="*/ 736 w 949"/>
                <a:gd name="T1" fmla="*/ 23 h 965"/>
                <a:gd name="T2" fmla="*/ 666 w 949"/>
                <a:gd name="T3" fmla="*/ 0 h 965"/>
                <a:gd name="T4" fmla="*/ 376 w 949"/>
                <a:gd name="T5" fmla="*/ 54 h 965"/>
                <a:gd name="T6" fmla="*/ 312 w 949"/>
                <a:gd name="T7" fmla="*/ 102 h 965"/>
                <a:gd name="T8" fmla="*/ 350 w 949"/>
                <a:gd name="T9" fmla="*/ 302 h 965"/>
                <a:gd name="T10" fmla="*/ 236 w 949"/>
                <a:gd name="T11" fmla="*/ 307 h 965"/>
                <a:gd name="T12" fmla="*/ 166 w 949"/>
                <a:gd name="T13" fmla="*/ 419 h 965"/>
                <a:gd name="T14" fmla="*/ 0 w 949"/>
                <a:gd name="T15" fmla="*/ 459 h 965"/>
                <a:gd name="T16" fmla="*/ 0 w 949"/>
                <a:gd name="T17" fmla="*/ 540 h 965"/>
                <a:gd name="T18" fmla="*/ 546 w 949"/>
                <a:gd name="T19" fmla="*/ 957 h 965"/>
                <a:gd name="T20" fmla="*/ 639 w 949"/>
                <a:gd name="T21" fmla="*/ 965 h 965"/>
                <a:gd name="T22" fmla="*/ 949 w 949"/>
                <a:gd name="T23" fmla="*/ 722 h 965"/>
                <a:gd name="T24" fmla="*/ 918 w 949"/>
                <a:gd name="T25" fmla="*/ 683 h 965"/>
                <a:gd name="T26" fmla="*/ 860 w 949"/>
                <a:gd name="T27" fmla="*/ 676 h 965"/>
                <a:gd name="T28" fmla="*/ 825 w 949"/>
                <a:gd name="T29" fmla="*/ 617 h 965"/>
                <a:gd name="T30" fmla="*/ 825 w 949"/>
                <a:gd name="T31" fmla="*/ 374 h 965"/>
                <a:gd name="T32" fmla="*/ 802 w 949"/>
                <a:gd name="T33" fmla="*/ 351 h 965"/>
                <a:gd name="T34" fmla="*/ 806 w 949"/>
                <a:gd name="T35" fmla="*/ 288 h 965"/>
                <a:gd name="T36" fmla="*/ 744 w 949"/>
                <a:gd name="T37" fmla="*/ 226 h 965"/>
                <a:gd name="T38" fmla="*/ 736 w 949"/>
                <a:gd name="T39" fmla="*/ 159 h 965"/>
                <a:gd name="T40" fmla="*/ 764 w 949"/>
                <a:gd name="T41" fmla="*/ 140 h 965"/>
                <a:gd name="T42" fmla="*/ 751 w 949"/>
                <a:gd name="T43" fmla="*/ 70 h 965"/>
                <a:gd name="T44" fmla="*/ 736 w 949"/>
                <a:gd name="T45" fmla="*/ 23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9" h="965">
                  <a:moveTo>
                    <a:pt x="736" y="23"/>
                  </a:moveTo>
                  <a:lnTo>
                    <a:pt x="666" y="0"/>
                  </a:lnTo>
                  <a:lnTo>
                    <a:pt x="376" y="54"/>
                  </a:lnTo>
                  <a:lnTo>
                    <a:pt x="312" y="102"/>
                  </a:lnTo>
                  <a:lnTo>
                    <a:pt x="350" y="302"/>
                  </a:lnTo>
                  <a:lnTo>
                    <a:pt x="236" y="307"/>
                  </a:lnTo>
                  <a:lnTo>
                    <a:pt x="166" y="419"/>
                  </a:lnTo>
                  <a:lnTo>
                    <a:pt x="0" y="459"/>
                  </a:lnTo>
                  <a:lnTo>
                    <a:pt x="0" y="540"/>
                  </a:lnTo>
                  <a:lnTo>
                    <a:pt x="546" y="957"/>
                  </a:lnTo>
                  <a:lnTo>
                    <a:pt x="639" y="965"/>
                  </a:lnTo>
                  <a:lnTo>
                    <a:pt x="949" y="722"/>
                  </a:lnTo>
                  <a:lnTo>
                    <a:pt x="918" y="683"/>
                  </a:lnTo>
                  <a:lnTo>
                    <a:pt x="860" y="676"/>
                  </a:lnTo>
                  <a:lnTo>
                    <a:pt x="825" y="617"/>
                  </a:lnTo>
                  <a:lnTo>
                    <a:pt x="825" y="374"/>
                  </a:lnTo>
                  <a:lnTo>
                    <a:pt x="802" y="351"/>
                  </a:lnTo>
                  <a:lnTo>
                    <a:pt x="806" y="288"/>
                  </a:lnTo>
                  <a:lnTo>
                    <a:pt x="744" y="226"/>
                  </a:lnTo>
                  <a:lnTo>
                    <a:pt x="736" y="159"/>
                  </a:lnTo>
                  <a:lnTo>
                    <a:pt x="764" y="140"/>
                  </a:lnTo>
                  <a:lnTo>
                    <a:pt x="751" y="70"/>
                  </a:lnTo>
                  <a:lnTo>
                    <a:pt x="736" y="2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12">
              <a:extLst>
                <a:ext uri="{FF2B5EF4-FFF2-40B4-BE49-F238E27FC236}">
                  <a16:creationId xmlns:a16="http://schemas.microsoft.com/office/drawing/2014/main" id="{CF831C95-8827-4FE8-A70B-830A7CC7EBD3}"/>
                </a:ext>
              </a:extLst>
            </p:cNvPr>
            <p:cNvSpPr>
              <a:spLocks/>
            </p:cNvSpPr>
            <p:nvPr/>
          </p:nvSpPr>
          <p:spPr bwMode="auto">
            <a:xfrm>
              <a:off x="5460207" y="3344068"/>
              <a:ext cx="309563" cy="330200"/>
            </a:xfrm>
            <a:custGeom>
              <a:avLst/>
              <a:gdLst>
                <a:gd name="T0" fmla="*/ 0 w 585"/>
                <a:gd name="T1" fmla="*/ 306 h 623"/>
                <a:gd name="T2" fmla="*/ 37 w 585"/>
                <a:gd name="T3" fmla="*/ 354 h 623"/>
                <a:gd name="T4" fmla="*/ 29 w 585"/>
                <a:gd name="T5" fmla="*/ 565 h 623"/>
                <a:gd name="T6" fmla="*/ 84 w 585"/>
                <a:gd name="T7" fmla="*/ 526 h 623"/>
                <a:gd name="T8" fmla="*/ 123 w 585"/>
                <a:gd name="T9" fmla="*/ 518 h 623"/>
                <a:gd name="T10" fmla="*/ 177 w 585"/>
                <a:gd name="T11" fmla="*/ 538 h 623"/>
                <a:gd name="T12" fmla="*/ 239 w 585"/>
                <a:gd name="T13" fmla="*/ 623 h 623"/>
                <a:gd name="T14" fmla="*/ 297 w 585"/>
                <a:gd name="T15" fmla="*/ 585 h 623"/>
                <a:gd name="T16" fmla="*/ 580 w 585"/>
                <a:gd name="T17" fmla="*/ 581 h 623"/>
                <a:gd name="T18" fmla="*/ 510 w 585"/>
                <a:gd name="T19" fmla="*/ 108 h 623"/>
                <a:gd name="T20" fmla="*/ 585 w 585"/>
                <a:gd name="T21" fmla="*/ 108 h 623"/>
                <a:gd name="T22" fmla="*/ 445 w 585"/>
                <a:gd name="T23" fmla="*/ 0 h 623"/>
                <a:gd name="T24" fmla="*/ 445 w 585"/>
                <a:gd name="T25" fmla="*/ 70 h 623"/>
                <a:gd name="T26" fmla="*/ 269 w 585"/>
                <a:gd name="T27" fmla="*/ 70 h 623"/>
                <a:gd name="T28" fmla="*/ 268 w 585"/>
                <a:gd name="T29" fmla="*/ 203 h 623"/>
                <a:gd name="T30" fmla="*/ 217 w 585"/>
                <a:gd name="T31" fmla="*/ 202 h 623"/>
                <a:gd name="T32" fmla="*/ 211 w 585"/>
                <a:gd name="T33" fmla="*/ 300 h 623"/>
                <a:gd name="T34" fmla="*/ 0 w 585"/>
                <a:gd name="T35" fmla="*/ 306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5" h="623">
                  <a:moveTo>
                    <a:pt x="0" y="306"/>
                  </a:moveTo>
                  <a:lnTo>
                    <a:pt x="37" y="354"/>
                  </a:lnTo>
                  <a:lnTo>
                    <a:pt x="29" y="565"/>
                  </a:lnTo>
                  <a:lnTo>
                    <a:pt x="84" y="526"/>
                  </a:lnTo>
                  <a:lnTo>
                    <a:pt x="123" y="518"/>
                  </a:lnTo>
                  <a:lnTo>
                    <a:pt x="177" y="538"/>
                  </a:lnTo>
                  <a:lnTo>
                    <a:pt x="239" y="623"/>
                  </a:lnTo>
                  <a:lnTo>
                    <a:pt x="297" y="585"/>
                  </a:lnTo>
                  <a:lnTo>
                    <a:pt x="580" y="581"/>
                  </a:lnTo>
                  <a:lnTo>
                    <a:pt x="510" y="108"/>
                  </a:lnTo>
                  <a:lnTo>
                    <a:pt x="585" y="108"/>
                  </a:lnTo>
                  <a:lnTo>
                    <a:pt x="445" y="0"/>
                  </a:lnTo>
                  <a:lnTo>
                    <a:pt x="445" y="70"/>
                  </a:lnTo>
                  <a:lnTo>
                    <a:pt x="269" y="70"/>
                  </a:lnTo>
                  <a:lnTo>
                    <a:pt x="268" y="203"/>
                  </a:lnTo>
                  <a:lnTo>
                    <a:pt x="217" y="202"/>
                  </a:lnTo>
                  <a:lnTo>
                    <a:pt x="211" y="300"/>
                  </a:lnTo>
                  <a:lnTo>
                    <a:pt x="0" y="30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13">
              <a:extLst>
                <a:ext uri="{FF2B5EF4-FFF2-40B4-BE49-F238E27FC236}">
                  <a16:creationId xmlns:a16="http://schemas.microsoft.com/office/drawing/2014/main" id="{9990191B-4898-4CC2-9835-BBA1FE918C27}"/>
                </a:ext>
              </a:extLst>
            </p:cNvPr>
            <p:cNvSpPr>
              <a:spLocks/>
            </p:cNvSpPr>
            <p:nvPr/>
          </p:nvSpPr>
          <p:spPr bwMode="auto">
            <a:xfrm>
              <a:off x="5460207" y="3625056"/>
              <a:ext cx="155575" cy="112713"/>
            </a:xfrm>
            <a:custGeom>
              <a:avLst/>
              <a:gdLst>
                <a:gd name="T0" fmla="*/ 87 w 293"/>
                <a:gd name="T1" fmla="*/ 8 h 214"/>
                <a:gd name="T2" fmla="*/ 20 w 293"/>
                <a:gd name="T3" fmla="*/ 57 h 214"/>
                <a:gd name="T4" fmla="*/ 5 w 293"/>
                <a:gd name="T5" fmla="*/ 84 h 214"/>
                <a:gd name="T6" fmla="*/ 0 w 293"/>
                <a:gd name="T7" fmla="*/ 112 h 214"/>
                <a:gd name="T8" fmla="*/ 24 w 293"/>
                <a:gd name="T9" fmla="*/ 130 h 214"/>
                <a:gd name="T10" fmla="*/ 107 w 293"/>
                <a:gd name="T11" fmla="*/ 129 h 214"/>
                <a:gd name="T12" fmla="*/ 161 w 293"/>
                <a:gd name="T13" fmla="*/ 114 h 214"/>
                <a:gd name="T14" fmla="*/ 166 w 293"/>
                <a:gd name="T15" fmla="*/ 140 h 214"/>
                <a:gd name="T16" fmla="*/ 162 w 293"/>
                <a:gd name="T17" fmla="*/ 175 h 214"/>
                <a:gd name="T18" fmla="*/ 213 w 293"/>
                <a:gd name="T19" fmla="*/ 200 h 214"/>
                <a:gd name="T20" fmla="*/ 223 w 293"/>
                <a:gd name="T21" fmla="*/ 212 h 214"/>
                <a:gd name="T22" fmla="*/ 291 w 293"/>
                <a:gd name="T23" fmla="*/ 214 h 214"/>
                <a:gd name="T24" fmla="*/ 293 w 293"/>
                <a:gd name="T25" fmla="*/ 185 h 214"/>
                <a:gd name="T26" fmla="*/ 231 w 293"/>
                <a:gd name="T27" fmla="*/ 111 h 214"/>
                <a:gd name="T28" fmla="*/ 163 w 293"/>
                <a:gd name="T29" fmla="*/ 17 h 214"/>
                <a:gd name="T30" fmla="*/ 121 w 293"/>
                <a:gd name="T31" fmla="*/ 0 h 214"/>
                <a:gd name="T32" fmla="*/ 87 w 293"/>
                <a:gd name="T33" fmla="*/ 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3" h="214">
                  <a:moveTo>
                    <a:pt x="87" y="8"/>
                  </a:moveTo>
                  <a:lnTo>
                    <a:pt x="20" y="57"/>
                  </a:lnTo>
                  <a:lnTo>
                    <a:pt x="5" y="84"/>
                  </a:lnTo>
                  <a:lnTo>
                    <a:pt x="0" y="112"/>
                  </a:lnTo>
                  <a:lnTo>
                    <a:pt x="24" y="130"/>
                  </a:lnTo>
                  <a:lnTo>
                    <a:pt x="107" y="129"/>
                  </a:lnTo>
                  <a:lnTo>
                    <a:pt x="161" y="114"/>
                  </a:lnTo>
                  <a:lnTo>
                    <a:pt x="166" y="140"/>
                  </a:lnTo>
                  <a:lnTo>
                    <a:pt x="162" y="175"/>
                  </a:lnTo>
                  <a:lnTo>
                    <a:pt x="213" y="200"/>
                  </a:lnTo>
                  <a:lnTo>
                    <a:pt x="223" y="212"/>
                  </a:lnTo>
                  <a:lnTo>
                    <a:pt x="291" y="214"/>
                  </a:lnTo>
                  <a:lnTo>
                    <a:pt x="293" y="185"/>
                  </a:lnTo>
                  <a:lnTo>
                    <a:pt x="231" y="111"/>
                  </a:lnTo>
                  <a:lnTo>
                    <a:pt x="163" y="17"/>
                  </a:lnTo>
                  <a:lnTo>
                    <a:pt x="121" y="0"/>
                  </a:lnTo>
                  <a:lnTo>
                    <a:pt x="87" y="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14">
              <a:extLst>
                <a:ext uri="{FF2B5EF4-FFF2-40B4-BE49-F238E27FC236}">
                  <a16:creationId xmlns:a16="http://schemas.microsoft.com/office/drawing/2014/main" id="{3295DCD6-3A6B-4E93-B7B4-7138254D4E54}"/>
                </a:ext>
              </a:extLst>
            </p:cNvPr>
            <p:cNvSpPr>
              <a:spLocks/>
            </p:cNvSpPr>
            <p:nvPr/>
          </p:nvSpPr>
          <p:spPr bwMode="auto">
            <a:xfrm>
              <a:off x="5476082" y="3691731"/>
              <a:ext cx="66675" cy="20638"/>
            </a:xfrm>
            <a:custGeom>
              <a:avLst/>
              <a:gdLst>
                <a:gd name="T0" fmla="*/ 2 w 124"/>
                <a:gd name="T1" fmla="*/ 18 h 37"/>
                <a:gd name="T2" fmla="*/ 0 w 124"/>
                <a:gd name="T3" fmla="*/ 37 h 37"/>
                <a:gd name="T4" fmla="*/ 118 w 124"/>
                <a:gd name="T5" fmla="*/ 35 h 37"/>
                <a:gd name="T6" fmla="*/ 124 w 124"/>
                <a:gd name="T7" fmla="*/ 18 h 37"/>
                <a:gd name="T8" fmla="*/ 122 w 124"/>
                <a:gd name="T9" fmla="*/ 0 h 37"/>
                <a:gd name="T10" fmla="*/ 88 w 124"/>
                <a:gd name="T11" fmla="*/ 14 h 37"/>
                <a:gd name="T12" fmla="*/ 2 w 124"/>
                <a:gd name="T13" fmla="*/ 18 h 37"/>
              </a:gdLst>
              <a:ahLst/>
              <a:cxnLst>
                <a:cxn ang="0">
                  <a:pos x="T0" y="T1"/>
                </a:cxn>
                <a:cxn ang="0">
                  <a:pos x="T2" y="T3"/>
                </a:cxn>
                <a:cxn ang="0">
                  <a:pos x="T4" y="T5"/>
                </a:cxn>
                <a:cxn ang="0">
                  <a:pos x="T6" y="T7"/>
                </a:cxn>
                <a:cxn ang="0">
                  <a:pos x="T8" y="T9"/>
                </a:cxn>
                <a:cxn ang="0">
                  <a:pos x="T10" y="T11"/>
                </a:cxn>
                <a:cxn ang="0">
                  <a:pos x="T12" y="T13"/>
                </a:cxn>
              </a:cxnLst>
              <a:rect l="0" t="0" r="r" b="b"/>
              <a:pathLst>
                <a:path w="124" h="37">
                  <a:moveTo>
                    <a:pt x="2" y="18"/>
                  </a:moveTo>
                  <a:lnTo>
                    <a:pt x="0" y="37"/>
                  </a:lnTo>
                  <a:lnTo>
                    <a:pt x="118" y="35"/>
                  </a:lnTo>
                  <a:lnTo>
                    <a:pt x="124" y="18"/>
                  </a:lnTo>
                  <a:lnTo>
                    <a:pt x="122" y="0"/>
                  </a:lnTo>
                  <a:lnTo>
                    <a:pt x="88" y="14"/>
                  </a:lnTo>
                  <a:lnTo>
                    <a:pt x="2" y="1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15">
              <a:extLst>
                <a:ext uri="{FF2B5EF4-FFF2-40B4-BE49-F238E27FC236}">
                  <a16:creationId xmlns:a16="http://schemas.microsoft.com/office/drawing/2014/main" id="{25AE0BC9-976E-49FA-9A11-6FB4563B7D22}"/>
                </a:ext>
              </a:extLst>
            </p:cNvPr>
            <p:cNvSpPr>
              <a:spLocks/>
            </p:cNvSpPr>
            <p:nvPr/>
          </p:nvSpPr>
          <p:spPr bwMode="auto">
            <a:xfrm>
              <a:off x="5476082" y="3718718"/>
              <a:ext cx="95250" cy="26988"/>
            </a:xfrm>
            <a:custGeom>
              <a:avLst/>
              <a:gdLst>
                <a:gd name="T0" fmla="*/ 0 w 178"/>
                <a:gd name="T1" fmla="*/ 0 h 51"/>
                <a:gd name="T2" fmla="*/ 22 w 178"/>
                <a:gd name="T3" fmla="*/ 51 h 51"/>
                <a:gd name="T4" fmla="*/ 34 w 178"/>
                <a:gd name="T5" fmla="*/ 19 h 51"/>
                <a:gd name="T6" fmla="*/ 178 w 178"/>
                <a:gd name="T7" fmla="*/ 34 h 51"/>
                <a:gd name="T8" fmla="*/ 115 w 178"/>
                <a:gd name="T9" fmla="*/ 3 h 51"/>
                <a:gd name="T10" fmla="*/ 0 w 178"/>
                <a:gd name="T11" fmla="*/ 0 h 51"/>
              </a:gdLst>
              <a:ahLst/>
              <a:cxnLst>
                <a:cxn ang="0">
                  <a:pos x="T0" y="T1"/>
                </a:cxn>
                <a:cxn ang="0">
                  <a:pos x="T2" y="T3"/>
                </a:cxn>
                <a:cxn ang="0">
                  <a:pos x="T4" y="T5"/>
                </a:cxn>
                <a:cxn ang="0">
                  <a:pos x="T6" y="T7"/>
                </a:cxn>
                <a:cxn ang="0">
                  <a:pos x="T8" y="T9"/>
                </a:cxn>
                <a:cxn ang="0">
                  <a:pos x="T10" y="T11"/>
                </a:cxn>
              </a:cxnLst>
              <a:rect l="0" t="0" r="r" b="b"/>
              <a:pathLst>
                <a:path w="178" h="51">
                  <a:moveTo>
                    <a:pt x="0" y="0"/>
                  </a:moveTo>
                  <a:lnTo>
                    <a:pt x="22" y="51"/>
                  </a:lnTo>
                  <a:lnTo>
                    <a:pt x="34" y="19"/>
                  </a:lnTo>
                  <a:lnTo>
                    <a:pt x="178" y="34"/>
                  </a:lnTo>
                  <a:lnTo>
                    <a:pt x="115" y="3"/>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16">
              <a:extLst>
                <a:ext uri="{FF2B5EF4-FFF2-40B4-BE49-F238E27FC236}">
                  <a16:creationId xmlns:a16="http://schemas.microsoft.com/office/drawing/2014/main" id="{ED0F43D0-32CB-4A6F-AE85-7C340A0C5574}"/>
                </a:ext>
              </a:extLst>
            </p:cNvPr>
            <p:cNvSpPr>
              <a:spLocks/>
            </p:cNvSpPr>
            <p:nvPr/>
          </p:nvSpPr>
          <p:spPr bwMode="auto">
            <a:xfrm>
              <a:off x="5493544" y="3737768"/>
              <a:ext cx="47625" cy="46038"/>
            </a:xfrm>
            <a:custGeom>
              <a:avLst/>
              <a:gdLst>
                <a:gd name="T0" fmla="*/ 0 w 91"/>
                <a:gd name="T1" fmla="*/ 40 h 87"/>
                <a:gd name="T2" fmla="*/ 23 w 91"/>
                <a:gd name="T3" fmla="*/ 87 h 87"/>
                <a:gd name="T4" fmla="*/ 91 w 91"/>
                <a:gd name="T5" fmla="*/ 29 h 87"/>
                <a:gd name="T6" fmla="*/ 91 w 91"/>
                <a:gd name="T7" fmla="*/ 11 h 87"/>
                <a:gd name="T8" fmla="*/ 12 w 91"/>
                <a:gd name="T9" fmla="*/ 0 h 87"/>
                <a:gd name="T10" fmla="*/ 0 w 91"/>
                <a:gd name="T11" fmla="*/ 40 h 87"/>
              </a:gdLst>
              <a:ahLst/>
              <a:cxnLst>
                <a:cxn ang="0">
                  <a:pos x="T0" y="T1"/>
                </a:cxn>
                <a:cxn ang="0">
                  <a:pos x="T2" y="T3"/>
                </a:cxn>
                <a:cxn ang="0">
                  <a:pos x="T4" y="T5"/>
                </a:cxn>
                <a:cxn ang="0">
                  <a:pos x="T6" y="T7"/>
                </a:cxn>
                <a:cxn ang="0">
                  <a:pos x="T8" y="T9"/>
                </a:cxn>
                <a:cxn ang="0">
                  <a:pos x="T10" y="T11"/>
                </a:cxn>
              </a:cxnLst>
              <a:rect l="0" t="0" r="r" b="b"/>
              <a:pathLst>
                <a:path w="91" h="87">
                  <a:moveTo>
                    <a:pt x="0" y="40"/>
                  </a:moveTo>
                  <a:lnTo>
                    <a:pt x="23" y="87"/>
                  </a:lnTo>
                  <a:lnTo>
                    <a:pt x="91" y="29"/>
                  </a:lnTo>
                  <a:lnTo>
                    <a:pt x="91" y="11"/>
                  </a:lnTo>
                  <a:lnTo>
                    <a:pt x="12" y="0"/>
                  </a:lnTo>
                  <a:lnTo>
                    <a:pt x="0" y="4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17">
              <a:extLst>
                <a:ext uri="{FF2B5EF4-FFF2-40B4-BE49-F238E27FC236}">
                  <a16:creationId xmlns:a16="http://schemas.microsoft.com/office/drawing/2014/main" id="{821DA41D-9017-4F34-9620-5BF4E8765F54}"/>
                </a:ext>
              </a:extLst>
            </p:cNvPr>
            <p:cNvSpPr>
              <a:spLocks/>
            </p:cNvSpPr>
            <p:nvPr/>
          </p:nvSpPr>
          <p:spPr bwMode="auto">
            <a:xfrm>
              <a:off x="5509419" y="3740943"/>
              <a:ext cx="176213" cy="115888"/>
            </a:xfrm>
            <a:custGeom>
              <a:avLst/>
              <a:gdLst>
                <a:gd name="T0" fmla="*/ 0 w 332"/>
                <a:gd name="T1" fmla="*/ 91 h 218"/>
                <a:gd name="T2" fmla="*/ 53 w 332"/>
                <a:gd name="T3" fmla="*/ 171 h 218"/>
                <a:gd name="T4" fmla="*/ 120 w 332"/>
                <a:gd name="T5" fmla="*/ 112 h 218"/>
                <a:gd name="T6" fmla="*/ 190 w 332"/>
                <a:gd name="T7" fmla="*/ 109 h 218"/>
                <a:gd name="T8" fmla="*/ 248 w 332"/>
                <a:gd name="T9" fmla="*/ 186 h 218"/>
                <a:gd name="T10" fmla="*/ 297 w 332"/>
                <a:gd name="T11" fmla="*/ 218 h 218"/>
                <a:gd name="T12" fmla="*/ 316 w 332"/>
                <a:gd name="T13" fmla="*/ 182 h 218"/>
                <a:gd name="T14" fmla="*/ 332 w 332"/>
                <a:gd name="T15" fmla="*/ 173 h 218"/>
                <a:gd name="T16" fmla="*/ 331 w 332"/>
                <a:gd name="T17" fmla="*/ 94 h 218"/>
                <a:gd name="T18" fmla="*/ 298 w 332"/>
                <a:gd name="T19" fmla="*/ 0 h 218"/>
                <a:gd name="T20" fmla="*/ 198 w 332"/>
                <a:gd name="T21" fmla="*/ 11 h 218"/>
                <a:gd name="T22" fmla="*/ 73 w 332"/>
                <a:gd name="T23" fmla="*/ 1 h 218"/>
                <a:gd name="T24" fmla="*/ 73 w 332"/>
                <a:gd name="T25" fmla="*/ 33 h 218"/>
                <a:gd name="T26" fmla="*/ 0 w 332"/>
                <a:gd name="T27" fmla="*/ 9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218">
                  <a:moveTo>
                    <a:pt x="0" y="91"/>
                  </a:moveTo>
                  <a:lnTo>
                    <a:pt x="53" y="171"/>
                  </a:lnTo>
                  <a:lnTo>
                    <a:pt x="120" y="112"/>
                  </a:lnTo>
                  <a:lnTo>
                    <a:pt x="190" y="109"/>
                  </a:lnTo>
                  <a:lnTo>
                    <a:pt x="248" y="186"/>
                  </a:lnTo>
                  <a:lnTo>
                    <a:pt x="297" y="218"/>
                  </a:lnTo>
                  <a:lnTo>
                    <a:pt x="316" y="182"/>
                  </a:lnTo>
                  <a:lnTo>
                    <a:pt x="332" y="173"/>
                  </a:lnTo>
                  <a:lnTo>
                    <a:pt x="331" y="94"/>
                  </a:lnTo>
                  <a:lnTo>
                    <a:pt x="298" y="0"/>
                  </a:lnTo>
                  <a:lnTo>
                    <a:pt x="198" y="11"/>
                  </a:lnTo>
                  <a:lnTo>
                    <a:pt x="73" y="1"/>
                  </a:lnTo>
                  <a:lnTo>
                    <a:pt x="73" y="33"/>
                  </a:lnTo>
                  <a:lnTo>
                    <a:pt x="0" y="9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18">
              <a:extLst>
                <a:ext uri="{FF2B5EF4-FFF2-40B4-BE49-F238E27FC236}">
                  <a16:creationId xmlns:a16="http://schemas.microsoft.com/office/drawing/2014/main" id="{698B0237-0841-40A5-BDA3-BB7AE83DD2C6}"/>
                </a:ext>
              </a:extLst>
            </p:cNvPr>
            <p:cNvSpPr>
              <a:spLocks/>
            </p:cNvSpPr>
            <p:nvPr/>
          </p:nvSpPr>
          <p:spPr bwMode="auto">
            <a:xfrm>
              <a:off x="5541169" y="3806031"/>
              <a:ext cx="87313" cy="79375"/>
            </a:xfrm>
            <a:custGeom>
              <a:avLst/>
              <a:gdLst>
                <a:gd name="T0" fmla="*/ 0 w 165"/>
                <a:gd name="T1" fmla="*/ 58 h 151"/>
                <a:gd name="T2" fmla="*/ 96 w 165"/>
                <a:gd name="T3" fmla="*/ 151 h 151"/>
                <a:gd name="T4" fmla="*/ 165 w 165"/>
                <a:gd name="T5" fmla="*/ 68 h 151"/>
                <a:gd name="T6" fmla="*/ 122 w 165"/>
                <a:gd name="T7" fmla="*/ 0 h 151"/>
                <a:gd name="T8" fmla="*/ 63 w 165"/>
                <a:gd name="T9" fmla="*/ 6 h 151"/>
                <a:gd name="T10" fmla="*/ 0 w 165"/>
                <a:gd name="T11" fmla="*/ 58 h 151"/>
              </a:gdLst>
              <a:ahLst/>
              <a:cxnLst>
                <a:cxn ang="0">
                  <a:pos x="T0" y="T1"/>
                </a:cxn>
                <a:cxn ang="0">
                  <a:pos x="T2" y="T3"/>
                </a:cxn>
                <a:cxn ang="0">
                  <a:pos x="T4" y="T5"/>
                </a:cxn>
                <a:cxn ang="0">
                  <a:pos x="T6" y="T7"/>
                </a:cxn>
                <a:cxn ang="0">
                  <a:pos x="T8" y="T9"/>
                </a:cxn>
                <a:cxn ang="0">
                  <a:pos x="T10" y="T11"/>
                </a:cxn>
              </a:cxnLst>
              <a:rect l="0" t="0" r="r" b="b"/>
              <a:pathLst>
                <a:path w="165" h="151">
                  <a:moveTo>
                    <a:pt x="0" y="58"/>
                  </a:moveTo>
                  <a:lnTo>
                    <a:pt x="96" y="151"/>
                  </a:lnTo>
                  <a:lnTo>
                    <a:pt x="165" y="68"/>
                  </a:lnTo>
                  <a:lnTo>
                    <a:pt x="122" y="0"/>
                  </a:lnTo>
                  <a:lnTo>
                    <a:pt x="63" y="6"/>
                  </a:lnTo>
                  <a:lnTo>
                    <a:pt x="0" y="5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19">
              <a:extLst>
                <a:ext uri="{FF2B5EF4-FFF2-40B4-BE49-F238E27FC236}">
                  <a16:creationId xmlns:a16="http://schemas.microsoft.com/office/drawing/2014/main" id="{0E05EF34-9016-470A-9EE3-590C311E884D}"/>
                </a:ext>
              </a:extLst>
            </p:cNvPr>
            <p:cNvSpPr>
              <a:spLocks/>
            </p:cNvSpPr>
            <p:nvPr/>
          </p:nvSpPr>
          <p:spPr bwMode="auto">
            <a:xfrm>
              <a:off x="5598319" y="3845718"/>
              <a:ext cx="98425" cy="111125"/>
            </a:xfrm>
            <a:custGeom>
              <a:avLst/>
              <a:gdLst>
                <a:gd name="T0" fmla="*/ 0 w 187"/>
                <a:gd name="T1" fmla="*/ 85 h 211"/>
                <a:gd name="T2" fmla="*/ 187 w 187"/>
                <a:gd name="T3" fmla="*/ 211 h 211"/>
                <a:gd name="T4" fmla="*/ 183 w 187"/>
                <a:gd name="T5" fmla="*/ 116 h 211"/>
                <a:gd name="T6" fmla="*/ 126 w 187"/>
                <a:gd name="T7" fmla="*/ 49 h 211"/>
                <a:gd name="T8" fmla="*/ 71 w 187"/>
                <a:gd name="T9" fmla="*/ 0 h 211"/>
                <a:gd name="T10" fmla="*/ 0 w 187"/>
                <a:gd name="T11" fmla="*/ 85 h 211"/>
              </a:gdLst>
              <a:ahLst/>
              <a:cxnLst>
                <a:cxn ang="0">
                  <a:pos x="T0" y="T1"/>
                </a:cxn>
                <a:cxn ang="0">
                  <a:pos x="T2" y="T3"/>
                </a:cxn>
                <a:cxn ang="0">
                  <a:pos x="T4" y="T5"/>
                </a:cxn>
                <a:cxn ang="0">
                  <a:pos x="T6" y="T7"/>
                </a:cxn>
                <a:cxn ang="0">
                  <a:pos x="T8" y="T9"/>
                </a:cxn>
                <a:cxn ang="0">
                  <a:pos x="T10" y="T11"/>
                </a:cxn>
              </a:cxnLst>
              <a:rect l="0" t="0" r="r" b="b"/>
              <a:pathLst>
                <a:path w="187" h="211">
                  <a:moveTo>
                    <a:pt x="0" y="85"/>
                  </a:moveTo>
                  <a:lnTo>
                    <a:pt x="187" y="211"/>
                  </a:lnTo>
                  <a:lnTo>
                    <a:pt x="183" y="116"/>
                  </a:lnTo>
                  <a:lnTo>
                    <a:pt x="126" y="49"/>
                  </a:lnTo>
                  <a:lnTo>
                    <a:pt x="71" y="0"/>
                  </a:lnTo>
                  <a:lnTo>
                    <a:pt x="0" y="8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0">
              <a:extLst>
                <a:ext uri="{FF2B5EF4-FFF2-40B4-BE49-F238E27FC236}">
                  <a16:creationId xmlns:a16="http://schemas.microsoft.com/office/drawing/2014/main" id="{76358585-F979-4F2D-B25C-AB16186DC6FA}"/>
                </a:ext>
              </a:extLst>
            </p:cNvPr>
            <p:cNvSpPr>
              <a:spLocks/>
            </p:cNvSpPr>
            <p:nvPr/>
          </p:nvSpPr>
          <p:spPr bwMode="auto">
            <a:xfrm>
              <a:off x="5669757" y="3786981"/>
              <a:ext cx="171450" cy="173038"/>
            </a:xfrm>
            <a:custGeom>
              <a:avLst/>
              <a:gdLst>
                <a:gd name="T0" fmla="*/ 68 w 324"/>
                <a:gd name="T1" fmla="*/ 325 h 325"/>
                <a:gd name="T2" fmla="*/ 141 w 324"/>
                <a:gd name="T3" fmla="*/ 274 h 325"/>
                <a:gd name="T4" fmla="*/ 232 w 324"/>
                <a:gd name="T5" fmla="*/ 257 h 325"/>
                <a:gd name="T6" fmla="*/ 324 w 324"/>
                <a:gd name="T7" fmla="*/ 278 h 325"/>
                <a:gd name="T8" fmla="*/ 278 w 324"/>
                <a:gd name="T9" fmla="*/ 206 h 325"/>
                <a:gd name="T10" fmla="*/ 263 w 324"/>
                <a:gd name="T11" fmla="*/ 162 h 325"/>
                <a:gd name="T12" fmla="*/ 278 w 324"/>
                <a:gd name="T13" fmla="*/ 32 h 325"/>
                <a:gd name="T14" fmla="*/ 194 w 324"/>
                <a:gd name="T15" fmla="*/ 36 h 325"/>
                <a:gd name="T16" fmla="*/ 157 w 324"/>
                <a:gd name="T17" fmla="*/ 0 h 325"/>
                <a:gd name="T18" fmla="*/ 78 w 324"/>
                <a:gd name="T19" fmla="*/ 2 h 325"/>
                <a:gd name="T20" fmla="*/ 39 w 324"/>
                <a:gd name="T21" fmla="*/ 8 h 325"/>
                <a:gd name="T22" fmla="*/ 43 w 324"/>
                <a:gd name="T23" fmla="*/ 96 h 325"/>
                <a:gd name="T24" fmla="*/ 24 w 324"/>
                <a:gd name="T25" fmla="*/ 104 h 325"/>
                <a:gd name="T26" fmla="*/ 0 w 324"/>
                <a:gd name="T27" fmla="*/ 148 h 325"/>
                <a:gd name="T28" fmla="*/ 62 w 324"/>
                <a:gd name="T29" fmla="*/ 220 h 325"/>
                <a:gd name="T30" fmla="*/ 68 w 324"/>
                <a:gd name="T31"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4" h="325">
                  <a:moveTo>
                    <a:pt x="68" y="325"/>
                  </a:moveTo>
                  <a:lnTo>
                    <a:pt x="141" y="274"/>
                  </a:lnTo>
                  <a:lnTo>
                    <a:pt x="232" y="257"/>
                  </a:lnTo>
                  <a:lnTo>
                    <a:pt x="324" y="278"/>
                  </a:lnTo>
                  <a:lnTo>
                    <a:pt x="278" y="206"/>
                  </a:lnTo>
                  <a:lnTo>
                    <a:pt x="263" y="162"/>
                  </a:lnTo>
                  <a:lnTo>
                    <a:pt x="278" y="32"/>
                  </a:lnTo>
                  <a:lnTo>
                    <a:pt x="194" y="36"/>
                  </a:lnTo>
                  <a:lnTo>
                    <a:pt x="157" y="0"/>
                  </a:lnTo>
                  <a:lnTo>
                    <a:pt x="78" y="2"/>
                  </a:lnTo>
                  <a:lnTo>
                    <a:pt x="39" y="8"/>
                  </a:lnTo>
                  <a:lnTo>
                    <a:pt x="43" y="96"/>
                  </a:lnTo>
                  <a:lnTo>
                    <a:pt x="24" y="104"/>
                  </a:lnTo>
                  <a:lnTo>
                    <a:pt x="0" y="148"/>
                  </a:lnTo>
                  <a:lnTo>
                    <a:pt x="62" y="220"/>
                  </a:lnTo>
                  <a:lnTo>
                    <a:pt x="68" y="3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1">
              <a:extLst>
                <a:ext uri="{FF2B5EF4-FFF2-40B4-BE49-F238E27FC236}">
                  <a16:creationId xmlns:a16="http://schemas.microsoft.com/office/drawing/2014/main" id="{F2F7B9A4-4615-460E-B4E4-35FA90C9DB98}"/>
                </a:ext>
              </a:extLst>
            </p:cNvPr>
            <p:cNvSpPr>
              <a:spLocks/>
            </p:cNvSpPr>
            <p:nvPr/>
          </p:nvSpPr>
          <p:spPr bwMode="auto">
            <a:xfrm>
              <a:off x="5591969" y="3409156"/>
              <a:ext cx="412750" cy="373063"/>
            </a:xfrm>
            <a:custGeom>
              <a:avLst/>
              <a:gdLst>
                <a:gd name="T0" fmla="*/ 0 w 781"/>
                <a:gd name="T1" fmla="*/ 511 h 707"/>
                <a:gd name="T2" fmla="*/ 53 w 781"/>
                <a:gd name="T3" fmla="*/ 476 h 707"/>
                <a:gd name="T4" fmla="*/ 347 w 781"/>
                <a:gd name="T5" fmla="*/ 474 h 707"/>
                <a:gd name="T6" fmla="*/ 279 w 781"/>
                <a:gd name="T7" fmla="*/ 2 h 707"/>
                <a:gd name="T8" fmla="*/ 356 w 781"/>
                <a:gd name="T9" fmla="*/ 0 h 707"/>
                <a:gd name="T10" fmla="*/ 730 w 781"/>
                <a:gd name="T11" fmla="*/ 286 h 707"/>
                <a:gd name="T12" fmla="*/ 781 w 781"/>
                <a:gd name="T13" fmla="*/ 293 h 707"/>
                <a:gd name="T14" fmla="*/ 762 w 781"/>
                <a:gd name="T15" fmla="*/ 452 h 707"/>
                <a:gd name="T16" fmla="*/ 526 w 781"/>
                <a:gd name="T17" fmla="*/ 473 h 707"/>
                <a:gd name="T18" fmla="*/ 344 w 781"/>
                <a:gd name="T19" fmla="*/ 609 h 707"/>
                <a:gd name="T20" fmla="*/ 311 w 781"/>
                <a:gd name="T21" fmla="*/ 701 h 707"/>
                <a:gd name="T22" fmla="*/ 185 w 781"/>
                <a:gd name="T23" fmla="*/ 707 h 707"/>
                <a:gd name="T24" fmla="*/ 153 w 781"/>
                <a:gd name="T25" fmla="*/ 614 h 707"/>
                <a:gd name="T26" fmla="*/ 56 w 781"/>
                <a:gd name="T27" fmla="*/ 621 h 707"/>
                <a:gd name="T28" fmla="*/ 60 w 781"/>
                <a:gd name="T29" fmla="*/ 591 h 707"/>
                <a:gd name="T30" fmla="*/ 0 w 781"/>
                <a:gd name="T31" fmla="*/ 511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707">
                  <a:moveTo>
                    <a:pt x="0" y="511"/>
                  </a:moveTo>
                  <a:lnTo>
                    <a:pt x="53" y="476"/>
                  </a:lnTo>
                  <a:lnTo>
                    <a:pt x="347" y="474"/>
                  </a:lnTo>
                  <a:lnTo>
                    <a:pt x="279" y="2"/>
                  </a:lnTo>
                  <a:lnTo>
                    <a:pt x="356" y="0"/>
                  </a:lnTo>
                  <a:lnTo>
                    <a:pt x="730" y="286"/>
                  </a:lnTo>
                  <a:lnTo>
                    <a:pt x="781" y="293"/>
                  </a:lnTo>
                  <a:lnTo>
                    <a:pt x="762" y="452"/>
                  </a:lnTo>
                  <a:lnTo>
                    <a:pt x="526" y="473"/>
                  </a:lnTo>
                  <a:lnTo>
                    <a:pt x="344" y="609"/>
                  </a:lnTo>
                  <a:lnTo>
                    <a:pt x="311" y="701"/>
                  </a:lnTo>
                  <a:lnTo>
                    <a:pt x="185" y="707"/>
                  </a:lnTo>
                  <a:lnTo>
                    <a:pt x="153" y="614"/>
                  </a:lnTo>
                  <a:lnTo>
                    <a:pt x="56" y="621"/>
                  </a:lnTo>
                  <a:lnTo>
                    <a:pt x="60" y="591"/>
                  </a:lnTo>
                  <a:lnTo>
                    <a:pt x="0" y="51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22">
              <a:extLst>
                <a:ext uri="{FF2B5EF4-FFF2-40B4-BE49-F238E27FC236}">
                  <a16:creationId xmlns:a16="http://schemas.microsoft.com/office/drawing/2014/main" id="{B8151D2E-C4F2-426F-97E5-6BC00CF99A35}"/>
                </a:ext>
              </a:extLst>
            </p:cNvPr>
            <p:cNvSpPr>
              <a:spLocks/>
            </p:cNvSpPr>
            <p:nvPr/>
          </p:nvSpPr>
          <p:spPr bwMode="auto">
            <a:xfrm>
              <a:off x="5765007" y="3663156"/>
              <a:ext cx="195263" cy="136525"/>
            </a:xfrm>
            <a:custGeom>
              <a:avLst/>
              <a:gdLst>
                <a:gd name="T0" fmla="*/ 205 w 370"/>
                <a:gd name="T1" fmla="*/ 5 h 258"/>
                <a:gd name="T2" fmla="*/ 268 w 370"/>
                <a:gd name="T3" fmla="*/ 0 h 258"/>
                <a:gd name="T4" fmla="*/ 370 w 370"/>
                <a:gd name="T5" fmla="*/ 144 h 258"/>
                <a:gd name="T6" fmla="*/ 275 w 370"/>
                <a:gd name="T7" fmla="*/ 216 h 258"/>
                <a:gd name="T8" fmla="*/ 206 w 370"/>
                <a:gd name="T9" fmla="*/ 199 h 258"/>
                <a:gd name="T10" fmla="*/ 114 w 370"/>
                <a:gd name="T11" fmla="*/ 200 h 258"/>
                <a:gd name="T12" fmla="*/ 100 w 370"/>
                <a:gd name="T13" fmla="*/ 254 h 258"/>
                <a:gd name="T14" fmla="*/ 22 w 370"/>
                <a:gd name="T15" fmla="*/ 258 h 258"/>
                <a:gd name="T16" fmla="*/ 0 w 370"/>
                <a:gd name="T17" fmla="*/ 228 h 258"/>
                <a:gd name="T18" fmla="*/ 28 w 370"/>
                <a:gd name="T19" fmla="*/ 140 h 258"/>
                <a:gd name="T20" fmla="*/ 205 w 370"/>
                <a:gd name="T21" fmla="*/ 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258">
                  <a:moveTo>
                    <a:pt x="205" y="5"/>
                  </a:moveTo>
                  <a:lnTo>
                    <a:pt x="268" y="0"/>
                  </a:lnTo>
                  <a:lnTo>
                    <a:pt x="370" y="144"/>
                  </a:lnTo>
                  <a:lnTo>
                    <a:pt x="275" y="216"/>
                  </a:lnTo>
                  <a:lnTo>
                    <a:pt x="206" y="199"/>
                  </a:lnTo>
                  <a:lnTo>
                    <a:pt x="114" y="200"/>
                  </a:lnTo>
                  <a:lnTo>
                    <a:pt x="100" y="254"/>
                  </a:lnTo>
                  <a:lnTo>
                    <a:pt x="22" y="258"/>
                  </a:lnTo>
                  <a:lnTo>
                    <a:pt x="0" y="228"/>
                  </a:lnTo>
                  <a:lnTo>
                    <a:pt x="28" y="140"/>
                  </a:lnTo>
                  <a:lnTo>
                    <a:pt x="205" y="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23">
              <a:extLst>
                <a:ext uri="{FF2B5EF4-FFF2-40B4-BE49-F238E27FC236}">
                  <a16:creationId xmlns:a16="http://schemas.microsoft.com/office/drawing/2014/main" id="{71AAD0B1-B3F7-4C14-81A8-6F1125FE5667}"/>
                </a:ext>
              </a:extLst>
            </p:cNvPr>
            <p:cNvSpPr>
              <a:spLocks/>
            </p:cNvSpPr>
            <p:nvPr/>
          </p:nvSpPr>
          <p:spPr bwMode="auto">
            <a:xfrm>
              <a:off x="5917407" y="3436143"/>
              <a:ext cx="385763" cy="298450"/>
            </a:xfrm>
            <a:custGeom>
              <a:avLst/>
              <a:gdLst>
                <a:gd name="T0" fmla="*/ 95 w 730"/>
                <a:gd name="T1" fmla="*/ 565 h 565"/>
                <a:gd name="T2" fmla="*/ 139 w 730"/>
                <a:gd name="T3" fmla="*/ 564 h 565"/>
                <a:gd name="T4" fmla="*/ 178 w 730"/>
                <a:gd name="T5" fmla="*/ 505 h 565"/>
                <a:gd name="T6" fmla="*/ 244 w 730"/>
                <a:gd name="T7" fmla="*/ 493 h 565"/>
                <a:gd name="T8" fmla="*/ 314 w 730"/>
                <a:gd name="T9" fmla="*/ 537 h 565"/>
                <a:gd name="T10" fmla="*/ 464 w 730"/>
                <a:gd name="T11" fmla="*/ 541 h 565"/>
                <a:gd name="T12" fmla="*/ 581 w 730"/>
                <a:gd name="T13" fmla="*/ 493 h 565"/>
                <a:gd name="T14" fmla="*/ 625 w 730"/>
                <a:gd name="T15" fmla="*/ 455 h 565"/>
                <a:gd name="T16" fmla="*/ 628 w 730"/>
                <a:gd name="T17" fmla="*/ 407 h 565"/>
                <a:gd name="T18" fmla="*/ 709 w 730"/>
                <a:gd name="T19" fmla="*/ 324 h 565"/>
                <a:gd name="T20" fmla="*/ 730 w 730"/>
                <a:gd name="T21" fmla="*/ 145 h 565"/>
                <a:gd name="T22" fmla="*/ 676 w 730"/>
                <a:gd name="T23" fmla="*/ 33 h 565"/>
                <a:gd name="T24" fmla="*/ 540 w 730"/>
                <a:gd name="T25" fmla="*/ 0 h 565"/>
                <a:gd name="T26" fmla="*/ 225 w 730"/>
                <a:gd name="T27" fmla="*/ 245 h 565"/>
                <a:gd name="T28" fmla="*/ 180 w 730"/>
                <a:gd name="T29" fmla="*/ 241 h 565"/>
                <a:gd name="T30" fmla="*/ 161 w 730"/>
                <a:gd name="T31" fmla="*/ 412 h 565"/>
                <a:gd name="T32" fmla="*/ 0 w 730"/>
                <a:gd name="T33" fmla="*/ 428 h 565"/>
                <a:gd name="T34" fmla="*/ 95 w 730"/>
                <a:gd name="T35" fmla="*/ 56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0" h="565">
                  <a:moveTo>
                    <a:pt x="95" y="565"/>
                  </a:moveTo>
                  <a:lnTo>
                    <a:pt x="139" y="564"/>
                  </a:lnTo>
                  <a:lnTo>
                    <a:pt x="178" y="505"/>
                  </a:lnTo>
                  <a:lnTo>
                    <a:pt x="244" y="493"/>
                  </a:lnTo>
                  <a:lnTo>
                    <a:pt x="314" y="537"/>
                  </a:lnTo>
                  <a:lnTo>
                    <a:pt x="464" y="541"/>
                  </a:lnTo>
                  <a:lnTo>
                    <a:pt x="581" y="493"/>
                  </a:lnTo>
                  <a:lnTo>
                    <a:pt x="625" y="455"/>
                  </a:lnTo>
                  <a:lnTo>
                    <a:pt x="628" y="407"/>
                  </a:lnTo>
                  <a:lnTo>
                    <a:pt x="709" y="324"/>
                  </a:lnTo>
                  <a:lnTo>
                    <a:pt x="730" y="145"/>
                  </a:lnTo>
                  <a:lnTo>
                    <a:pt x="676" y="33"/>
                  </a:lnTo>
                  <a:lnTo>
                    <a:pt x="540" y="0"/>
                  </a:lnTo>
                  <a:lnTo>
                    <a:pt x="225" y="245"/>
                  </a:lnTo>
                  <a:lnTo>
                    <a:pt x="180" y="241"/>
                  </a:lnTo>
                  <a:lnTo>
                    <a:pt x="161" y="412"/>
                  </a:lnTo>
                  <a:lnTo>
                    <a:pt x="0" y="428"/>
                  </a:lnTo>
                  <a:lnTo>
                    <a:pt x="95" y="56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24">
              <a:extLst>
                <a:ext uri="{FF2B5EF4-FFF2-40B4-BE49-F238E27FC236}">
                  <a16:creationId xmlns:a16="http://schemas.microsoft.com/office/drawing/2014/main" id="{6423FC7A-9331-4B00-9EF3-EB1E7E1FAE4D}"/>
                </a:ext>
              </a:extLst>
            </p:cNvPr>
            <p:cNvSpPr>
              <a:spLocks/>
            </p:cNvSpPr>
            <p:nvPr/>
          </p:nvSpPr>
          <p:spPr bwMode="auto">
            <a:xfrm>
              <a:off x="5817394" y="3774281"/>
              <a:ext cx="90488" cy="163513"/>
            </a:xfrm>
            <a:custGeom>
              <a:avLst/>
              <a:gdLst>
                <a:gd name="T0" fmla="*/ 0 w 172"/>
                <a:gd name="T1" fmla="*/ 183 h 307"/>
                <a:gd name="T2" fmla="*/ 19 w 172"/>
                <a:gd name="T3" fmla="*/ 228 h 307"/>
                <a:gd name="T4" fmla="*/ 69 w 172"/>
                <a:gd name="T5" fmla="*/ 307 h 307"/>
                <a:gd name="T6" fmla="*/ 96 w 172"/>
                <a:gd name="T7" fmla="*/ 306 h 307"/>
                <a:gd name="T8" fmla="*/ 172 w 172"/>
                <a:gd name="T9" fmla="*/ 262 h 307"/>
                <a:gd name="T10" fmla="*/ 167 w 172"/>
                <a:gd name="T11" fmla="*/ 17 h 307"/>
                <a:gd name="T12" fmla="*/ 108 w 172"/>
                <a:gd name="T13" fmla="*/ 0 h 307"/>
                <a:gd name="T14" fmla="*/ 26 w 172"/>
                <a:gd name="T15" fmla="*/ 3 h 307"/>
                <a:gd name="T16" fmla="*/ 0 w 172"/>
                <a:gd name="T17" fmla="*/ 18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07">
                  <a:moveTo>
                    <a:pt x="0" y="183"/>
                  </a:moveTo>
                  <a:lnTo>
                    <a:pt x="19" y="228"/>
                  </a:lnTo>
                  <a:lnTo>
                    <a:pt x="69" y="307"/>
                  </a:lnTo>
                  <a:lnTo>
                    <a:pt x="96" y="306"/>
                  </a:lnTo>
                  <a:lnTo>
                    <a:pt x="172" y="262"/>
                  </a:lnTo>
                  <a:lnTo>
                    <a:pt x="167" y="17"/>
                  </a:lnTo>
                  <a:lnTo>
                    <a:pt x="108" y="0"/>
                  </a:lnTo>
                  <a:lnTo>
                    <a:pt x="26" y="3"/>
                  </a:lnTo>
                  <a:lnTo>
                    <a:pt x="0" y="18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25">
              <a:extLst>
                <a:ext uri="{FF2B5EF4-FFF2-40B4-BE49-F238E27FC236}">
                  <a16:creationId xmlns:a16="http://schemas.microsoft.com/office/drawing/2014/main" id="{4E1D7DEA-56A9-49C1-B972-61960D88491A}"/>
                </a:ext>
              </a:extLst>
            </p:cNvPr>
            <p:cNvSpPr>
              <a:spLocks/>
            </p:cNvSpPr>
            <p:nvPr/>
          </p:nvSpPr>
          <p:spPr bwMode="auto">
            <a:xfrm>
              <a:off x="5912644" y="3775868"/>
              <a:ext cx="26988" cy="133350"/>
            </a:xfrm>
            <a:custGeom>
              <a:avLst/>
              <a:gdLst>
                <a:gd name="T0" fmla="*/ 4 w 50"/>
                <a:gd name="T1" fmla="*/ 253 h 253"/>
                <a:gd name="T2" fmla="*/ 50 w 50"/>
                <a:gd name="T3" fmla="*/ 226 h 253"/>
                <a:gd name="T4" fmla="*/ 49 w 50"/>
                <a:gd name="T5" fmla="*/ 49 h 253"/>
                <a:gd name="T6" fmla="*/ 20 w 50"/>
                <a:gd name="T7" fmla="*/ 0 h 253"/>
                <a:gd name="T8" fmla="*/ 0 w 50"/>
                <a:gd name="T9" fmla="*/ 16 h 253"/>
                <a:gd name="T10" fmla="*/ 4 w 50"/>
                <a:gd name="T11" fmla="*/ 253 h 253"/>
              </a:gdLst>
              <a:ahLst/>
              <a:cxnLst>
                <a:cxn ang="0">
                  <a:pos x="T0" y="T1"/>
                </a:cxn>
                <a:cxn ang="0">
                  <a:pos x="T2" y="T3"/>
                </a:cxn>
                <a:cxn ang="0">
                  <a:pos x="T4" y="T5"/>
                </a:cxn>
                <a:cxn ang="0">
                  <a:pos x="T6" y="T7"/>
                </a:cxn>
                <a:cxn ang="0">
                  <a:pos x="T8" y="T9"/>
                </a:cxn>
                <a:cxn ang="0">
                  <a:pos x="T10" y="T11"/>
                </a:cxn>
              </a:cxnLst>
              <a:rect l="0" t="0" r="r" b="b"/>
              <a:pathLst>
                <a:path w="50" h="253">
                  <a:moveTo>
                    <a:pt x="4" y="253"/>
                  </a:moveTo>
                  <a:lnTo>
                    <a:pt x="50" y="226"/>
                  </a:lnTo>
                  <a:lnTo>
                    <a:pt x="49" y="49"/>
                  </a:lnTo>
                  <a:lnTo>
                    <a:pt x="20" y="0"/>
                  </a:lnTo>
                  <a:lnTo>
                    <a:pt x="0" y="16"/>
                  </a:lnTo>
                  <a:lnTo>
                    <a:pt x="4" y="25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26">
              <a:extLst>
                <a:ext uri="{FF2B5EF4-FFF2-40B4-BE49-F238E27FC236}">
                  <a16:creationId xmlns:a16="http://schemas.microsoft.com/office/drawing/2014/main" id="{34441304-EF66-4A80-8653-3A2AD6C18392}"/>
                </a:ext>
              </a:extLst>
            </p:cNvPr>
            <p:cNvSpPr>
              <a:spLocks/>
            </p:cNvSpPr>
            <p:nvPr/>
          </p:nvSpPr>
          <p:spPr bwMode="auto">
            <a:xfrm>
              <a:off x="5931694" y="3742531"/>
              <a:ext cx="60325" cy="150813"/>
            </a:xfrm>
            <a:custGeom>
              <a:avLst/>
              <a:gdLst>
                <a:gd name="T0" fmla="*/ 30 w 115"/>
                <a:gd name="T1" fmla="*/ 286 h 286"/>
                <a:gd name="T2" fmla="*/ 67 w 115"/>
                <a:gd name="T3" fmla="*/ 286 h 286"/>
                <a:gd name="T4" fmla="*/ 69 w 115"/>
                <a:gd name="T5" fmla="*/ 184 h 286"/>
                <a:gd name="T6" fmla="*/ 115 w 115"/>
                <a:gd name="T7" fmla="*/ 117 h 286"/>
                <a:gd name="T8" fmla="*/ 113 w 115"/>
                <a:gd name="T9" fmla="*/ 1 h 286"/>
                <a:gd name="T10" fmla="*/ 71 w 115"/>
                <a:gd name="T11" fmla="*/ 0 h 286"/>
                <a:gd name="T12" fmla="*/ 0 w 115"/>
                <a:gd name="T13" fmla="*/ 56 h 286"/>
                <a:gd name="T14" fmla="*/ 29 w 115"/>
                <a:gd name="T15" fmla="*/ 113 h 286"/>
                <a:gd name="T16" fmla="*/ 30 w 115"/>
                <a:gd name="T17"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86">
                  <a:moveTo>
                    <a:pt x="30" y="286"/>
                  </a:moveTo>
                  <a:lnTo>
                    <a:pt x="67" y="286"/>
                  </a:lnTo>
                  <a:lnTo>
                    <a:pt x="69" y="184"/>
                  </a:lnTo>
                  <a:lnTo>
                    <a:pt x="115" y="117"/>
                  </a:lnTo>
                  <a:lnTo>
                    <a:pt x="113" y="1"/>
                  </a:lnTo>
                  <a:lnTo>
                    <a:pt x="71" y="0"/>
                  </a:lnTo>
                  <a:lnTo>
                    <a:pt x="0" y="56"/>
                  </a:lnTo>
                  <a:lnTo>
                    <a:pt x="29" y="113"/>
                  </a:lnTo>
                  <a:lnTo>
                    <a:pt x="30" y="28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27">
              <a:extLst>
                <a:ext uri="{FF2B5EF4-FFF2-40B4-BE49-F238E27FC236}">
                  <a16:creationId xmlns:a16="http://schemas.microsoft.com/office/drawing/2014/main" id="{ED6CAB65-09B7-479A-8470-BC083AF636DA}"/>
                </a:ext>
              </a:extLst>
            </p:cNvPr>
            <p:cNvSpPr>
              <a:spLocks/>
            </p:cNvSpPr>
            <p:nvPr/>
          </p:nvSpPr>
          <p:spPr bwMode="auto">
            <a:xfrm>
              <a:off x="5972969" y="3702843"/>
              <a:ext cx="285750" cy="244475"/>
            </a:xfrm>
            <a:custGeom>
              <a:avLst/>
              <a:gdLst>
                <a:gd name="T0" fmla="*/ 0 w 541"/>
                <a:gd name="T1" fmla="*/ 358 h 463"/>
                <a:gd name="T2" fmla="*/ 68 w 541"/>
                <a:gd name="T3" fmla="*/ 362 h 463"/>
                <a:gd name="T4" fmla="*/ 148 w 541"/>
                <a:gd name="T5" fmla="*/ 452 h 463"/>
                <a:gd name="T6" fmla="*/ 188 w 541"/>
                <a:gd name="T7" fmla="*/ 463 h 463"/>
                <a:gd name="T8" fmla="*/ 219 w 541"/>
                <a:gd name="T9" fmla="*/ 448 h 463"/>
                <a:gd name="T10" fmla="*/ 266 w 541"/>
                <a:gd name="T11" fmla="*/ 442 h 463"/>
                <a:gd name="T12" fmla="*/ 281 w 541"/>
                <a:gd name="T13" fmla="*/ 376 h 463"/>
                <a:gd name="T14" fmla="*/ 345 w 541"/>
                <a:gd name="T15" fmla="*/ 334 h 463"/>
                <a:gd name="T16" fmla="*/ 415 w 541"/>
                <a:gd name="T17" fmla="*/ 331 h 463"/>
                <a:gd name="T18" fmla="*/ 541 w 541"/>
                <a:gd name="T19" fmla="*/ 98 h 463"/>
                <a:gd name="T20" fmla="*/ 539 w 541"/>
                <a:gd name="T21" fmla="*/ 45 h 463"/>
                <a:gd name="T22" fmla="*/ 481 w 541"/>
                <a:gd name="T23" fmla="*/ 0 h 463"/>
                <a:gd name="T24" fmla="*/ 363 w 541"/>
                <a:gd name="T25" fmla="*/ 52 h 463"/>
                <a:gd name="T26" fmla="*/ 207 w 541"/>
                <a:gd name="T27" fmla="*/ 49 h 463"/>
                <a:gd name="T28" fmla="*/ 132 w 541"/>
                <a:gd name="T29" fmla="*/ 2 h 463"/>
                <a:gd name="T30" fmla="*/ 79 w 541"/>
                <a:gd name="T31" fmla="*/ 14 h 463"/>
                <a:gd name="T32" fmla="*/ 52 w 541"/>
                <a:gd name="T33" fmla="*/ 62 h 463"/>
                <a:gd name="T34" fmla="*/ 49 w 541"/>
                <a:gd name="T35" fmla="*/ 198 h 463"/>
                <a:gd name="T36" fmla="*/ 4 w 541"/>
                <a:gd name="T37" fmla="*/ 262 h 463"/>
                <a:gd name="T38" fmla="*/ 0 w 541"/>
                <a:gd name="T39" fmla="*/ 35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1" h="463">
                  <a:moveTo>
                    <a:pt x="0" y="358"/>
                  </a:moveTo>
                  <a:lnTo>
                    <a:pt x="68" y="362"/>
                  </a:lnTo>
                  <a:lnTo>
                    <a:pt x="148" y="452"/>
                  </a:lnTo>
                  <a:lnTo>
                    <a:pt x="188" y="463"/>
                  </a:lnTo>
                  <a:lnTo>
                    <a:pt x="219" y="448"/>
                  </a:lnTo>
                  <a:lnTo>
                    <a:pt x="266" y="442"/>
                  </a:lnTo>
                  <a:lnTo>
                    <a:pt x="281" y="376"/>
                  </a:lnTo>
                  <a:lnTo>
                    <a:pt x="345" y="334"/>
                  </a:lnTo>
                  <a:lnTo>
                    <a:pt x="415" y="331"/>
                  </a:lnTo>
                  <a:lnTo>
                    <a:pt x="541" y="98"/>
                  </a:lnTo>
                  <a:lnTo>
                    <a:pt x="539" y="45"/>
                  </a:lnTo>
                  <a:lnTo>
                    <a:pt x="481" y="0"/>
                  </a:lnTo>
                  <a:lnTo>
                    <a:pt x="363" y="52"/>
                  </a:lnTo>
                  <a:lnTo>
                    <a:pt x="207" y="49"/>
                  </a:lnTo>
                  <a:lnTo>
                    <a:pt x="132" y="2"/>
                  </a:lnTo>
                  <a:lnTo>
                    <a:pt x="79" y="14"/>
                  </a:lnTo>
                  <a:lnTo>
                    <a:pt x="52" y="62"/>
                  </a:lnTo>
                  <a:lnTo>
                    <a:pt x="49" y="198"/>
                  </a:lnTo>
                  <a:lnTo>
                    <a:pt x="4" y="262"/>
                  </a:lnTo>
                  <a:lnTo>
                    <a:pt x="0" y="35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28">
              <a:extLst>
                <a:ext uri="{FF2B5EF4-FFF2-40B4-BE49-F238E27FC236}">
                  <a16:creationId xmlns:a16="http://schemas.microsoft.com/office/drawing/2014/main" id="{30F9AAE2-364B-417C-82E6-C2A788812C88}"/>
                </a:ext>
              </a:extLst>
            </p:cNvPr>
            <p:cNvSpPr>
              <a:spLocks/>
            </p:cNvSpPr>
            <p:nvPr/>
          </p:nvSpPr>
          <p:spPr bwMode="auto">
            <a:xfrm>
              <a:off x="6092032" y="3037681"/>
              <a:ext cx="96838" cy="201613"/>
            </a:xfrm>
            <a:custGeom>
              <a:avLst/>
              <a:gdLst>
                <a:gd name="T0" fmla="*/ 3 w 182"/>
                <a:gd name="T1" fmla="*/ 38 h 381"/>
                <a:gd name="T2" fmla="*/ 99 w 182"/>
                <a:gd name="T3" fmla="*/ 0 h 381"/>
                <a:gd name="T4" fmla="*/ 130 w 182"/>
                <a:gd name="T5" fmla="*/ 21 h 381"/>
                <a:gd name="T6" fmla="*/ 131 w 182"/>
                <a:gd name="T7" fmla="*/ 45 h 381"/>
                <a:gd name="T8" fmla="*/ 116 w 182"/>
                <a:gd name="T9" fmla="*/ 64 h 381"/>
                <a:gd name="T10" fmla="*/ 119 w 182"/>
                <a:gd name="T11" fmla="*/ 98 h 381"/>
                <a:gd name="T12" fmla="*/ 133 w 182"/>
                <a:gd name="T13" fmla="*/ 106 h 381"/>
                <a:gd name="T14" fmla="*/ 133 w 182"/>
                <a:gd name="T15" fmla="*/ 166 h 381"/>
                <a:gd name="T16" fmla="*/ 116 w 182"/>
                <a:gd name="T17" fmla="*/ 194 h 381"/>
                <a:gd name="T18" fmla="*/ 119 w 182"/>
                <a:gd name="T19" fmla="*/ 213 h 381"/>
                <a:gd name="T20" fmla="*/ 182 w 182"/>
                <a:gd name="T21" fmla="*/ 235 h 381"/>
                <a:gd name="T22" fmla="*/ 131 w 182"/>
                <a:gd name="T23" fmla="*/ 314 h 381"/>
                <a:gd name="T24" fmla="*/ 111 w 182"/>
                <a:gd name="T25" fmla="*/ 313 h 381"/>
                <a:gd name="T26" fmla="*/ 108 w 182"/>
                <a:gd name="T27" fmla="*/ 377 h 381"/>
                <a:gd name="T28" fmla="*/ 86 w 182"/>
                <a:gd name="T29" fmla="*/ 381 h 381"/>
                <a:gd name="T30" fmla="*/ 66 w 182"/>
                <a:gd name="T31" fmla="*/ 364 h 381"/>
                <a:gd name="T32" fmla="*/ 70 w 182"/>
                <a:gd name="T33" fmla="*/ 299 h 381"/>
                <a:gd name="T34" fmla="*/ 8 w 182"/>
                <a:gd name="T35" fmla="*/ 238 h 381"/>
                <a:gd name="T36" fmla="*/ 0 w 182"/>
                <a:gd name="T37" fmla="*/ 185 h 381"/>
                <a:gd name="T38" fmla="*/ 31 w 182"/>
                <a:gd name="T39" fmla="*/ 162 h 381"/>
                <a:gd name="T40" fmla="*/ 3 w 182"/>
                <a:gd name="T41" fmla="*/ 38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381">
                  <a:moveTo>
                    <a:pt x="3" y="38"/>
                  </a:moveTo>
                  <a:lnTo>
                    <a:pt x="99" y="0"/>
                  </a:lnTo>
                  <a:lnTo>
                    <a:pt x="130" y="21"/>
                  </a:lnTo>
                  <a:lnTo>
                    <a:pt x="131" y="45"/>
                  </a:lnTo>
                  <a:lnTo>
                    <a:pt x="116" y="64"/>
                  </a:lnTo>
                  <a:lnTo>
                    <a:pt x="119" y="98"/>
                  </a:lnTo>
                  <a:lnTo>
                    <a:pt x="133" y="106"/>
                  </a:lnTo>
                  <a:lnTo>
                    <a:pt x="133" y="166"/>
                  </a:lnTo>
                  <a:lnTo>
                    <a:pt x="116" y="194"/>
                  </a:lnTo>
                  <a:lnTo>
                    <a:pt x="119" y="213"/>
                  </a:lnTo>
                  <a:lnTo>
                    <a:pt x="182" y="235"/>
                  </a:lnTo>
                  <a:lnTo>
                    <a:pt x="131" y="314"/>
                  </a:lnTo>
                  <a:lnTo>
                    <a:pt x="111" y="313"/>
                  </a:lnTo>
                  <a:lnTo>
                    <a:pt x="108" y="377"/>
                  </a:lnTo>
                  <a:lnTo>
                    <a:pt x="86" y="381"/>
                  </a:lnTo>
                  <a:lnTo>
                    <a:pt x="66" y="364"/>
                  </a:lnTo>
                  <a:lnTo>
                    <a:pt x="70" y="299"/>
                  </a:lnTo>
                  <a:lnTo>
                    <a:pt x="8" y="238"/>
                  </a:lnTo>
                  <a:lnTo>
                    <a:pt x="0" y="185"/>
                  </a:lnTo>
                  <a:lnTo>
                    <a:pt x="31" y="162"/>
                  </a:lnTo>
                  <a:lnTo>
                    <a:pt x="3" y="3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29">
              <a:extLst>
                <a:ext uri="{FF2B5EF4-FFF2-40B4-BE49-F238E27FC236}">
                  <a16:creationId xmlns:a16="http://schemas.microsoft.com/office/drawing/2014/main" id="{B39B25F7-6CDB-4F93-AEF1-24E18DBD7E98}"/>
                </a:ext>
              </a:extLst>
            </p:cNvPr>
            <p:cNvSpPr>
              <a:spLocks/>
            </p:cNvSpPr>
            <p:nvPr/>
          </p:nvSpPr>
          <p:spPr bwMode="auto">
            <a:xfrm>
              <a:off x="6139657" y="3163093"/>
              <a:ext cx="377825" cy="371475"/>
            </a:xfrm>
            <a:custGeom>
              <a:avLst/>
              <a:gdLst>
                <a:gd name="T0" fmla="*/ 1 w 714"/>
                <a:gd name="T1" fmla="*/ 155 h 700"/>
                <a:gd name="T2" fmla="*/ 28 w 714"/>
                <a:gd name="T3" fmla="*/ 151 h 700"/>
                <a:gd name="T4" fmla="*/ 35 w 714"/>
                <a:gd name="T5" fmla="*/ 89 h 700"/>
                <a:gd name="T6" fmla="*/ 48 w 714"/>
                <a:gd name="T7" fmla="*/ 89 h 700"/>
                <a:gd name="T8" fmla="*/ 103 w 714"/>
                <a:gd name="T9" fmla="*/ 0 h 700"/>
                <a:gd name="T10" fmla="*/ 238 w 714"/>
                <a:gd name="T11" fmla="*/ 40 h 700"/>
                <a:gd name="T12" fmla="*/ 275 w 714"/>
                <a:gd name="T13" fmla="*/ 96 h 700"/>
                <a:gd name="T14" fmla="*/ 408 w 714"/>
                <a:gd name="T15" fmla="*/ 157 h 700"/>
                <a:gd name="T16" fmla="*/ 477 w 714"/>
                <a:gd name="T17" fmla="*/ 128 h 700"/>
                <a:gd name="T18" fmla="*/ 470 w 714"/>
                <a:gd name="T19" fmla="*/ 98 h 700"/>
                <a:gd name="T20" fmla="*/ 440 w 714"/>
                <a:gd name="T21" fmla="*/ 70 h 700"/>
                <a:gd name="T22" fmla="*/ 443 w 714"/>
                <a:gd name="T23" fmla="*/ 50 h 700"/>
                <a:gd name="T24" fmla="*/ 492 w 714"/>
                <a:gd name="T25" fmla="*/ 8 h 700"/>
                <a:gd name="T26" fmla="*/ 589 w 714"/>
                <a:gd name="T27" fmla="*/ 8 h 700"/>
                <a:gd name="T28" fmla="*/ 626 w 714"/>
                <a:gd name="T29" fmla="*/ 57 h 700"/>
                <a:gd name="T30" fmla="*/ 704 w 714"/>
                <a:gd name="T31" fmla="*/ 69 h 700"/>
                <a:gd name="T32" fmla="*/ 714 w 714"/>
                <a:gd name="T33" fmla="*/ 700 h 700"/>
                <a:gd name="T34" fmla="*/ 656 w 714"/>
                <a:gd name="T35" fmla="*/ 698 h 700"/>
                <a:gd name="T36" fmla="*/ 306 w 714"/>
                <a:gd name="T37" fmla="*/ 517 h 700"/>
                <a:gd name="T38" fmla="*/ 269 w 714"/>
                <a:gd name="T39" fmla="*/ 538 h 700"/>
                <a:gd name="T40" fmla="*/ 125 w 714"/>
                <a:gd name="T41" fmla="*/ 501 h 700"/>
                <a:gd name="T42" fmla="*/ 86 w 714"/>
                <a:gd name="T43" fmla="*/ 451 h 700"/>
                <a:gd name="T44" fmla="*/ 29 w 714"/>
                <a:gd name="T45" fmla="*/ 443 h 700"/>
                <a:gd name="T46" fmla="*/ 0 w 714"/>
                <a:gd name="T47" fmla="*/ 391 h 700"/>
                <a:gd name="T48" fmla="*/ 1 w 714"/>
                <a:gd name="T49" fmla="*/ 15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14" h="700">
                  <a:moveTo>
                    <a:pt x="1" y="155"/>
                  </a:moveTo>
                  <a:lnTo>
                    <a:pt x="28" y="151"/>
                  </a:lnTo>
                  <a:lnTo>
                    <a:pt x="35" y="89"/>
                  </a:lnTo>
                  <a:lnTo>
                    <a:pt x="48" y="89"/>
                  </a:lnTo>
                  <a:lnTo>
                    <a:pt x="103" y="0"/>
                  </a:lnTo>
                  <a:lnTo>
                    <a:pt x="238" y="40"/>
                  </a:lnTo>
                  <a:lnTo>
                    <a:pt x="275" y="96"/>
                  </a:lnTo>
                  <a:lnTo>
                    <a:pt x="408" y="157"/>
                  </a:lnTo>
                  <a:lnTo>
                    <a:pt x="477" y="128"/>
                  </a:lnTo>
                  <a:lnTo>
                    <a:pt x="470" y="98"/>
                  </a:lnTo>
                  <a:lnTo>
                    <a:pt x="440" y="70"/>
                  </a:lnTo>
                  <a:lnTo>
                    <a:pt x="443" y="50"/>
                  </a:lnTo>
                  <a:lnTo>
                    <a:pt x="492" y="8"/>
                  </a:lnTo>
                  <a:lnTo>
                    <a:pt x="589" y="8"/>
                  </a:lnTo>
                  <a:lnTo>
                    <a:pt x="626" y="57"/>
                  </a:lnTo>
                  <a:lnTo>
                    <a:pt x="704" y="69"/>
                  </a:lnTo>
                  <a:lnTo>
                    <a:pt x="714" y="700"/>
                  </a:lnTo>
                  <a:lnTo>
                    <a:pt x="656" y="698"/>
                  </a:lnTo>
                  <a:lnTo>
                    <a:pt x="306" y="517"/>
                  </a:lnTo>
                  <a:lnTo>
                    <a:pt x="269" y="538"/>
                  </a:lnTo>
                  <a:lnTo>
                    <a:pt x="125" y="501"/>
                  </a:lnTo>
                  <a:lnTo>
                    <a:pt x="86" y="451"/>
                  </a:lnTo>
                  <a:lnTo>
                    <a:pt x="29" y="443"/>
                  </a:lnTo>
                  <a:lnTo>
                    <a:pt x="0" y="391"/>
                  </a:lnTo>
                  <a:lnTo>
                    <a:pt x="1" y="15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30">
              <a:extLst>
                <a:ext uri="{FF2B5EF4-FFF2-40B4-BE49-F238E27FC236}">
                  <a16:creationId xmlns:a16="http://schemas.microsoft.com/office/drawing/2014/main" id="{6BBB000A-6DBE-4675-AE19-E522F50D5535}"/>
                </a:ext>
              </a:extLst>
            </p:cNvPr>
            <p:cNvSpPr>
              <a:spLocks/>
            </p:cNvSpPr>
            <p:nvPr/>
          </p:nvSpPr>
          <p:spPr bwMode="auto">
            <a:xfrm>
              <a:off x="6520657" y="3191668"/>
              <a:ext cx="260350" cy="284163"/>
            </a:xfrm>
            <a:custGeom>
              <a:avLst/>
              <a:gdLst>
                <a:gd name="T0" fmla="*/ 0 w 493"/>
                <a:gd name="T1" fmla="*/ 17 h 535"/>
                <a:gd name="T2" fmla="*/ 46 w 493"/>
                <a:gd name="T3" fmla="*/ 18 h 535"/>
                <a:gd name="T4" fmla="*/ 135 w 493"/>
                <a:gd name="T5" fmla="*/ 42 h 535"/>
                <a:gd name="T6" fmla="*/ 177 w 493"/>
                <a:gd name="T7" fmla="*/ 43 h 535"/>
                <a:gd name="T8" fmla="*/ 230 w 493"/>
                <a:gd name="T9" fmla="*/ 0 h 535"/>
                <a:gd name="T10" fmla="*/ 254 w 493"/>
                <a:gd name="T11" fmla="*/ 0 h 535"/>
                <a:gd name="T12" fmla="*/ 299 w 493"/>
                <a:gd name="T13" fmla="*/ 24 h 535"/>
                <a:gd name="T14" fmla="*/ 354 w 493"/>
                <a:gd name="T15" fmla="*/ 24 h 535"/>
                <a:gd name="T16" fmla="*/ 365 w 493"/>
                <a:gd name="T17" fmla="*/ 24 h 535"/>
                <a:gd name="T18" fmla="*/ 401 w 493"/>
                <a:gd name="T19" fmla="*/ 127 h 535"/>
                <a:gd name="T20" fmla="*/ 410 w 493"/>
                <a:gd name="T21" fmla="*/ 159 h 535"/>
                <a:gd name="T22" fmla="*/ 420 w 493"/>
                <a:gd name="T23" fmla="*/ 209 h 535"/>
                <a:gd name="T24" fmla="*/ 403 w 493"/>
                <a:gd name="T25" fmla="*/ 221 h 535"/>
                <a:gd name="T26" fmla="*/ 375 w 493"/>
                <a:gd name="T27" fmla="*/ 207 h 535"/>
                <a:gd name="T28" fmla="*/ 341 w 493"/>
                <a:gd name="T29" fmla="*/ 97 h 535"/>
                <a:gd name="T30" fmla="*/ 311 w 493"/>
                <a:gd name="T31" fmla="*/ 95 h 535"/>
                <a:gd name="T32" fmla="*/ 309 w 493"/>
                <a:gd name="T33" fmla="*/ 133 h 535"/>
                <a:gd name="T34" fmla="*/ 329 w 493"/>
                <a:gd name="T35" fmla="*/ 197 h 535"/>
                <a:gd name="T36" fmla="*/ 489 w 493"/>
                <a:gd name="T37" fmla="*/ 396 h 535"/>
                <a:gd name="T38" fmla="*/ 493 w 493"/>
                <a:gd name="T39" fmla="*/ 481 h 535"/>
                <a:gd name="T40" fmla="*/ 446 w 493"/>
                <a:gd name="T41" fmla="*/ 535 h 535"/>
                <a:gd name="T42" fmla="*/ 6 w 493"/>
                <a:gd name="T43" fmla="*/ 530 h 535"/>
                <a:gd name="T44" fmla="*/ 0 w 493"/>
                <a:gd name="T45" fmla="*/ 1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3" h="535">
                  <a:moveTo>
                    <a:pt x="0" y="17"/>
                  </a:moveTo>
                  <a:lnTo>
                    <a:pt x="46" y="18"/>
                  </a:lnTo>
                  <a:lnTo>
                    <a:pt x="135" y="42"/>
                  </a:lnTo>
                  <a:lnTo>
                    <a:pt x="177" y="43"/>
                  </a:lnTo>
                  <a:lnTo>
                    <a:pt x="230" y="0"/>
                  </a:lnTo>
                  <a:lnTo>
                    <a:pt x="254" y="0"/>
                  </a:lnTo>
                  <a:lnTo>
                    <a:pt x="299" y="24"/>
                  </a:lnTo>
                  <a:lnTo>
                    <a:pt x="354" y="24"/>
                  </a:lnTo>
                  <a:lnTo>
                    <a:pt x="365" y="24"/>
                  </a:lnTo>
                  <a:lnTo>
                    <a:pt x="401" y="127"/>
                  </a:lnTo>
                  <a:lnTo>
                    <a:pt x="410" y="159"/>
                  </a:lnTo>
                  <a:lnTo>
                    <a:pt x="420" y="209"/>
                  </a:lnTo>
                  <a:lnTo>
                    <a:pt x="403" y="221"/>
                  </a:lnTo>
                  <a:lnTo>
                    <a:pt x="375" y="207"/>
                  </a:lnTo>
                  <a:lnTo>
                    <a:pt x="341" y="97"/>
                  </a:lnTo>
                  <a:lnTo>
                    <a:pt x="311" y="95"/>
                  </a:lnTo>
                  <a:lnTo>
                    <a:pt x="309" y="133"/>
                  </a:lnTo>
                  <a:lnTo>
                    <a:pt x="329" y="197"/>
                  </a:lnTo>
                  <a:lnTo>
                    <a:pt x="489" y="396"/>
                  </a:lnTo>
                  <a:lnTo>
                    <a:pt x="493" y="481"/>
                  </a:lnTo>
                  <a:lnTo>
                    <a:pt x="446" y="535"/>
                  </a:lnTo>
                  <a:lnTo>
                    <a:pt x="6" y="530"/>
                  </a:lnTo>
                  <a:lnTo>
                    <a:pt x="0" y="1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49" name="Freeform 31">
              <a:extLst>
                <a:ext uri="{FF2B5EF4-FFF2-40B4-BE49-F238E27FC236}">
                  <a16:creationId xmlns:a16="http://schemas.microsoft.com/office/drawing/2014/main" id="{7D5F79F6-09DB-4D37-B15C-4559DADEB3A9}"/>
                </a:ext>
              </a:extLst>
            </p:cNvPr>
            <p:cNvSpPr>
              <a:spLocks/>
            </p:cNvSpPr>
            <p:nvPr/>
          </p:nvSpPr>
          <p:spPr bwMode="auto">
            <a:xfrm>
              <a:off x="6233319" y="3444081"/>
              <a:ext cx="263525" cy="417513"/>
            </a:xfrm>
            <a:custGeom>
              <a:avLst/>
              <a:gdLst>
                <a:gd name="T0" fmla="*/ 43 w 499"/>
                <a:gd name="T1" fmla="*/ 447 h 787"/>
                <a:gd name="T2" fmla="*/ 45 w 499"/>
                <a:gd name="T3" fmla="*/ 396 h 787"/>
                <a:gd name="T4" fmla="*/ 126 w 499"/>
                <a:gd name="T5" fmla="*/ 317 h 787"/>
                <a:gd name="T6" fmla="*/ 148 w 499"/>
                <a:gd name="T7" fmla="*/ 123 h 787"/>
                <a:gd name="T8" fmla="*/ 94 w 499"/>
                <a:gd name="T9" fmla="*/ 19 h 787"/>
                <a:gd name="T10" fmla="*/ 132 w 499"/>
                <a:gd name="T11" fmla="*/ 0 h 787"/>
                <a:gd name="T12" fmla="*/ 499 w 499"/>
                <a:gd name="T13" fmla="*/ 191 h 787"/>
                <a:gd name="T14" fmla="*/ 497 w 499"/>
                <a:gd name="T15" fmla="*/ 378 h 787"/>
                <a:gd name="T16" fmla="*/ 432 w 499"/>
                <a:gd name="T17" fmla="*/ 433 h 787"/>
                <a:gd name="T18" fmla="*/ 432 w 499"/>
                <a:gd name="T19" fmla="*/ 530 h 787"/>
                <a:gd name="T20" fmla="*/ 474 w 499"/>
                <a:gd name="T21" fmla="*/ 612 h 787"/>
                <a:gd name="T22" fmla="*/ 399 w 499"/>
                <a:gd name="T23" fmla="*/ 612 h 787"/>
                <a:gd name="T24" fmla="*/ 275 w 499"/>
                <a:gd name="T25" fmla="*/ 734 h 787"/>
                <a:gd name="T26" fmla="*/ 272 w 499"/>
                <a:gd name="T27" fmla="*/ 771 h 787"/>
                <a:gd name="T28" fmla="*/ 181 w 499"/>
                <a:gd name="T29" fmla="*/ 770 h 787"/>
                <a:gd name="T30" fmla="*/ 180 w 499"/>
                <a:gd name="T31" fmla="*/ 787 h 787"/>
                <a:gd name="T32" fmla="*/ 128 w 499"/>
                <a:gd name="T33" fmla="*/ 780 h 787"/>
                <a:gd name="T34" fmla="*/ 93 w 499"/>
                <a:gd name="T35" fmla="*/ 712 h 787"/>
                <a:gd name="T36" fmla="*/ 65 w 499"/>
                <a:gd name="T37" fmla="*/ 699 h 787"/>
                <a:gd name="T38" fmla="*/ 69 w 499"/>
                <a:gd name="T39" fmla="*/ 679 h 787"/>
                <a:gd name="T40" fmla="*/ 103 w 499"/>
                <a:gd name="T41" fmla="*/ 654 h 787"/>
                <a:gd name="T42" fmla="*/ 103 w 499"/>
                <a:gd name="T43" fmla="*/ 533 h 787"/>
                <a:gd name="T44" fmla="*/ 56 w 499"/>
                <a:gd name="T45" fmla="*/ 526 h 787"/>
                <a:gd name="T46" fmla="*/ 0 w 499"/>
                <a:gd name="T47" fmla="*/ 484 h 787"/>
                <a:gd name="T48" fmla="*/ 43 w 499"/>
                <a:gd name="T49" fmla="*/ 447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9" h="787">
                  <a:moveTo>
                    <a:pt x="43" y="447"/>
                  </a:moveTo>
                  <a:lnTo>
                    <a:pt x="45" y="396"/>
                  </a:lnTo>
                  <a:lnTo>
                    <a:pt x="126" y="317"/>
                  </a:lnTo>
                  <a:lnTo>
                    <a:pt x="148" y="123"/>
                  </a:lnTo>
                  <a:lnTo>
                    <a:pt x="94" y="19"/>
                  </a:lnTo>
                  <a:lnTo>
                    <a:pt x="132" y="0"/>
                  </a:lnTo>
                  <a:lnTo>
                    <a:pt x="499" y="191"/>
                  </a:lnTo>
                  <a:lnTo>
                    <a:pt x="497" y="378"/>
                  </a:lnTo>
                  <a:lnTo>
                    <a:pt x="432" y="433"/>
                  </a:lnTo>
                  <a:lnTo>
                    <a:pt x="432" y="530"/>
                  </a:lnTo>
                  <a:lnTo>
                    <a:pt x="474" y="612"/>
                  </a:lnTo>
                  <a:lnTo>
                    <a:pt x="399" y="612"/>
                  </a:lnTo>
                  <a:lnTo>
                    <a:pt x="275" y="734"/>
                  </a:lnTo>
                  <a:lnTo>
                    <a:pt x="272" y="771"/>
                  </a:lnTo>
                  <a:lnTo>
                    <a:pt x="181" y="770"/>
                  </a:lnTo>
                  <a:lnTo>
                    <a:pt x="180" y="787"/>
                  </a:lnTo>
                  <a:lnTo>
                    <a:pt x="128" y="780"/>
                  </a:lnTo>
                  <a:lnTo>
                    <a:pt x="93" y="712"/>
                  </a:lnTo>
                  <a:lnTo>
                    <a:pt x="65" y="699"/>
                  </a:lnTo>
                  <a:lnTo>
                    <a:pt x="69" y="679"/>
                  </a:lnTo>
                  <a:lnTo>
                    <a:pt x="103" y="654"/>
                  </a:lnTo>
                  <a:lnTo>
                    <a:pt x="103" y="533"/>
                  </a:lnTo>
                  <a:lnTo>
                    <a:pt x="56" y="526"/>
                  </a:lnTo>
                  <a:lnTo>
                    <a:pt x="0" y="484"/>
                  </a:lnTo>
                  <a:lnTo>
                    <a:pt x="43" y="44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33">
              <a:extLst>
                <a:ext uri="{FF2B5EF4-FFF2-40B4-BE49-F238E27FC236}">
                  <a16:creationId xmlns:a16="http://schemas.microsoft.com/office/drawing/2014/main" id="{C2F7C945-A6D0-428F-B3A6-06CB0E3EDF2E}"/>
                </a:ext>
              </a:extLst>
            </p:cNvPr>
            <p:cNvSpPr>
              <a:spLocks/>
            </p:cNvSpPr>
            <p:nvPr/>
          </p:nvSpPr>
          <p:spPr bwMode="auto">
            <a:xfrm>
              <a:off x="6120607" y="3729831"/>
              <a:ext cx="200025" cy="276225"/>
            </a:xfrm>
            <a:custGeom>
              <a:avLst/>
              <a:gdLst>
                <a:gd name="T0" fmla="*/ 0 w 378"/>
                <a:gd name="T1" fmla="*/ 392 h 521"/>
                <a:gd name="T2" fmla="*/ 55 w 378"/>
                <a:gd name="T3" fmla="*/ 442 h 521"/>
                <a:gd name="T4" fmla="*/ 51 w 378"/>
                <a:gd name="T5" fmla="*/ 521 h 521"/>
                <a:gd name="T6" fmla="*/ 353 w 378"/>
                <a:gd name="T7" fmla="*/ 514 h 521"/>
                <a:gd name="T8" fmla="*/ 378 w 378"/>
                <a:gd name="T9" fmla="*/ 486 h 521"/>
                <a:gd name="T10" fmla="*/ 291 w 378"/>
                <a:gd name="T11" fmla="*/ 393 h 521"/>
                <a:gd name="T12" fmla="*/ 278 w 378"/>
                <a:gd name="T13" fmla="*/ 359 h 521"/>
                <a:gd name="T14" fmla="*/ 334 w 378"/>
                <a:gd name="T15" fmla="*/ 256 h 521"/>
                <a:gd name="T16" fmla="*/ 297 w 378"/>
                <a:gd name="T17" fmla="*/ 188 h 521"/>
                <a:gd name="T18" fmla="*/ 265 w 378"/>
                <a:gd name="T19" fmla="*/ 170 h 521"/>
                <a:gd name="T20" fmla="*/ 265 w 378"/>
                <a:gd name="T21" fmla="*/ 136 h 521"/>
                <a:gd name="T22" fmla="*/ 302 w 378"/>
                <a:gd name="T23" fmla="*/ 112 h 521"/>
                <a:gd name="T24" fmla="*/ 304 w 378"/>
                <a:gd name="T25" fmla="*/ 4 h 521"/>
                <a:gd name="T26" fmla="*/ 274 w 378"/>
                <a:gd name="T27" fmla="*/ 0 h 521"/>
                <a:gd name="T28" fmla="*/ 274 w 378"/>
                <a:gd name="T29" fmla="*/ 57 h 521"/>
                <a:gd name="T30" fmla="*/ 146 w 378"/>
                <a:gd name="T31" fmla="*/ 294 h 521"/>
                <a:gd name="T32" fmla="*/ 69 w 378"/>
                <a:gd name="T33" fmla="*/ 298 h 521"/>
                <a:gd name="T34" fmla="*/ 15 w 378"/>
                <a:gd name="T35" fmla="*/ 335 h 521"/>
                <a:gd name="T36" fmla="*/ 0 w 378"/>
                <a:gd name="T37" fmla="*/ 39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8" h="521">
                  <a:moveTo>
                    <a:pt x="0" y="392"/>
                  </a:moveTo>
                  <a:lnTo>
                    <a:pt x="55" y="442"/>
                  </a:lnTo>
                  <a:lnTo>
                    <a:pt x="51" y="521"/>
                  </a:lnTo>
                  <a:lnTo>
                    <a:pt x="353" y="514"/>
                  </a:lnTo>
                  <a:lnTo>
                    <a:pt x="378" y="486"/>
                  </a:lnTo>
                  <a:lnTo>
                    <a:pt x="291" y="393"/>
                  </a:lnTo>
                  <a:lnTo>
                    <a:pt x="278" y="359"/>
                  </a:lnTo>
                  <a:lnTo>
                    <a:pt x="334" y="256"/>
                  </a:lnTo>
                  <a:lnTo>
                    <a:pt x="297" y="188"/>
                  </a:lnTo>
                  <a:lnTo>
                    <a:pt x="265" y="170"/>
                  </a:lnTo>
                  <a:lnTo>
                    <a:pt x="265" y="136"/>
                  </a:lnTo>
                  <a:lnTo>
                    <a:pt x="302" y="112"/>
                  </a:lnTo>
                  <a:lnTo>
                    <a:pt x="304" y="4"/>
                  </a:lnTo>
                  <a:lnTo>
                    <a:pt x="274" y="0"/>
                  </a:lnTo>
                  <a:lnTo>
                    <a:pt x="274" y="57"/>
                  </a:lnTo>
                  <a:lnTo>
                    <a:pt x="146" y="294"/>
                  </a:lnTo>
                  <a:lnTo>
                    <a:pt x="69" y="298"/>
                  </a:lnTo>
                  <a:lnTo>
                    <a:pt x="15" y="335"/>
                  </a:lnTo>
                  <a:lnTo>
                    <a:pt x="0" y="39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3" name="Freeform 34">
              <a:extLst>
                <a:ext uri="{FF2B5EF4-FFF2-40B4-BE49-F238E27FC236}">
                  <a16:creationId xmlns:a16="http://schemas.microsoft.com/office/drawing/2014/main" id="{2C523F70-330C-4EF2-A9B4-1764CFF276B5}"/>
                </a:ext>
              </a:extLst>
            </p:cNvPr>
            <p:cNvSpPr>
              <a:spLocks/>
            </p:cNvSpPr>
            <p:nvPr/>
          </p:nvSpPr>
          <p:spPr bwMode="auto">
            <a:xfrm>
              <a:off x="6833394" y="3574256"/>
              <a:ext cx="147638" cy="147638"/>
            </a:xfrm>
            <a:custGeom>
              <a:avLst/>
              <a:gdLst>
                <a:gd name="T0" fmla="*/ 4 w 279"/>
                <a:gd name="T1" fmla="*/ 180 h 281"/>
                <a:gd name="T2" fmla="*/ 0 w 279"/>
                <a:gd name="T3" fmla="*/ 80 h 281"/>
                <a:gd name="T4" fmla="*/ 67 w 279"/>
                <a:gd name="T5" fmla="*/ 0 h 281"/>
                <a:gd name="T6" fmla="*/ 85 w 279"/>
                <a:gd name="T7" fmla="*/ 14 h 281"/>
                <a:gd name="T8" fmla="*/ 119 w 279"/>
                <a:gd name="T9" fmla="*/ 125 h 281"/>
                <a:gd name="T10" fmla="*/ 279 w 279"/>
                <a:gd name="T11" fmla="*/ 245 h 281"/>
                <a:gd name="T12" fmla="*/ 251 w 279"/>
                <a:gd name="T13" fmla="*/ 281 h 281"/>
                <a:gd name="T14" fmla="*/ 133 w 279"/>
                <a:gd name="T15" fmla="*/ 180 h 281"/>
                <a:gd name="T16" fmla="*/ 4 w 279"/>
                <a:gd name="T17" fmla="*/ 18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281">
                  <a:moveTo>
                    <a:pt x="4" y="180"/>
                  </a:moveTo>
                  <a:lnTo>
                    <a:pt x="0" y="80"/>
                  </a:lnTo>
                  <a:lnTo>
                    <a:pt x="67" y="0"/>
                  </a:lnTo>
                  <a:lnTo>
                    <a:pt x="85" y="14"/>
                  </a:lnTo>
                  <a:lnTo>
                    <a:pt x="119" y="125"/>
                  </a:lnTo>
                  <a:lnTo>
                    <a:pt x="279" y="245"/>
                  </a:lnTo>
                  <a:lnTo>
                    <a:pt x="251" y="281"/>
                  </a:lnTo>
                  <a:lnTo>
                    <a:pt x="133" y="180"/>
                  </a:lnTo>
                  <a:lnTo>
                    <a:pt x="4" y="18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35">
              <a:extLst>
                <a:ext uri="{FF2B5EF4-FFF2-40B4-BE49-F238E27FC236}">
                  <a16:creationId xmlns:a16="http://schemas.microsoft.com/office/drawing/2014/main" id="{284E5E1E-3AB5-448C-BEE3-B484A3C6D8FE}"/>
                </a:ext>
              </a:extLst>
            </p:cNvPr>
            <p:cNvSpPr>
              <a:spLocks/>
            </p:cNvSpPr>
            <p:nvPr/>
          </p:nvSpPr>
          <p:spPr bwMode="auto">
            <a:xfrm>
              <a:off x="6963569" y="3707606"/>
              <a:ext cx="36513" cy="53975"/>
            </a:xfrm>
            <a:custGeom>
              <a:avLst/>
              <a:gdLst>
                <a:gd name="T0" fmla="*/ 10 w 69"/>
                <a:gd name="T1" fmla="*/ 43 h 101"/>
                <a:gd name="T2" fmla="*/ 0 w 69"/>
                <a:gd name="T3" fmla="*/ 101 h 101"/>
                <a:gd name="T4" fmla="*/ 68 w 69"/>
                <a:gd name="T5" fmla="*/ 100 h 101"/>
                <a:gd name="T6" fmla="*/ 69 w 69"/>
                <a:gd name="T7" fmla="*/ 16 h 101"/>
                <a:gd name="T8" fmla="*/ 44 w 69"/>
                <a:gd name="T9" fmla="*/ 0 h 101"/>
                <a:gd name="T10" fmla="*/ 10 w 69"/>
                <a:gd name="T11" fmla="*/ 43 h 101"/>
              </a:gdLst>
              <a:ahLst/>
              <a:cxnLst>
                <a:cxn ang="0">
                  <a:pos x="T0" y="T1"/>
                </a:cxn>
                <a:cxn ang="0">
                  <a:pos x="T2" y="T3"/>
                </a:cxn>
                <a:cxn ang="0">
                  <a:pos x="T4" y="T5"/>
                </a:cxn>
                <a:cxn ang="0">
                  <a:pos x="T6" y="T7"/>
                </a:cxn>
                <a:cxn ang="0">
                  <a:pos x="T8" y="T9"/>
                </a:cxn>
                <a:cxn ang="0">
                  <a:pos x="T10" y="T11"/>
                </a:cxn>
              </a:cxnLst>
              <a:rect l="0" t="0" r="r" b="b"/>
              <a:pathLst>
                <a:path w="69" h="101">
                  <a:moveTo>
                    <a:pt x="10" y="43"/>
                  </a:moveTo>
                  <a:lnTo>
                    <a:pt x="0" y="101"/>
                  </a:lnTo>
                  <a:lnTo>
                    <a:pt x="68" y="100"/>
                  </a:lnTo>
                  <a:lnTo>
                    <a:pt x="69" y="16"/>
                  </a:lnTo>
                  <a:lnTo>
                    <a:pt x="44" y="0"/>
                  </a:lnTo>
                  <a:lnTo>
                    <a:pt x="10" y="4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5" name="Freeform 36">
              <a:extLst>
                <a:ext uri="{FF2B5EF4-FFF2-40B4-BE49-F238E27FC236}">
                  <a16:creationId xmlns:a16="http://schemas.microsoft.com/office/drawing/2014/main" id="{1A034D3F-DAC9-4A1A-8840-FFAC7D5CEEDC}"/>
                </a:ext>
              </a:extLst>
            </p:cNvPr>
            <p:cNvSpPr>
              <a:spLocks/>
            </p:cNvSpPr>
            <p:nvPr/>
          </p:nvSpPr>
          <p:spPr bwMode="auto">
            <a:xfrm>
              <a:off x="6749257" y="3675856"/>
              <a:ext cx="373063" cy="292100"/>
            </a:xfrm>
            <a:custGeom>
              <a:avLst/>
              <a:gdLst>
                <a:gd name="T0" fmla="*/ 38 w 705"/>
                <a:gd name="T1" fmla="*/ 279 h 552"/>
                <a:gd name="T2" fmla="*/ 163 w 705"/>
                <a:gd name="T3" fmla="*/ 0 h 552"/>
                <a:gd name="T4" fmla="*/ 287 w 705"/>
                <a:gd name="T5" fmla="*/ 1 h 552"/>
                <a:gd name="T6" fmla="*/ 396 w 705"/>
                <a:gd name="T7" fmla="*/ 97 h 552"/>
                <a:gd name="T8" fmla="*/ 388 w 705"/>
                <a:gd name="T9" fmla="*/ 176 h 552"/>
                <a:gd name="T10" fmla="*/ 474 w 705"/>
                <a:gd name="T11" fmla="*/ 176 h 552"/>
                <a:gd name="T12" fmla="*/ 483 w 705"/>
                <a:gd name="T13" fmla="*/ 223 h 552"/>
                <a:gd name="T14" fmla="*/ 620 w 705"/>
                <a:gd name="T15" fmla="*/ 305 h 552"/>
                <a:gd name="T16" fmla="*/ 705 w 705"/>
                <a:gd name="T17" fmla="*/ 309 h 552"/>
                <a:gd name="T18" fmla="*/ 544 w 705"/>
                <a:gd name="T19" fmla="*/ 483 h 552"/>
                <a:gd name="T20" fmla="*/ 321 w 705"/>
                <a:gd name="T21" fmla="*/ 552 h 552"/>
                <a:gd name="T22" fmla="*/ 267 w 705"/>
                <a:gd name="T23" fmla="*/ 552 h 552"/>
                <a:gd name="T24" fmla="*/ 169 w 705"/>
                <a:gd name="T25" fmla="*/ 467 h 552"/>
                <a:gd name="T26" fmla="*/ 131 w 705"/>
                <a:gd name="T27" fmla="*/ 451 h 552"/>
                <a:gd name="T28" fmla="*/ 55 w 705"/>
                <a:gd name="T29" fmla="*/ 341 h 552"/>
                <a:gd name="T30" fmla="*/ 6 w 705"/>
                <a:gd name="T31" fmla="*/ 341 h 552"/>
                <a:gd name="T32" fmla="*/ 0 w 705"/>
                <a:gd name="T33" fmla="*/ 291 h 552"/>
                <a:gd name="T34" fmla="*/ 38 w 705"/>
                <a:gd name="T35" fmla="*/ 279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5" h="552">
                  <a:moveTo>
                    <a:pt x="38" y="279"/>
                  </a:moveTo>
                  <a:lnTo>
                    <a:pt x="163" y="0"/>
                  </a:lnTo>
                  <a:lnTo>
                    <a:pt x="287" y="1"/>
                  </a:lnTo>
                  <a:lnTo>
                    <a:pt x="396" y="97"/>
                  </a:lnTo>
                  <a:lnTo>
                    <a:pt x="388" y="176"/>
                  </a:lnTo>
                  <a:lnTo>
                    <a:pt x="474" y="176"/>
                  </a:lnTo>
                  <a:lnTo>
                    <a:pt x="483" y="223"/>
                  </a:lnTo>
                  <a:lnTo>
                    <a:pt x="620" y="305"/>
                  </a:lnTo>
                  <a:lnTo>
                    <a:pt x="705" y="309"/>
                  </a:lnTo>
                  <a:lnTo>
                    <a:pt x="544" y="483"/>
                  </a:lnTo>
                  <a:lnTo>
                    <a:pt x="321" y="552"/>
                  </a:lnTo>
                  <a:lnTo>
                    <a:pt x="267" y="552"/>
                  </a:lnTo>
                  <a:lnTo>
                    <a:pt x="169" y="467"/>
                  </a:lnTo>
                  <a:lnTo>
                    <a:pt x="131" y="451"/>
                  </a:lnTo>
                  <a:lnTo>
                    <a:pt x="55" y="341"/>
                  </a:lnTo>
                  <a:lnTo>
                    <a:pt x="6" y="341"/>
                  </a:lnTo>
                  <a:lnTo>
                    <a:pt x="0" y="291"/>
                  </a:lnTo>
                  <a:lnTo>
                    <a:pt x="38" y="27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6" name="Freeform 37">
              <a:extLst>
                <a:ext uri="{FF2B5EF4-FFF2-40B4-BE49-F238E27FC236}">
                  <a16:creationId xmlns:a16="http://schemas.microsoft.com/office/drawing/2014/main" id="{6677F647-253A-4F69-9239-195A76B719CB}"/>
                </a:ext>
              </a:extLst>
            </p:cNvPr>
            <p:cNvSpPr>
              <a:spLocks/>
            </p:cNvSpPr>
            <p:nvPr/>
          </p:nvSpPr>
          <p:spPr bwMode="auto">
            <a:xfrm>
              <a:off x="7008019" y="3756818"/>
              <a:ext cx="149225" cy="76200"/>
            </a:xfrm>
            <a:custGeom>
              <a:avLst/>
              <a:gdLst>
                <a:gd name="T0" fmla="*/ 0 w 283"/>
                <a:gd name="T1" fmla="*/ 12 h 146"/>
                <a:gd name="T2" fmla="*/ 70 w 283"/>
                <a:gd name="T3" fmla="*/ 60 h 146"/>
                <a:gd name="T4" fmla="*/ 90 w 283"/>
                <a:gd name="T5" fmla="*/ 59 h 146"/>
                <a:gd name="T6" fmla="*/ 264 w 283"/>
                <a:gd name="T7" fmla="*/ 0 h 146"/>
                <a:gd name="T8" fmla="*/ 283 w 283"/>
                <a:gd name="T9" fmla="*/ 63 h 146"/>
                <a:gd name="T10" fmla="*/ 270 w 283"/>
                <a:gd name="T11" fmla="*/ 116 h 146"/>
                <a:gd name="T12" fmla="*/ 232 w 283"/>
                <a:gd name="T13" fmla="*/ 146 h 146"/>
                <a:gd name="T14" fmla="*/ 138 w 283"/>
                <a:gd name="T15" fmla="*/ 140 h 146"/>
                <a:gd name="T16" fmla="*/ 4 w 283"/>
                <a:gd name="T17" fmla="*/ 57 h 146"/>
                <a:gd name="T18" fmla="*/ 0 w 283"/>
                <a:gd name="T19" fmla="*/ 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146">
                  <a:moveTo>
                    <a:pt x="0" y="12"/>
                  </a:moveTo>
                  <a:lnTo>
                    <a:pt x="70" y="60"/>
                  </a:lnTo>
                  <a:lnTo>
                    <a:pt x="90" y="59"/>
                  </a:lnTo>
                  <a:lnTo>
                    <a:pt x="264" y="0"/>
                  </a:lnTo>
                  <a:lnTo>
                    <a:pt x="283" y="63"/>
                  </a:lnTo>
                  <a:lnTo>
                    <a:pt x="270" y="116"/>
                  </a:lnTo>
                  <a:lnTo>
                    <a:pt x="232" y="146"/>
                  </a:lnTo>
                  <a:lnTo>
                    <a:pt x="138" y="140"/>
                  </a:lnTo>
                  <a:lnTo>
                    <a:pt x="4" y="57"/>
                  </a:lnTo>
                  <a:lnTo>
                    <a:pt x="0" y="1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7" name="Freeform 38">
              <a:extLst>
                <a:ext uri="{FF2B5EF4-FFF2-40B4-BE49-F238E27FC236}">
                  <a16:creationId xmlns:a16="http://schemas.microsoft.com/office/drawing/2014/main" id="{E6840450-DE5F-4A5B-BAF2-712EE4F55DCE}"/>
                </a:ext>
              </a:extLst>
            </p:cNvPr>
            <p:cNvSpPr>
              <a:spLocks/>
            </p:cNvSpPr>
            <p:nvPr/>
          </p:nvSpPr>
          <p:spPr bwMode="auto">
            <a:xfrm>
              <a:off x="7223919" y="3704431"/>
              <a:ext cx="55563" cy="31750"/>
            </a:xfrm>
            <a:custGeom>
              <a:avLst/>
              <a:gdLst>
                <a:gd name="T0" fmla="*/ 0 w 103"/>
                <a:gd name="T1" fmla="*/ 16 h 58"/>
                <a:gd name="T2" fmla="*/ 36 w 103"/>
                <a:gd name="T3" fmla="*/ 58 h 58"/>
                <a:gd name="T4" fmla="*/ 85 w 103"/>
                <a:gd name="T5" fmla="*/ 28 h 58"/>
                <a:gd name="T6" fmla="*/ 103 w 103"/>
                <a:gd name="T7" fmla="*/ 22 h 58"/>
                <a:gd name="T8" fmla="*/ 81 w 103"/>
                <a:gd name="T9" fmla="*/ 0 h 58"/>
                <a:gd name="T10" fmla="*/ 37 w 103"/>
                <a:gd name="T11" fmla="*/ 12 h 58"/>
                <a:gd name="T12" fmla="*/ 0 w 103"/>
                <a:gd name="T13" fmla="*/ 16 h 58"/>
              </a:gdLst>
              <a:ahLst/>
              <a:cxnLst>
                <a:cxn ang="0">
                  <a:pos x="T0" y="T1"/>
                </a:cxn>
                <a:cxn ang="0">
                  <a:pos x="T2" y="T3"/>
                </a:cxn>
                <a:cxn ang="0">
                  <a:pos x="T4" y="T5"/>
                </a:cxn>
                <a:cxn ang="0">
                  <a:pos x="T6" y="T7"/>
                </a:cxn>
                <a:cxn ang="0">
                  <a:pos x="T8" y="T9"/>
                </a:cxn>
                <a:cxn ang="0">
                  <a:pos x="T10" y="T11"/>
                </a:cxn>
                <a:cxn ang="0">
                  <a:pos x="T12" y="T13"/>
                </a:cxn>
              </a:cxnLst>
              <a:rect l="0" t="0" r="r" b="b"/>
              <a:pathLst>
                <a:path w="103" h="58">
                  <a:moveTo>
                    <a:pt x="0" y="16"/>
                  </a:moveTo>
                  <a:lnTo>
                    <a:pt x="36" y="58"/>
                  </a:lnTo>
                  <a:lnTo>
                    <a:pt x="85" y="28"/>
                  </a:lnTo>
                  <a:lnTo>
                    <a:pt x="103" y="22"/>
                  </a:lnTo>
                  <a:lnTo>
                    <a:pt x="81" y="0"/>
                  </a:lnTo>
                  <a:lnTo>
                    <a:pt x="37" y="12"/>
                  </a:lnTo>
                  <a:lnTo>
                    <a:pt x="0"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8" name="Freeform 39">
              <a:extLst>
                <a:ext uri="{FF2B5EF4-FFF2-40B4-BE49-F238E27FC236}">
                  <a16:creationId xmlns:a16="http://schemas.microsoft.com/office/drawing/2014/main" id="{5490FF1E-5997-4A82-B9AA-974470C216F8}"/>
                </a:ext>
              </a:extLst>
            </p:cNvPr>
            <p:cNvSpPr>
              <a:spLocks/>
            </p:cNvSpPr>
            <p:nvPr/>
          </p:nvSpPr>
          <p:spPr bwMode="auto">
            <a:xfrm>
              <a:off x="6947694" y="3737768"/>
              <a:ext cx="260350" cy="360363"/>
            </a:xfrm>
            <a:custGeom>
              <a:avLst/>
              <a:gdLst>
                <a:gd name="T0" fmla="*/ 391 w 492"/>
                <a:gd name="T1" fmla="*/ 30 h 679"/>
                <a:gd name="T2" fmla="*/ 465 w 492"/>
                <a:gd name="T3" fmla="*/ 0 h 679"/>
                <a:gd name="T4" fmla="*/ 492 w 492"/>
                <a:gd name="T5" fmla="*/ 16 h 679"/>
                <a:gd name="T6" fmla="*/ 489 w 492"/>
                <a:gd name="T7" fmla="*/ 83 h 679"/>
                <a:gd name="T8" fmla="*/ 420 w 492"/>
                <a:gd name="T9" fmla="*/ 279 h 679"/>
                <a:gd name="T10" fmla="*/ 47 w 492"/>
                <a:gd name="T11" fmla="*/ 679 h 679"/>
                <a:gd name="T12" fmla="*/ 3 w 492"/>
                <a:gd name="T13" fmla="*/ 650 h 679"/>
                <a:gd name="T14" fmla="*/ 0 w 492"/>
                <a:gd name="T15" fmla="*/ 481 h 679"/>
                <a:gd name="T16" fmla="*/ 56 w 492"/>
                <a:gd name="T17" fmla="*/ 416 h 679"/>
                <a:gd name="T18" fmla="*/ 176 w 492"/>
                <a:gd name="T19" fmla="*/ 380 h 679"/>
                <a:gd name="T20" fmla="*/ 350 w 492"/>
                <a:gd name="T21" fmla="*/ 195 h 679"/>
                <a:gd name="T22" fmla="*/ 396 w 492"/>
                <a:gd name="T23" fmla="*/ 154 h 679"/>
                <a:gd name="T24" fmla="*/ 409 w 492"/>
                <a:gd name="T25" fmla="*/ 95 h 679"/>
                <a:gd name="T26" fmla="*/ 391 w 492"/>
                <a:gd name="T27" fmla="*/ 30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679">
                  <a:moveTo>
                    <a:pt x="391" y="30"/>
                  </a:moveTo>
                  <a:lnTo>
                    <a:pt x="465" y="0"/>
                  </a:lnTo>
                  <a:lnTo>
                    <a:pt x="492" y="16"/>
                  </a:lnTo>
                  <a:lnTo>
                    <a:pt x="489" y="83"/>
                  </a:lnTo>
                  <a:lnTo>
                    <a:pt x="420" y="279"/>
                  </a:lnTo>
                  <a:lnTo>
                    <a:pt x="47" y="679"/>
                  </a:lnTo>
                  <a:lnTo>
                    <a:pt x="3" y="650"/>
                  </a:lnTo>
                  <a:lnTo>
                    <a:pt x="0" y="481"/>
                  </a:lnTo>
                  <a:lnTo>
                    <a:pt x="56" y="416"/>
                  </a:lnTo>
                  <a:lnTo>
                    <a:pt x="176" y="380"/>
                  </a:lnTo>
                  <a:lnTo>
                    <a:pt x="350" y="195"/>
                  </a:lnTo>
                  <a:lnTo>
                    <a:pt x="396" y="154"/>
                  </a:lnTo>
                  <a:lnTo>
                    <a:pt x="409" y="95"/>
                  </a:lnTo>
                  <a:lnTo>
                    <a:pt x="391" y="3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40">
              <a:extLst>
                <a:ext uri="{FF2B5EF4-FFF2-40B4-BE49-F238E27FC236}">
                  <a16:creationId xmlns:a16="http://schemas.microsoft.com/office/drawing/2014/main" id="{00D39D64-F9E4-4E81-9141-8E4DD74A0052}"/>
                </a:ext>
              </a:extLst>
            </p:cNvPr>
            <p:cNvSpPr>
              <a:spLocks/>
            </p:cNvSpPr>
            <p:nvPr/>
          </p:nvSpPr>
          <p:spPr bwMode="auto">
            <a:xfrm>
              <a:off x="6276182" y="3775868"/>
              <a:ext cx="330200" cy="204788"/>
            </a:xfrm>
            <a:custGeom>
              <a:avLst/>
              <a:gdLst>
                <a:gd name="T0" fmla="*/ 12 w 624"/>
                <a:gd name="T1" fmla="*/ 300 h 386"/>
                <a:gd name="T2" fmla="*/ 91 w 624"/>
                <a:gd name="T3" fmla="*/ 386 h 386"/>
                <a:gd name="T4" fmla="*/ 122 w 624"/>
                <a:gd name="T5" fmla="*/ 345 h 386"/>
                <a:gd name="T6" fmla="*/ 173 w 624"/>
                <a:gd name="T7" fmla="*/ 347 h 386"/>
                <a:gd name="T8" fmla="*/ 183 w 624"/>
                <a:gd name="T9" fmla="*/ 308 h 386"/>
                <a:gd name="T10" fmla="*/ 233 w 624"/>
                <a:gd name="T11" fmla="*/ 277 h 386"/>
                <a:gd name="T12" fmla="*/ 335 w 624"/>
                <a:gd name="T13" fmla="*/ 347 h 386"/>
                <a:gd name="T14" fmla="*/ 394 w 624"/>
                <a:gd name="T15" fmla="*/ 288 h 386"/>
                <a:gd name="T16" fmla="*/ 624 w 624"/>
                <a:gd name="T17" fmla="*/ 299 h 386"/>
                <a:gd name="T18" fmla="*/ 411 w 624"/>
                <a:gd name="T19" fmla="*/ 79 h 386"/>
                <a:gd name="T20" fmla="*/ 440 w 624"/>
                <a:gd name="T21" fmla="*/ 61 h 386"/>
                <a:gd name="T22" fmla="*/ 444 w 624"/>
                <a:gd name="T23" fmla="*/ 23 h 386"/>
                <a:gd name="T24" fmla="*/ 395 w 624"/>
                <a:gd name="T25" fmla="*/ 0 h 386"/>
                <a:gd name="T26" fmla="*/ 324 w 624"/>
                <a:gd name="T27" fmla="*/ 0 h 386"/>
                <a:gd name="T28" fmla="*/ 211 w 624"/>
                <a:gd name="T29" fmla="*/ 113 h 386"/>
                <a:gd name="T30" fmla="*/ 207 w 624"/>
                <a:gd name="T31" fmla="*/ 160 h 386"/>
                <a:gd name="T32" fmla="*/ 115 w 624"/>
                <a:gd name="T33" fmla="*/ 157 h 386"/>
                <a:gd name="T34" fmla="*/ 113 w 624"/>
                <a:gd name="T35" fmla="*/ 177 h 386"/>
                <a:gd name="T36" fmla="*/ 53 w 624"/>
                <a:gd name="T37" fmla="*/ 171 h 386"/>
                <a:gd name="T38" fmla="*/ 0 w 624"/>
                <a:gd name="T39" fmla="*/ 272 h 386"/>
                <a:gd name="T40" fmla="*/ 12 w 624"/>
                <a:gd name="T41" fmla="*/ 30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4" h="386">
                  <a:moveTo>
                    <a:pt x="12" y="300"/>
                  </a:moveTo>
                  <a:lnTo>
                    <a:pt x="91" y="386"/>
                  </a:lnTo>
                  <a:lnTo>
                    <a:pt x="122" y="345"/>
                  </a:lnTo>
                  <a:lnTo>
                    <a:pt x="173" y="347"/>
                  </a:lnTo>
                  <a:lnTo>
                    <a:pt x="183" y="308"/>
                  </a:lnTo>
                  <a:lnTo>
                    <a:pt x="233" y="277"/>
                  </a:lnTo>
                  <a:lnTo>
                    <a:pt x="335" y="347"/>
                  </a:lnTo>
                  <a:lnTo>
                    <a:pt x="394" y="288"/>
                  </a:lnTo>
                  <a:lnTo>
                    <a:pt x="624" y="299"/>
                  </a:lnTo>
                  <a:lnTo>
                    <a:pt x="411" y="79"/>
                  </a:lnTo>
                  <a:lnTo>
                    <a:pt x="440" y="61"/>
                  </a:lnTo>
                  <a:lnTo>
                    <a:pt x="444" y="23"/>
                  </a:lnTo>
                  <a:lnTo>
                    <a:pt x="395" y="0"/>
                  </a:lnTo>
                  <a:lnTo>
                    <a:pt x="324" y="0"/>
                  </a:lnTo>
                  <a:lnTo>
                    <a:pt x="211" y="113"/>
                  </a:lnTo>
                  <a:lnTo>
                    <a:pt x="207" y="160"/>
                  </a:lnTo>
                  <a:lnTo>
                    <a:pt x="115" y="157"/>
                  </a:lnTo>
                  <a:lnTo>
                    <a:pt x="113" y="177"/>
                  </a:lnTo>
                  <a:lnTo>
                    <a:pt x="53" y="171"/>
                  </a:lnTo>
                  <a:lnTo>
                    <a:pt x="0" y="272"/>
                  </a:lnTo>
                  <a:lnTo>
                    <a:pt x="12" y="30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0" name="Freeform 41">
              <a:extLst>
                <a:ext uri="{FF2B5EF4-FFF2-40B4-BE49-F238E27FC236}">
                  <a16:creationId xmlns:a16="http://schemas.microsoft.com/office/drawing/2014/main" id="{EDE65B33-C106-4CE9-A7F5-6CEC1F02A2EE}"/>
                </a:ext>
              </a:extLst>
            </p:cNvPr>
            <p:cNvSpPr>
              <a:spLocks/>
            </p:cNvSpPr>
            <p:nvPr/>
          </p:nvSpPr>
          <p:spPr bwMode="auto">
            <a:xfrm>
              <a:off x="6055519" y="4048918"/>
              <a:ext cx="19050" cy="17463"/>
            </a:xfrm>
            <a:custGeom>
              <a:avLst/>
              <a:gdLst>
                <a:gd name="T0" fmla="*/ 0 w 35"/>
                <a:gd name="T1" fmla="*/ 10 h 35"/>
                <a:gd name="T2" fmla="*/ 21 w 35"/>
                <a:gd name="T3" fmla="*/ 0 h 35"/>
                <a:gd name="T4" fmla="*/ 35 w 35"/>
                <a:gd name="T5" fmla="*/ 12 h 35"/>
                <a:gd name="T6" fmla="*/ 21 w 35"/>
                <a:gd name="T7" fmla="*/ 35 h 35"/>
                <a:gd name="T8" fmla="*/ 2 w 35"/>
                <a:gd name="T9" fmla="*/ 28 h 35"/>
                <a:gd name="T10" fmla="*/ 0 w 35"/>
                <a:gd name="T11" fmla="*/ 10 h 35"/>
              </a:gdLst>
              <a:ahLst/>
              <a:cxnLst>
                <a:cxn ang="0">
                  <a:pos x="T0" y="T1"/>
                </a:cxn>
                <a:cxn ang="0">
                  <a:pos x="T2" y="T3"/>
                </a:cxn>
                <a:cxn ang="0">
                  <a:pos x="T4" y="T5"/>
                </a:cxn>
                <a:cxn ang="0">
                  <a:pos x="T6" y="T7"/>
                </a:cxn>
                <a:cxn ang="0">
                  <a:pos x="T8" y="T9"/>
                </a:cxn>
                <a:cxn ang="0">
                  <a:pos x="T10" y="T11"/>
                </a:cxn>
              </a:cxnLst>
              <a:rect l="0" t="0" r="r" b="b"/>
              <a:pathLst>
                <a:path w="35" h="35">
                  <a:moveTo>
                    <a:pt x="0" y="10"/>
                  </a:moveTo>
                  <a:lnTo>
                    <a:pt x="21" y="0"/>
                  </a:lnTo>
                  <a:lnTo>
                    <a:pt x="35" y="12"/>
                  </a:lnTo>
                  <a:lnTo>
                    <a:pt x="21" y="35"/>
                  </a:lnTo>
                  <a:lnTo>
                    <a:pt x="2" y="28"/>
                  </a:lnTo>
                  <a:lnTo>
                    <a:pt x="0" y="1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1" name="Freeform 42">
              <a:extLst>
                <a:ext uri="{FF2B5EF4-FFF2-40B4-BE49-F238E27FC236}">
                  <a16:creationId xmlns:a16="http://schemas.microsoft.com/office/drawing/2014/main" id="{73DD5990-CC71-451E-96E6-8875758ABEC1}"/>
                </a:ext>
              </a:extLst>
            </p:cNvPr>
            <p:cNvSpPr>
              <a:spLocks/>
            </p:cNvSpPr>
            <p:nvPr/>
          </p:nvSpPr>
          <p:spPr bwMode="auto">
            <a:xfrm>
              <a:off x="6077744" y="4018756"/>
              <a:ext cx="20638" cy="17463"/>
            </a:xfrm>
            <a:custGeom>
              <a:avLst/>
              <a:gdLst>
                <a:gd name="T0" fmla="*/ 0 w 40"/>
                <a:gd name="T1" fmla="*/ 5 h 35"/>
                <a:gd name="T2" fmla="*/ 29 w 40"/>
                <a:gd name="T3" fmla="*/ 0 h 35"/>
                <a:gd name="T4" fmla="*/ 40 w 40"/>
                <a:gd name="T5" fmla="*/ 18 h 35"/>
                <a:gd name="T6" fmla="*/ 25 w 40"/>
                <a:gd name="T7" fmla="*/ 35 h 35"/>
                <a:gd name="T8" fmla="*/ 10 w 40"/>
                <a:gd name="T9" fmla="*/ 32 h 35"/>
                <a:gd name="T10" fmla="*/ 0 w 40"/>
                <a:gd name="T11" fmla="*/ 5 h 35"/>
              </a:gdLst>
              <a:ahLst/>
              <a:cxnLst>
                <a:cxn ang="0">
                  <a:pos x="T0" y="T1"/>
                </a:cxn>
                <a:cxn ang="0">
                  <a:pos x="T2" y="T3"/>
                </a:cxn>
                <a:cxn ang="0">
                  <a:pos x="T4" y="T5"/>
                </a:cxn>
                <a:cxn ang="0">
                  <a:pos x="T6" y="T7"/>
                </a:cxn>
                <a:cxn ang="0">
                  <a:pos x="T8" y="T9"/>
                </a:cxn>
                <a:cxn ang="0">
                  <a:pos x="T10" y="T11"/>
                </a:cxn>
              </a:cxnLst>
              <a:rect l="0" t="0" r="r" b="b"/>
              <a:pathLst>
                <a:path w="40" h="35">
                  <a:moveTo>
                    <a:pt x="0" y="5"/>
                  </a:moveTo>
                  <a:lnTo>
                    <a:pt x="29" y="0"/>
                  </a:lnTo>
                  <a:lnTo>
                    <a:pt x="40" y="18"/>
                  </a:lnTo>
                  <a:lnTo>
                    <a:pt x="25" y="35"/>
                  </a:lnTo>
                  <a:lnTo>
                    <a:pt x="10" y="32"/>
                  </a:lnTo>
                  <a:lnTo>
                    <a:pt x="0" y="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2" name="Freeform 43">
              <a:extLst>
                <a:ext uri="{FF2B5EF4-FFF2-40B4-BE49-F238E27FC236}">
                  <a16:creationId xmlns:a16="http://schemas.microsoft.com/office/drawing/2014/main" id="{49E398A5-D906-4AE8-A32E-0C66FE397E98}"/>
                </a:ext>
              </a:extLst>
            </p:cNvPr>
            <p:cNvSpPr>
              <a:spLocks/>
            </p:cNvSpPr>
            <p:nvPr/>
          </p:nvSpPr>
          <p:spPr bwMode="auto">
            <a:xfrm>
              <a:off x="6107907" y="3963193"/>
              <a:ext cx="23813" cy="26988"/>
            </a:xfrm>
            <a:custGeom>
              <a:avLst/>
              <a:gdLst>
                <a:gd name="T0" fmla="*/ 8 w 46"/>
                <a:gd name="T1" fmla="*/ 6 h 52"/>
                <a:gd name="T2" fmla="*/ 0 w 46"/>
                <a:gd name="T3" fmla="*/ 39 h 52"/>
                <a:gd name="T4" fmla="*/ 24 w 46"/>
                <a:gd name="T5" fmla="*/ 52 h 52"/>
                <a:gd name="T6" fmla="*/ 46 w 46"/>
                <a:gd name="T7" fmla="*/ 35 h 52"/>
                <a:gd name="T8" fmla="*/ 38 w 46"/>
                <a:gd name="T9" fmla="*/ 0 h 52"/>
                <a:gd name="T10" fmla="*/ 8 w 46"/>
                <a:gd name="T11" fmla="*/ 6 h 52"/>
              </a:gdLst>
              <a:ahLst/>
              <a:cxnLst>
                <a:cxn ang="0">
                  <a:pos x="T0" y="T1"/>
                </a:cxn>
                <a:cxn ang="0">
                  <a:pos x="T2" y="T3"/>
                </a:cxn>
                <a:cxn ang="0">
                  <a:pos x="T4" y="T5"/>
                </a:cxn>
                <a:cxn ang="0">
                  <a:pos x="T6" y="T7"/>
                </a:cxn>
                <a:cxn ang="0">
                  <a:pos x="T8" y="T9"/>
                </a:cxn>
                <a:cxn ang="0">
                  <a:pos x="T10" y="T11"/>
                </a:cxn>
              </a:cxnLst>
              <a:rect l="0" t="0" r="r" b="b"/>
              <a:pathLst>
                <a:path w="46" h="52">
                  <a:moveTo>
                    <a:pt x="8" y="6"/>
                  </a:moveTo>
                  <a:lnTo>
                    <a:pt x="0" y="39"/>
                  </a:lnTo>
                  <a:lnTo>
                    <a:pt x="24" y="52"/>
                  </a:lnTo>
                  <a:lnTo>
                    <a:pt x="46" y="35"/>
                  </a:lnTo>
                  <a:lnTo>
                    <a:pt x="38" y="0"/>
                  </a:lnTo>
                  <a:lnTo>
                    <a:pt x="8" y="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3" name="Freeform 44">
              <a:extLst>
                <a:ext uri="{FF2B5EF4-FFF2-40B4-BE49-F238E27FC236}">
                  <a16:creationId xmlns:a16="http://schemas.microsoft.com/office/drawing/2014/main" id="{3905385E-D854-4637-B1CB-60923352420A}"/>
                </a:ext>
              </a:extLst>
            </p:cNvPr>
            <p:cNvSpPr>
              <a:spLocks/>
            </p:cNvSpPr>
            <p:nvPr/>
          </p:nvSpPr>
          <p:spPr bwMode="auto">
            <a:xfrm>
              <a:off x="6114257" y="4012406"/>
              <a:ext cx="160338" cy="161925"/>
            </a:xfrm>
            <a:custGeom>
              <a:avLst/>
              <a:gdLst>
                <a:gd name="T0" fmla="*/ 157 w 301"/>
                <a:gd name="T1" fmla="*/ 2 h 308"/>
                <a:gd name="T2" fmla="*/ 155 w 301"/>
                <a:gd name="T3" fmla="*/ 44 h 308"/>
                <a:gd name="T4" fmla="*/ 59 w 301"/>
                <a:gd name="T5" fmla="*/ 42 h 308"/>
                <a:gd name="T6" fmla="*/ 0 w 301"/>
                <a:gd name="T7" fmla="*/ 156 h 308"/>
                <a:gd name="T8" fmla="*/ 139 w 301"/>
                <a:gd name="T9" fmla="*/ 308 h 308"/>
                <a:gd name="T10" fmla="*/ 174 w 301"/>
                <a:gd name="T11" fmla="*/ 280 h 308"/>
                <a:gd name="T12" fmla="*/ 173 w 301"/>
                <a:gd name="T13" fmla="*/ 250 h 308"/>
                <a:gd name="T14" fmla="*/ 148 w 301"/>
                <a:gd name="T15" fmla="*/ 239 h 308"/>
                <a:gd name="T16" fmla="*/ 148 w 301"/>
                <a:gd name="T17" fmla="*/ 218 h 308"/>
                <a:gd name="T18" fmla="*/ 202 w 301"/>
                <a:gd name="T19" fmla="*/ 185 h 308"/>
                <a:gd name="T20" fmla="*/ 249 w 301"/>
                <a:gd name="T21" fmla="*/ 220 h 308"/>
                <a:gd name="T22" fmla="*/ 301 w 301"/>
                <a:gd name="T23" fmla="*/ 221 h 308"/>
                <a:gd name="T24" fmla="*/ 300 w 301"/>
                <a:gd name="T25" fmla="*/ 41 h 308"/>
                <a:gd name="T26" fmla="*/ 217 w 301"/>
                <a:gd name="T27" fmla="*/ 37 h 308"/>
                <a:gd name="T28" fmla="*/ 216 w 301"/>
                <a:gd name="T29" fmla="*/ 0 h 308"/>
                <a:gd name="T30" fmla="*/ 157 w 301"/>
                <a:gd name="T31" fmla="*/ 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 h="308">
                  <a:moveTo>
                    <a:pt x="157" y="2"/>
                  </a:moveTo>
                  <a:lnTo>
                    <a:pt x="155" y="44"/>
                  </a:lnTo>
                  <a:lnTo>
                    <a:pt x="59" y="42"/>
                  </a:lnTo>
                  <a:lnTo>
                    <a:pt x="0" y="156"/>
                  </a:lnTo>
                  <a:lnTo>
                    <a:pt x="139" y="308"/>
                  </a:lnTo>
                  <a:lnTo>
                    <a:pt x="174" y="280"/>
                  </a:lnTo>
                  <a:lnTo>
                    <a:pt x="173" y="250"/>
                  </a:lnTo>
                  <a:lnTo>
                    <a:pt x="148" y="239"/>
                  </a:lnTo>
                  <a:lnTo>
                    <a:pt x="148" y="218"/>
                  </a:lnTo>
                  <a:lnTo>
                    <a:pt x="202" y="185"/>
                  </a:lnTo>
                  <a:lnTo>
                    <a:pt x="249" y="220"/>
                  </a:lnTo>
                  <a:lnTo>
                    <a:pt x="301" y="221"/>
                  </a:lnTo>
                  <a:lnTo>
                    <a:pt x="300" y="41"/>
                  </a:lnTo>
                  <a:lnTo>
                    <a:pt x="217" y="37"/>
                  </a:lnTo>
                  <a:lnTo>
                    <a:pt x="216" y="0"/>
                  </a:lnTo>
                  <a:lnTo>
                    <a:pt x="157" y="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45">
              <a:extLst>
                <a:ext uri="{FF2B5EF4-FFF2-40B4-BE49-F238E27FC236}">
                  <a16:creationId xmlns:a16="http://schemas.microsoft.com/office/drawing/2014/main" id="{55347CB7-9956-40B2-B6D0-DCD3FDBDAA42}"/>
                </a:ext>
              </a:extLst>
            </p:cNvPr>
            <p:cNvSpPr>
              <a:spLocks/>
            </p:cNvSpPr>
            <p:nvPr/>
          </p:nvSpPr>
          <p:spPr bwMode="auto">
            <a:xfrm>
              <a:off x="6149182" y="4013993"/>
              <a:ext cx="41275" cy="14288"/>
            </a:xfrm>
            <a:custGeom>
              <a:avLst/>
              <a:gdLst>
                <a:gd name="T0" fmla="*/ 1 w 78"/>
                <a:gd name="T1" fmla="*/ 0 h 27"/>
                <a:gd name="T2" fmla="*/ 0 w 78"/>
                <a:gd name="T3" fmla="*/ 23 h 27"/>
                <a:gd name="T4" fmla="*/ 78 w 78"/>
                <a:gd name="T5" fmla="*/ 27 h 27"/>
                <a:gd name="T6" fmla="*/ 77 w 78"/>
                <a:gd name="T7" fmla="*/ 1 h 27"/>
                <a:gd name="T8" fmla="*/ 1 w 78"/>
                <a:gd name="T9" fmla="*/ 0 h 27"/>
              </a:gdLst>
              <a:ahLst/>
              <a:cxnLst>
                <a:cxn ang="0">
                  <a:pos x="T0" y="T1"/>
                </a:cxn>
                <a:cxn ang="0">
                  <a:pos x="T2" y="T3"/>
                </a:cxn>
                <a:cxn ang="0">
                  <a:pos x="T4" y="T5"/>
                </a:cxn>
                <a:cxn ang="0">
                  <a:pos x="T6" y="T7"/>
                </a:cxn>
                <a:cxn ang="0">
                  <a:pos x="T8" y="T9"/>
                </a:cxn>
              </a:cxnLst>
              <a:rect l="0" t="0" r="r" b="b"/>
              <a:pathLst>
                <a:path w="78" h="27">
                  <a:moveTo>
                    <a:pt x="1" y="0"/>
                  </a:moveTo>
                  <a:lnTo>
                    <a:pt x="0" y="23"/>
                  </a:lnTo>
                  <a:lnTo>
                    <a:pt x="78" y="27"/>
                  </a:lnTo>
                  <a:lnTo>
                    <a:pt x="77" y="1"/>
                  </a:ln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5" name="Freeform 46">
              <a:extLst>
                <a:ext uri="{FF2B5EF4-FFF2-40B4-BE49-F238E27FC236}">
                  <a16:creationId xmlns:a16="http://schemas.microsoft.com/office/drawing/2014/main" id="{CC544803-2A85-4122-9C72-49D91074E4C7}"/>
                </a:ext>
              </a:extLst>
            </p:cNvPr>
            <p:cNvSpPr>
              <a:spLocks/>
            </p:cNvSpPr>
            <p:nvPr/>
          </p:nvSpPr>
          <p:spPr bwMode="auto">
            <a:xfrm>
              <a:off x="6190457" y="3969543"/>
              <a:ext cx="177800" cy="225425"/>
            </a:xfrm>
            <a:custGeom>
              <a:avLst/>
              <a:gdLst>
                <a:gd name="T0" fmla="*/ 93 w 335"/>
                <a:gd name="T1" fmla="*/ 80 h 425"/>
                <a:gd name="T2" fmla="*/ 92 w 335"/>
                <a:gd name="T3" fmla="*/ 105 h 425"/>
                <a:gd name="T4" fmla="*/ 175 w 335"/>
                <a:gd name="T5" fmla="*/ 107 h 425"/>
                <a:gd name="T6" fmla="*/ 177 w 335"/>
                <a:gd name="T7" fmla="*/ 319 h 425"/>
                <a:gd name="T8" fmla="*/ 103 w 335"/>
                <a:gd name="T9" fmla="*/ 317 h 425"/>
                <a:gd name="T10" fmla="*/ 59 w 335"/>
                <a:gd name="T11" fmla="*/ 284 h 425"/>
                <a:gd name="T12" fmla="*/ 25 w 335"/>
                <a:gd name="T13" fmla="*/ 302 h 425"/>
                <a:gd name="T14" fmla="*/ 23 w 335"/>
                <a:gd name="T15" fmla="*/ 311 h 425"/>
                <a:gd name="T16" fmla="*/ 42 w 335"/>
                <a:gd name="T17" fmla="*/ 320 h 425"/>
                <a:gd name="T18" fmla="*/ 46 w 335"/>
                <a:gd name="T19" fmla="*/ 364 h 425"/>
                <a:gd name="T20" fmla="*/ 0 w 335"/>
                <a:gd name="T21" fmla="*/ 404 h 425"/>
                <a:gd name="T22" fmla="*/ 10 w 335"/>
                <a:gd name="T23" fmla="*/ 425 h 425"/>
                <a:gd name="T24" fmla="*/ 61 w 335"/>
                <a:gd name="T25" fmla="*/ 384 h 425"/>
                <a:gd name="T26" fmla="*/ 85 w 335"/>
                <a:gd name="T27" fmla="*/ 384 h 425"/>
                <a:gd name="T28" fmla="*/ 93 w 335"/>
                <a:gd name="T29" fmla="*/ 409 h 425"/>
                <a:gd name="T30" fmla="*/ 126 w 335"/>
                <a:gd name="T31" fmla="*/ 422 h 425"/>
                <a:gd name="T32" fmla="*/ 230 w 335"/>
                <a:gd name="T33" fmla="*/ 334 h 425"/>
                <a:gd name="T34" fmla="*/ 228 w 335"/>
                <a:gd name="T35" fmla="*/ 270 h 425"/>
                <a:gd name="T36" fmla="*/ 251 w 335"/>
                <a:gd name="T37" fmla="*/ 217 h 425"/>
                <a:gd name="T38" fmla="*/ 318 w 335"/>
                <a:gd name="T39" fmla="*/ 167 h 425"/>
                <a:gd name="T40" fmla="*/ 335 w 335"/>
                <a:gd name="T41" fmla="*/ 0 h 425"/>
                <a:gd name="T42" fmla="*/ 287 w 335"/>
                <a:gd name="T43" fmla="*/ 0 h 425"/>
                <a:gd name="T44" fmla="*/ 233 w 335"/>
                <a:gd name="T45" fmla="*/ 75 h 425"/>
                <a:gd name="T46" fmla="*/ 93 w 335"/>
                <a:gd name="T47" fmla="*/ 8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5" h="425">
                  <a:moveTo>
                    <a:pt x="93" y="80"/>
                  </a:moveTo>
                  <a:lnTo>
                    <a:pt x="92" y="105"/>
                  </a:lnTo>
                  <a:lnTo>
                    <a:pt x="175" y="107"/>
                  </a:lnTo>
                  <a:lnTo>
                    <a:pt x="177" y="319"/>
                  </a:lnTo>
                  <a:lnTo>
                    <a:pt x="103" y="317"/>
                  </a:lnTo>
                  <a:lnTo>
                    <a:pt x="59" y="284"/>
                  </a:lnTo>
                  <a:lnTo>
                    <a:pt x="25" y="302"/>
                  </a:lnTo>
                  <a:lnTo>
                    <a:pt x="23" y="311"/>
                  </a:lnTo>
                  <a:lnTo>
                    <a:pt x="42" y="320"/>
                  </a:lnTo>
                  <a:lnTo>
                    <a:pt x="46" y="364"/>
                  </a:lnTo>
                  <a:lnTo>
                    <a:pt x="0" y="404"/>
                  </a:lnTo>
                  <a:lnTo>
                    <a:pt x="10" y="425"/>
                  </a:lnTo>
                  <a:lnTo>
                    <a:pt x="61" y="384"/>
                  </a:lnTo>
                  <a:lnTo>
                    <a:pt x="85" y="384"/>
                  </a:lnTo>
                  <a:lnTo>
                    <a:pt x="93" y="409"/>
                  </a:lnTo>
                  <a:lnTo>
                    <a:pt x="126" y="422"/>
                  </a:lnTo>
                  <a:lnTo>
                    <a:pt x="230" y="334"/>
                  </a:lnTo>
                  <a:lnTo>
                    <a:pt x="228" y="270"/>
                  </a:lnTo>
                  <a:lnTo>
                    <a:pt x="251" y="217"/>
                  </a:lnTo>
                  <a:lnTo>
                    <a:pt x="318" y="167"/>
                  </a:lnTo>
                  <a:lnTo>
                    <a:pt x="335" y="0"/>
                  </a:lnTo>
                  <a:lnTo>
                    <a:pt x="287" y="0"/>
                  </a:lnTo>
                  <a:lnTo>
                    <a:pt x="233" y="75"/>
                  </a:lnTo>
                  <a:lnTo>
                    <a:pt x="93" y="8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6" name="Freeform 47">
              <a:extLst>
                <a:ext uri="{FF2B5EF4-FFF2-40B4-BE49-F238E27FC236}">
                  <a16:creationId xmlns:a16="http://schemas.microsoft.com/office/drawing/2014/main" id="{81D64085-AF53-4179-B08A-D8D9DC70FF69}"/>
                </a:ext>
              </a:extLst>
            </p:cNvPr>
            <p:cNvSpPr>
              <a:spLocks/>
            </p:cNvSpPr>
            <p:nvPr/>
          </p:nvSpPr>
          <p:spPr bwMode="auto">
            <a:xfrm>
              <a:off x="6199982" y="4180681"/>
              <a:ext cx="34925" cy="39688"/>
            </a:xfrm>
            <a:custGeom>
              <a:avLst/>
              <a:gdLst>
                <a:gd name="T0" fmla="*/ 0 w 68"/>
                <a:gd name="T1" fmla="*/ 35 h 75"/>
                <a:gd name="T2" fmla="*/ 30 w 68"/>
                <a:gd name="T3" fmla="*/ 75 h 75"/>
                <a:gd name="T4" fmla="*/ 68 w 68"/>
                <a:gd name="T5" fmla="*/ 38 h 75"/>
                <a:gd name="T6" fmla="*/ 57 w 68"/>
                <a:gd name="T7" fmla="*/ 0 h 75"/>
                <a:gd name="T8" fmla="*/ 48 w 68"/>
                <a:gd name="T9" fmla="*/ 0 h 75"/>
                <a:gd name="T10" fmla="*/ 0 w 68"/>
                <a:gd name="T11" fmla="*/ 35 h 75"/>
              </a:gdLst>
              <a:ahLst/>
              <a:cxnLst>
                <a:cxn ang="0">
                  <a:pos x="T0" y="T1"/>
                </a:cxn>
                <a:cxn ang="0">
                  <a:pos x="T2" y="T3"/>
                </a:cxn>
                <a:cxn ang="0">
                  <a:pos x="T4" y="T5"/>
                </a:cxn>
                <a:cxn ang="0">
                  <a:pos x="T6" y="T7"/>
                </a:cxn>
                <a:cxn ang="0">
                  <a:pos x="T8" y="T9"/>
                </a:cxn>
                <a:cxn ang="0">
                  <a:pos x="T10" y="T11"/>
                </a:cxn>
              </a:cxnLst>
              <a:rect l="0" t="0" r="r" b="b"/>
              <a:pathLst>
                <a:path w="68" h="75">
                  <a:moveTo>
                    <a:pt x="0" y="35"/>
                  </a:moveTo>
                  <a:lnTo>
                    <a:pt x="30" y="75"/>
                  </a:lnTo>
                  <a:lnTo>
                    <a:pt x="68" y="38"/>
                  </a:lnTo>
                  <a:lnTo>
                    <a:pt x="57" y="0"/>
                  </a:lnTo>
                  <a:lnTo>
                    <a:pt x="48" y="0"/>
                  </a:lnTo>
                  <a:lnTo>
                    <a:pt x="0" y="3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7" name="Freeform 48">
              <a:extLst>
                <a:ext uri="{FF2B5EF4-FFF2-40B4-BE49-F238E27FC236}">
                  <a16:creationId xmlns:a16="http://schemas.microsoft.com/office/drawing/2014/main" id="{D3997602-F14C-4BE4-9693-6709336A8FA9}"/>
                </a:ext>
              </a:extLst>
            </p:cNvPr>
            <p:cNvSpPr>
              <a:spLocks/>
            </p:cNvSpPr>
            <p:nvPr/>
          </p:nvSpPr>
          <p:spPr bwMode="auto">
            <a:xfrm>
              <a:off x="6225382" y="3933031"/>
              <a:ext cx="477838" cy="485775"/>
            </a:xfrm>
            <a:custGeom>
              <a:avLst/>
              <a:gdLst>
                <a:gd name="T0" fmla="*/ 0 w 903"/>
                <a:gd name="T1" fmla="*/ 546 h 919"/>
                <a:gd name="T2" fmla="*/ 177 w 903"/>
                <a:gd name="T3" fmla="*/ 543 h 919"/>
                <a:gd name="T4" fmla="*/ 212 w 903"/>
                <a:gd name="T5" fmla="*/ 593 h 919"/>
                <a:gd name="T6" fmla="*/ 211 w 903"/>
                <a:gd name="T7" fmla="*/ 631 h 919"/>
                <a:gd name="T8" fmla="*/ 224 w 903"/>
                <a:gd name="T9" fmla="*/ 643 h 919"/>
                <a:gd name="T10" fmla="*/ 312 w 903"/>
                <a:gd name="T11" fmla="*/ 643 h 919"/>
                <a:gd name="T12" fmla="*/ 337 w 903"/>
                <a:gd name="T13" fmla="*/ 593 h 919"/>
                <a:gd name="T14" fmla="*/ 373 w 903"/>
                <a:gd name="T15" fmla="*/ 593 h 919"/>
                <a:gd name="T16" fmla="*/ 387 w 903"/>
                <a:gd name="T17" fmla="*/ 609 h 919"/>
                <a:gd name="T18" fmla="*/ 436 w 903"/>
                <a:gd name="T19" fmla="*/ 608 h 919"/>
                <a:gd name="T20" fmla="*/ 451 w 903"/>
                <a:gd name="T21" fmla="*/ 780 h 919"/>
                <a:gd name="T22" fmla="*/ 536 w 903"/>
                <a:gd name="T23" fmla="*/ 782 h 919"/>
                <a:gd name="T24" fmla="*/ 536 w 903"/>
                <a:gd name="T25" fmla="*/ 795 h 919"/>
                <a:gd name="T26" fmla="*/ 764 w 903"/>
                <a:gd name="T27" fmla="*/ 899 h 919"/>
                <a:gd name="T28" fmla="*/ 774 w 903"/>
                <a:gd name="T29" fmla="*/ 919 h 919"/>
                <a:gd name="T30" fmla="*/ 822 w 903"/>
                <a:gd name="T31" fmla="*/ 919 h 919"/>
                <a:gd name="T32" fmla="*/ 817 w 903"/>
                <a:gd name="T33" fmla="*/ 846 h 919"/>
                <a:gd name="T34" fmla="*/ 731 w 903"/>
                <a:gd name="T35" fmla="*/ 806 h 919"/>
                <a:gd name="T36" fmla="*/ 736 w 903"/>
                <a:gd name="T37" fmla="*/ 751 h 919"/>
                <a:gd name="T38" fmla="*/ 773 w 903"/>
                <a:gd name="T39" fmla="*/ 664 h 919"/>
                <a:gd name="T40" fmla="*/ 859 w 903"/>
                <a:gd name="T41" fmla="*/ 660 h 919"/>
                <a:gd name="T42" fmla="*/ 786 w 903"/>
                <a:gd name="T43" fmla="*/ 419 h 919"/>
                <a:gd name="T44" fmla="*/ 787 w 903"/>
                <a:gd name="T45" fmla="*/ 315 h 919"/>
                <a:gd name="T46" fmla="*/ 902 w 903"/>
                <a:gd name="T47" fmla="*/ 135 h 919"/>
                <a:gd name="T48" fmla="*/ 903 w 903"/>
                <a:gd name="T49" fmla="*/ 109 h 919"/>
                <a:gd name="T50" fmla="*/ 886 w 903"/>
                <a:gd name="T51" fmla="*/ 100 h 919"/>
                <a:gd name="T52" fmla="*/ 887 w 903"/>
                <a:gd name="T53" fmla="*/ 51 h 919"/>
                <a:gd name="T54" fmla="*/ 866 w 903"/>
                <a:gd name="T55" fmla="*/ 49 h 919"/>
                <a:gd name="T56" fmla="*/ 844 w 903"/>
                <a:gd name="T57" fmla="*/ 22 h 919"/>
                <a:gd name="T58" fmla="*/ 496 w 903"/>
                <a:gd name="T59" fmla="*/ 7 h 919"/>
                <a:gd name="T60" fmla="*/ 432 w 903"/>
                <a:gd name="T61" fmla="*/ 69 h 919"/>
                <a:gd name="T62" fmla="*/ 328 w 903"/>
                <a:gd name="T63" fmla="*/ 0 h 919"/>
                <a:gd name="T64" fmla="*/ 290 w 903"/>
                <a:gd name="T65" fmla="*/ 23 h 919"/>
                <a:gd name="T66" fmla="*/ 264 w 903"/>
                <a:gd name="T67" fmla="*/ 247 h 919"/>
                <a:gd name="T68" fmla="*/ 198 w 903"/>
                <a:gd name="T69" fmla="*/ 298 h 919"/>
                <a:gd name="T70" fmla="*/ 178 w 903"/>
                <a:gd name="T71" fmla="*/ 344 h 919"/>
                <a:gd name="T72" fmla="*/ 182 w 903"/>
                <a:gd name="T73" fmla="*/ 411 h 919"/>
                <a:gd name="T74" fmla="*/ 62 w 903"/>
                <a:gd name="T75" fmla="*/ 508 h 919"/>
                <a:gd name="T76" fmla="*/ 31 w 903"/>
                <a:gd name="T77" fmla="*/ 494 h 919"/>
                <a:gd name="T78" fmla="*/ 35 w 903"/>
                <a:gd name="T79" fmla="*/ 512 h 919"/>
                <a:gd name="T80" fmla="*/ 0 w 903"/>
                <a:gd name="T81" fmla="*/ 5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3" h="919">
                  <a:moveTo>
                    <a:pt x="0" y="546"/>
                  </a:moveTo>
                  <a:lnTo>
                    <a:pt x="177" y="543"/>
                  </a:lnTo>
                  <a:lnTo>
                    <a:pt x="212" y="593"/>
                  </a:lnTo>
                  <a:lnTo>
                    <a:pt x="211" y="631"/>
                  </a:lnTo>
                  <a:lnTo>
                    <a:pt x="224" y="643"/>
                  </a:lnTo>
                  <a:lnTo>
                    <a:pt x="312" y="643"/>
                  </a:lnTo>
                  <a:lnTo>
                    <a:pt x="337" y="593"/>
                  </a:lnTo>
                  <a:lnTo>
                    <a:pt x="373" y="593"/>
                  </a:lnTo>
                  <a:lnTo>
                    <a:pt x="387" y="609"/>
                  </a:lnTo>
                  <a:lnTo>
                    <a:pt x="436" y="608"/>
                  </a:lnTo>
                  <a:lnTo>
                    <a:pt x="451" y="780"/>
                  </a:lnTo>
                  <a:lnTo>
                    <a:pt x="536" y="782"/>
                  </a:lnTo>
                  <a:lnTo>
                    <a:pt x="536" y="795"/>
                  </a:lnTo>
                  <a:lnTo>
                    <a:pt x="764" y="899"/>
                  </a:lnTo>
                  <a:lnTo>
                    <a:pt x="774" y="919"/>
                  </a:lnTo>
                  <a:lnTo>
                    <a:pt x="822" y="919"/>
                  </a:lnTo>
                  <a:lnTo>
                    <a:pt x="817" y="846"/>
                  </a:lnTo>
                  <a:lnTo>
                    <a:pt x="731" y="806"/>
                  </a:lnTo>
                  <a:lnTo>
                    <a:pt x="736" y="751"/>
                  </a:lnTo>
                  <a:lnTo>
                    <a:pt x="773" y="664"/>
                  </a:lnTo>
                  <a:lnTo>
                    <a:pt x="859" y="660"/>
                  </a:lnTo>
                  <a:lnTo>
                    <a:pt x="786" y="419"/>
                  </a:lnTo>
                  <a:lnTo>
                    <a:pt x="787" y="315"/>
                  </a:lnTo>
                  <a:lnTo>
                    <a:pt x="902" y="135"/>
                  </a:lnTo>
                  <a:lnTo>
                    <a:pt x="903" y="109"/>
                  </a:lnTo>
                  <a:lnTo>
                    <a:pt x="886" y="100"/>
                  </a:lnTo>
                  <a:lnTo>
                    <a:pt x="887" y="51"/>
                  </a:lnTo>
                  <a:lnTo>
                    <a:pt x="866" y="49"/>
                  </a:lnTo>
                  <a:lnTo>
                    <a:pt x="844" y="22"/>
                  </a:lnTo>
                  <a:lnTo>
                    <a:pt x="496" y="7"/>
                  </a:lnTo>
                  <a:lnTo>
                    <a:pt x="432" y="69"/>
                  </a:lnTo>
                  <a:lnTo>
                    <a:pt x="328" y="0"/>
                  </a:lnTo>
                  <a:lnTo>
                    <a:pt x="290" y="23"/>
                  </a:lnTo>
                  <a:lnTo>
                    <a:pt x="264" y="247"/>
                  </a:lnTo>
                  <a:lnTo>
                    <a:pt x="198" y="298"/>
                  </a:lnTo>
                  <a:lnTo>
                    <a:pt x="178" y="344"/>
                  </a:lnTo>
                  <a:lnTo>
                    <a:pt x="182" y="411"/>
                  </a:lnTo>
                  <a:lnTo>
                    <a:pt x="62" y="508"/>
                  </a:lnTo>
                  <a:lnTo>
                    <a:pt x="31" y="494"/>
                  </a:lnTo>
                  <a:lnTo>
                    <a:pt x="35" y="512"/>
                  </a:lnTo>
                  <a:lnTo>
                    <a:pt x="0" y="5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8" name="Freeform 49">
              <a:extLst>
                <a:ext uri="{FF2B5EF4-FFF2-40B4-BE49-F238E27FC236}">
                  <a16:creationId xmlns:a16="http://schemas.microsoft.com/office/drawing/2014/main" id="{458BA94D-F4F3-4161-A49F-7B129957118D}"/>
                </a:ext>
              </a:extLst>
            </p:cNvPr>
            <p:cNvSpPr>
              <a:spLocks/>
            </p:cNvSpPr>
            <p:nvPr/>
          </p:nvSpPr>
          <p:spPr bwMode="auto">
            <a:xfrm>
              <a:off x="6649244" y="4079081"/>
              <a:ext cx="39688" cy="49213"/>
            </a:xfrm>
            <a:custGeom>
              <a:avLst/>
              <a:gdLst>
                <a:gd name="T0" fmla="*/ 28 w 76"/>
                <a:gd name="T1" fmla="*/ 0 h 93"/>
                <a:gd name="T2" fmla="*/ 76 w 76"/>
                <a:gd name="T3" fmla="*/ 43 h 93"/>
                <a:gd name="T4" fmla="*/ 74 w 76"/>
                <a:gd name="T5" fmla="*/ 91 h 93"/>
                <a:gd name="T6" fmla="*/ 0 w 76"/>
                <a:gd name="T7" fmla="*/ 93 h 93"/>
                <a:gd name="T8" fmla="*/ 0 w 76"/>
                <a:gd name="T9" fmla="*/ 40 h 93"/>
                <a:gd name="T10" fmla="*/ 28 w 76"/>
                <a:gd name="T11" fmla="*/ 0 h 93"/>
              </a:gdLst>
              <a:ahLst/>
              <a:cxnLst>
                <a:cxn ang="0">
                  <a:pos x="T0" y="T1"/>
                </a:cxn>
                <a:cxn ang="0">
                  <a:pos x="T2" y="T3"/>
                </a:cxn>
                <a:cxn ang="0">
                  <a:pos x="T4" y="T5"/>
                </a:cxn>
                <a:cxn ang="0">
                  <a:pos x="T6" y="T7"/>
                </a:cxn>
                <a:cxn ang="0">
                  <a:pos x="T8" y="T9"/>
                </a:cxn>
                <a:cxn ang="0">
                  <a:pos x="T10" y="T11"/>
                </a:cxn>
              </a:cxnLst>
              <a:rect l="0" t="0" r="r" b="b"/>
              <a:pathLst>
                <a:path w="76" h="93">
                  <a:moveTo>
                    <a:pt x="28" y="0"/>
                  </a:moveTo>
                  <a:lnTo>
                    <a:pt x="76" y="43"/>
                  </a:lnTo>
                  <a:lnTo>
                    <a:pt x="74" y="91"/>
                  </a:lnTo>
                  <a:lnTo>
                    <a:pt x="0" y="93"/>
                  </a:lnTo>
                  <a:lnTo>
                    <a:pt x="0" y="40"/>
                  </a:lnTo>
                  <a:lnTo>
                    <a:pt x="2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50">
              <a:extLst>
                <a:ext uri="{FF2B5EF4-FFF2-40B4-BE49-F238E27FC236}">
                  <a16:creationId xmlns:a16="http://schemas.microsoft.com/office/drawing/2014/main" id="{08627306-7A7A-4BE3-9ED4-A0BC7379431F}"/>
                </a:ext>
              </a:extLst>
            </p:cNvPr>
            <p:cNvSpPr>
              <a:spLocks/>
            </p:cNvSpPr>
            <p:nvPr/>
          </p:nvSpPr>
          <p:spPr bwMode="auto">
            <a:xfrm>
              <a:off x="6647657" y="4134643"/>
              <a:ext cx="41275" cy="42863"/>
            </a:xfrm>
            <a:custGeom>
              <a:avLst/>
              <a:gdLst>
                <a:gd name="T0" fmla="*/ 3 w 76"/>
                <a:gd name="T1" fmla="*/ 1 h 79"/>
                <a:gd name="T2" fmla="*/ 76 w 76"/>
                <a:gd name="T3" fmla="*/ 0 h 79"/>
                <a:gd name="T4" fmla="*/ 57 w 76"/>
                <a:gd name="T5" fmla="*/ 64 h 79"/>
                <a:gd name="T6" fmla="*/ 38 w 76"/>
                <a:gd name="T7" fmla="*/ 79 h 79"/>
                <a:gd name="T8" fmla="*/ 16 w 76"/>
                <a:gd name="T9" fmla="*/ 79 h 79"/>
                <a:gd name="T10" fmla="*/ 0 w 76"/>
                <a:gd name="T11" fmla="*/ 37 h 79"/>
                <a:gd name="T12" fmla="*/ 3 w 76"/>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76" h="79">
                  <a:moveTo>
                    <a:pt x="3" y="1"/>
                  </a:moveTo>
                  <a:lnTo>
                    <a:pt x="76" y="0"/>
                  </a:lnTo>
                  <a:lnTo>
                    <a:pt x="57" y="64"/>
                  </a:lnTo>
                  <a:lnTo>
                    <a:pt x="38" y="79"/>
                  </a:lnTo>
                  <a:lnTo>
                    <a:pt x="16" y="79"/>
                  </a:lnTo>
                  <a:lnTo>
                    <a:pt x="0" y="37"/>
                  </a:lnTo>
                  <a:lnTo>
                    <a:pt x="3" y="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0" name="Freeform 51">
              <a:extLst>
                <a:ext uri="{FF2B5EF4-FFF2-40B4-BE49-F238E27FC236}">
                  <a16:creationId xmlns:a16="http://schemas.microsoft.com/office/drawing/2014/main" id="{8B6BAC51-3A01-4F60-BB71-5DDD6974A5C1}"/>
                </a:ext>
              </a:extLst>
            </p:cNvPr>
            <p:cNvSpPr>
              <a:spLocks/>
            </p:cNvSpPr>
            <p:nvPr/>
          </p:nvSpPr>
          <p:spPr bwMode="auto">
            <a:xfrm>
              <a:off x="6668294" y="3960018"/>
              <a:ext cx="128588" cy="136525"/>
            </a:xfrm>
            <a:custGeom>
              <a:avLst/>
              <a:gdLst>
                <a:gd name="T0" fmla="*/ 0 w 243"/>
                <a:gd name="T1" fmla="*/ 211 h 259"/>
                <a:gd name="T2" fmla="*/ 52 w 243"/>
                <a:gd name="T3" fmla="*/ 259 h 259"/>
                <a:gd name="T4" fmla="*/ 85 w 243"/>
                <a:gd name="T5" fmla="*/ 238 h 259"/>
                <a:gd name="T6" fmla="*/ 173 w 243"/>
                <a:gd name="T7" fmla="*/ 224 h 259"/>
                <a:gd name="T8" fmla="*/ 188 w 243"/>
                <a:gd name="T9" fmla="*/ 226 h 259"/>
                <a:gd name="T10" fmla="*/ 193 w 243"/>
                <a:gd name="T11" fmla="*/ 192 h 259"/>
                <a:gd name="T12" fmla="*/ 243 w 243"/>
                <a:gd name="T13" fmla="*/ 88 h 259"/>
                <a:gd name="T14" fmla="*/ 201 w 243"/>
                <a:gd name="T15" fmla="*/ 0 h 259"/>
                <a:gd name="T16" fmla="*/ 66 w 243"/>
                <a:gd name="T17" fmla="*/ 1 h 259"/>
                <a:gd name="T18" fmla="*/ 65 w 243"/>
                <a:gd name="T19" fmla="*/ 37 h 259"/>
                <a:gd name="T20" fmla="*/ 84 w 243"/>
                <a:gd name="T21" fmla="*/ 55 h 259"/>
                <a:gd name="T22" fmla="*/ 81 w 243"/>
                <a:gd name="T23" fmla="*/ 91 h 259"/>
                <a:gd name="T24" fmla="*/ 0 w 243"/>
                <a:gd name="T25" fmla="*/ 21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259">
                  <a:moveTo>
                    <a:pt x="0" y="211"/>
                  </a:moveTo>
                  <a:lnTo>
                    <a:pt x="52" y="259"/>
                  </a:lnTo>
                  <a:lnTo>
                    <a:pt x="85" y="238"/>
                  </a:lnTo>
                  <a:lnTo>
                    <a:pt x="173" y="224"/>
                  </a:lnTo>
                  <a:lnTo>
                    <a:pt x="188" y="226"/>
                  </a:lnTo>
                  <a:lnTo>
                    <a:pt x="193" y="192"/>
                  </a:lnTo>
                  <a:lnTo>
                    <a:pt x="243" y="88"/>
                  </a:lnTo>
                  <a:lnTo>
                    <a:pt x="201" y="0"/>
                  </a:lnTo>
                  <a:lnTo>
                    <a:pt x="66" y="1"/>
                  </a:lnTo>
                  <a:lnTo>
                    <a:pt x="65" y="37"/>
                  </a:lnTo>
                  <a:lnTo>
                    <a:pt x="84" y="55"/>
                  </a:lnTo>
                  <a:lnTo>
                    <a:pt x="81" y="91"/>
                  </a:lnTo>
                  <a:lnTo>
                    <a:pt x="0" y="21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1" name="Freeform 52">
              <a:extLst>
                <a:ext uri="{FF2B5EF4-FFF2-40B4-BE49-F238E27FC236}">
                  <a16:creationId xmlns:a16="http://schemas.microsoft.com/office/drawing/2014/main" id="{B01F886F-E65A-4217-9C93-2EA2D3EF0908}"/>
                </a:ext>
              </a:extLst>
            </p:cNvPr>
            <p:cNvSpPr>
              <a:spLocks/>
            </p:cNvSpPr>
            <p:nvPr/>
          </p:nvSpPr>
          <p:spPr bwMode="auto">
            <a:xfrm>
              <a:off x="6773069" y="3923506"/>
              <a:ext cx="195263" cy="249238"/>
            </a:xfrm>
            <a:custGeom>
              <a:avLst/>
              <a:gdLst>
                <a:gd name="T0" fmla="*/ 18 w 368"/>
                <a:gd name="T1" fmla="*/ 64 h 471"/>
                <a:gd name="T2" fmla="*/ 62 w 368"/>
                <a:gd name="T3" fmla="*/ 153 h 471"/>
                <a:gd name="T4" fmla="*/ 8 w 368"/>
                <a:gd name="T5" fmla="*/ 267 h 471"/>
                <a:gd name="T6" fmla="*/ 0 w 368"/>
                <a:gd name="T7" fmla="*/ 303 h 471"/>
                <a:gd name="T8" fmla="*/ 273 w 368"/>
                <a:gd name="T9" fmla="*/ 471 h 471"/>
                <a:gd name="T10" fmla="*/ 359 w 368"/>
                <a:gd name="T11" fmla="*/ 338 h 471"/>
                <a:gd name="T12" fmla="*/ 315 w 368"/>
                <a:gd name="T13" fmla="*/ 304 h 471"/>
                <a:gd name="T14" fmla="*/ 315 w 368"/>
                <a:gd name="T15" fmla="*/ 128 h 471"/>
                <a:gd name="T16" fmla="*/ 368 w 368"/>
                <a:gd name="T17" fmla="*/ 69 h 471"/>
                <a:gd name="T18" fmla="*/ 282 w 368"/>
                <a:gd name="T19" fmla="*/ 98 h 471"/>
                <a:gd name="T20" fmla="*/ 219 w 368"/>
                <a:gd name="T21" fmla="*/ 99 h 471"/>
                <a:gd name="T22" fmla="*/ 117 w 368"/>
                <a:gd name="T23" fmla="*/ 14 h 471"/>
                <a:gd name="T24" fmla="*/ 86 w 368"/>
                <a:gd name="T25" fmla="*/ 0 h 471"/>
                <a:gd name="T26" fmla="*/ 26 w 368"/>
                <a:gd name="T27" fmla="*/ 5 h 471"/>
                <a:gd name="T28" fmla="*/ 16 w 368"/>
                <a:gd name="T29" fmla="*/ 23 h 471"/>
                <a:gd name="T30" fmla="*/ 18 w 368"/>
                <a:gd name="T31" fmla="*/ 6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471">
                  <a:moveTo>
                    <a:pt x="18" y="64"/>
                  </a:moveTo>
                  <a:lnTo>
                    <a:pt x="62" y="153"/>
                  </a:lnTo>
                  <a:lnTo>
                    <a:pt x="8" y="267"/>
                  </a:lnTo>
                  <a:lnTo>
                    <a:pt x="0" y="303"/>
                  </a:lnTo>
                  <a:lnTo>
                    <a:pt x="273" y="471"/>
                  </a:lnTo>
                  <a:lnTo>
                    <a:pt x="359" y="338"/>
                  </a:lnTo>
                  <a:lnTo>
                    <a:pt x="315" y="304"/>
                  </a:lnTo>
                  <a:lnTo>
                    <a:pt x="315" y="128"/>
                  </a:lnTo>
                  <a:lnTo>
                    <a:pt x="368" y="69"/>
                  </a:lnTo>
                  <a:lnTo>
                    <a:pt x="282" y="98"/>
                  </a:lnTo>
                  <a:lnTo>
                    <a:pt x="219" y="99"/>
                  </a:lnTo>
                  <a:lnTo>
                    <a:pt x="117" y="14"/>
                  </a:lnTo>
                  <a:lnTo>
                    <a:pt x="86" y="0"/>
                  </a:lnTo>
                  <a:lnTo>
                    <a:pt x="26" y="5"/>
                  </a:lnTo>
                  <a:lnTo>
                    <a:pt x="16" y="23"/>
                  </a:lnTo>
                  <a:lnTo>
                    <a:pt x="18" y="6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2" name="Freeform 53">
              <a:extLst>
                <a:ext uri="{FF2B5EF4-FFF2-40B4-BE49-F238E27FC236}">
                  <a16:creationId xmlns:a16="http://schemas.microsoft.com/office/drawing/2014/main" id="{D8DF24BC-1509-4E34-AEC7-2F3AD50A70F7}"/>
                </a:ext>
              </a:extLst>
            </p:cNvPr>
            <p:cNvSpPr>
              <a:spLocks/>
            </p:cNvSpPr>
            <p:nvPr/>
          </p:nvSpPr>
          <p:spPr bwMode="auto">
            <a:xfrm>
              <a:off x="6658769" y="4083843"/>
              <a:ext cx="279400" cy="280988"/>
            </a:xfrm>
            <a:custGeom>
              <a:avLst/>
              <a:gdLst>
                <a:gd name="T0" fmla="*/ 228 w 528"/>
                <a:gd name="T1" fmla="*/ 530 h 530"/>
                <a:gd name="T2" fmla="*/ 528 w 528"/>
                <a:gd name="T3" fmla="*/ 493 h 530"/>
                <a:gd name="T4" fmla="*/ 461 w 528"/>
                <a:gd name="T5" fmla="*/ 363 h 530"/>
                <a:gd name="T6" fmla="*/ 457 w 528"/>
                <a:gd name="T7" fmla="*/ 238 h 530"/>
                <a:gd name="T8" fmla="*/ 478 w 528"/>
                <a:gd name="T9" fmla="*/ 179 h 530"/>
                <a:gd name="T10" fmla="*/ 194 w 528"/>
                <a:gd name="T11" fmla="*/ 0 h 530"/>
                <a:gd name="T12" fmla="*/ 105 w 528"/>
                <a:gd name="T13" fmla="*/ 15 h 530"/>
                <a:gd name="T14" fmla="*/ 74 w 528"/>
                <a:gd name="T15" fmla="*/ 37 h 530"/>
                <a:gd name="T16" fmla="*/ 71 w 528"/>
                <a:gd name="T17" fmla="*/ 90 h 530"/>
                <a:gd name="T18" fmla="*/ 51 w 528"/>
                <a:gd name="T19" fmla="*/ 162 h 530"/>
                <a:gd name="T20" fmla="*/ 31 w 528"/>
                <a:gd name="T21" fmla="*/ 188 h 530"/>
                <a:gd name="T22" fmla="*/ 0 w 528"/>
                <a:gd name="T23" fmla="*/ 190 h 530"/>
                <a:gd name="T24" fmla="*/ 58 w 528"/>
                <a:gd name="T25" fmla="*/ 389 h 530"/>
                <a:gd name="T26" fmla="*/ 151 w 528"/>
                <a:gd name="T27" fmla="*/ 433 h 530"/>
                <a:gd name="T28" fmla="*/ 215 w 528"/>
                <a:gd name="T29" fmla="*/ 435 h 530"/>
                <a:gd name="T30" fmla="*/ 228 w 528"/>
                <a:gd name="T31" fmla="*/ 53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8" h="530">
                  <a:moveTo>
                    <a:pt x="228" y="530"/>
                  </a:moveTo>
                  <a:lnTo>
                    <a:pt x="528" y="493"/>
                  </a:lnTo>
                  <a:lnTo>
                    <a:pt x="461" y="363"/>
                  </a:lnTo>
                  <a:lnTo>
                    <a:pt x="457" y="238"/>
                  </a:lnTo>
                  <a:lnTo>
                    <a:pt x="478" y="179"/>
                  </a:lnTo>
                  <a:lnTo>
                    <a:pt x="194" y="0"/>
                  </a:lnTo>
                  <a:lnTo>
                    <a:pt x="105" y="15"/>
                  </a:lnTo>
                  <a:lnTo>
                    <a:pt x="74" y="37"/>
                  </a:lnTo>
                  <a:lnTo>
                    <a:pt x="71" y="90"/>
                  </a:lnTo>
                  <a:lnTo>
                    <a:pt x="51" y="162"/>
                  </a:lnTo>
                  <a:lnTo>
                    <a:pt x="31" y="188"/>
                  </a:lnTo>
                  <a:lnTo>
                    <a:pt x="0" y="190"/>
                  </a:lnTo>
                  <a:lnTo>
                    <a:pt x="58" y="389"/>
                  </a:lnTo>
                  <a:lnTo>
                    <a:pt x="151" y="433"/>
                  </a:lnTo>
                  <a:lnTo>
                    <a:pt x="215" y="435"/>
                  </a:lnTo>
                  <a:lnTo>
                    <a:pt x="228" y="53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3" name="Freeform 54">
              <a:extLst>
                <a:ext uri="{FF2B5EF4-FFF2-40B4-BE49-F238E27FC236}">
                  <a16:creationId xmlns:a16="http://schemas.microsoft.com/office/drawing/2014/main" id="{F055F1D6-CC1F-47C8-B4E7-8F8E11BD2096}"/>
                </a:ext>
              </a:extLst>
            </p:cNvPr>
            <p:cNvSpPr>
              <a:spLocks/>
            </p:cNvSpPr>
            <p:nvPr/>
          </p:nvSpPr>
          <p:spPr bwMode="auto">
            <a:xfrm>
              <a:off x="6452394" y="4288631"/>
              <a:ext cx="298450" cy="247650"/>
            </a:xfrm>
            <a:custGeom>
              <a:avLst/>
              <a:gdLst>
                <a:gd name="T0" fmla="*/ 0 w 564"/>
                <a:gd name="T1" fmla="*/ 369 h 468"/>
                <a:gd name="T2" fmla="*/ 55 w 564"/>
                <a:gd name="T3" fmla="*/ 445 h 468"/>
                <a:gd name="T4" fmla="*/ 139 w 564"/>
                <a:gd name="T5" fmla="*/ 450 h 468"/>
                <a:gd name="T6" fmla="*/ 169 w 564"/>
                <a:gd name="T7" fmla="*/ 467 h 468"/>
                <a:gd name="T8" fmla="*/ 257 w 564"/>
                <a:gd name="T9" fmla="*/ 468 h 468"/>
                <a:gd name="T10" fmla="*/ 333 w 564"/>
                <a:gd name="T11" fmla="*/ 361 h 468"/>
                <a:gd name="T12" fmla="*/ 544 w 564"/>
                <a:gd name="T13" fmla="*/ 267 h 468"/>
                <a:gd name="T14" fmla="*/ 564 w 564"/>
                <a:gd name="T15" fmla="*/ 182 h 468"/>
                <a:gd name="T16" fmla="*/ 538 w 564"/>
                <a:gd name="T17" fmla="*/ 63 h 468"/>
                <a:gd name="T18" fmla="*/ 428 w 564"/>
                <a:gd name="T19" fmla="*/ 0 h 468"/>
                <a:gd name="T20" fmla="*/ 355 w 564"/>
                <a:gd name="T21" fmla="*/ 5 h 468"/>
                <a:gd name="T22" fmla="*/ 317 w 564"/>
                <a:gd name="T23" fmla="*/ 87 h 468"/>
                <a:gd name="T24" fmla="*/ 318 w 564"/>
                <a:gd name="T25" fmla="*/ 123 h 468"/>
                <a:gd name="T26" fmla="*/ 405 w 564"/>
                <a:gd name="T27" fmla="*/ 166 h 468"/>
                <a:gd name="T28" fmla="*/ 410 w 564"/>
                <a:gd name="T29" fmla="*/ 258 h 468"/>
                <a:gd name="T30" fmla="*/ 335 w 564"/>
                <a:gd name="T31" fmla="*/ 263 h 468"/>
                <a:gd name="T32" fmla="*/ 317 w 564"/>
                <a:gd name="T33" fmla="*/ 231 h 468"/>
                <a:gd name="T34" fmla="*/ 109 w 564"/>
                <a:gd name="T35" fmla="*/ 143 h 468"/>
                <a:gd name="T36" fmla="*/ 103 w 564"/>
                <a:gd name="T37" fmla="*/ 211 h 468"/>
                <a:gd name="T38" fmla="*/ 4 w 564"/>
                <a:gd name="T39" fmla="*/ 214 h 468"/>
                <a:gd name="T40" fmla="*/ 0 w 564"/>
                <a:gd name="T41" fmla="*/ 369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4" h="468">
                  <a:moveTo>
                    <a:pt x="0" y="369"/>
                  </a:moveTo>
                  <a:lnTo>
                    <a:pt x="55" y="445"/>
                  </a:lnTo>
                  <a:lnTo>
                    <a:pt x="139" y="450"/>
                  </a:lnTo>
                  <a:lnTo>
                    <a:pt x="169" y="467"/>
                  </a:lnTo>
                  <a:lnTo>
                    <a:pt x="257" y="468"/>
                  </a:lnTo>
                  <a:lnTo>
                    <a:pt x="333" y="361"/>
                  </a:lnTo>
                  <a:lnTo>
                    <a:pt x="544" y="267"/>
                  </a:lnTo>
                  <a:lnTo>
                    <a:pt x="564" y="182"/>
                  </a:lnTo>
                  <a:lnTo>
                    <a:pt x="538" y="63"/>
                  </a:lnTo>
                  <a:lnTo>
                    <a:pt x="428" y="0"/>
                  </a:lnTo>
                  <a:lnTo>
                    <a:pt x="355" y="5"/>
                  </a:lnTo>
                  <a:lnTo>
                    <a:pt x="317" y="87"/>
                  </a:lnTo>
                  <a:lnTo>
                    <a:pt x="318" y="123"/>
                  </a:lnTo>
                  <a:lnTo>
                    <a:pt x="405" y="166"/>
                  </a:lnTo>
                  <a:lnTo>
                    <a:pt x="410" y="258"/>
                  </a:lnTo>
                  <a:lnTo>
                    <a:pt x="335" y="263"/>
                  </a:lnTo>
                  <a:lnTo>
                    <a:pt x="317" y="231"/>
                  </a:lnTo>
                  <a:lnTo>
                    <a:pt x="109" y="143"/>
                  </a:lnTo>
                  <a:lnTo>
                    <a:pt x="103" y="211"/>
                  </a:lnTo>
                  <a:lnTo>
                    <a:pt x="4" y="214"/>
                  </a:lnTo>
                  <a:lnTo>
                    <a:pt x="0" y="36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4" name="Freeform 55">
              <a:extLst>
                <a:ext uri="{FF2B5EF4-FFF2-40B4-BE49-F238E27FC236}">
                  <a16:creationId xmlns:a16="http://schemas.microsoft.com/office/drawing/2014/main" id="{964715DD-BCF7-46DB-83F9-FD4D4B5A3977}"/>
                </a:ext>
              </a:extLst>
            </p:cNvPr>
            <p:cNvSpPr>
              <a:spLocks/>
            </p:cNvSpPr>
            <p:nvPr/>
          </p:nvSpPr>
          <p:spPr bwMode="auto">
            <a:xfrm>
              <a:off x="6196807" y="4229893"/>
              <a:ext cx="303213" cy="301625"/>
            </a:xfrm>
            <a:custGeom>
              <a:avLst/>
              <a:gdLst>
                <a:gd name="T0" fmla="*/ 42 w 574"/>
                <a:gd name="T1" fmla="*/ 3 h 572"/>
                <a:gd name="T2" fmla="*/ 100 w 574"/>
                <a:gd name="T3" fmla="*/ 221 h 572"/>
                <a:gd name="T4" fmla="*/ 99 w 574"/>
                <a:gd name="T5" fmla="*/ 290 h 572"/>
                <a:gd name="T6" fmla="*/ 13 w 574"/>
                <a:gd name="T7" fmla="*/ 382 h 572"/>
                <a:gd name="T8" fmla="*/ 0 w 574"/>
                <a:gd name="T9" fmla="*/ 531 h 572"/>
                <a:gd name="T10" fmla="*/ 329 w 574"/>
                <a:gd name="T11" fmla="*/ 534 h 572"/>
                <a:gd name="T12" fmla="*/ 436 w 574"/>
                <a:gd name="T13" fmla="*/ 572 h 572"/>
                <a:gd name="T14" fmla="*/ 524 w 574"/>
                <a:gd name="T15" fmla="*/ 561 h 572"/>
                <a:gd name="T16" fmla="*/ 473 w 574"/>
                <a:gd name="T17" fmla="*/ 496 h 572"/>
                <a:gd name="T18" fmla="*/ 473 w 574"/>
                <a:gd name="T19" fmla="*/ 313 h 572"/>
                <a:gd name="T20" fmla="*/ 574 w 574"/>
                <a:gd name="T21" fmla="*/ 309 h 572"/>
                <a:gd name="T22" fmla="*/ 574 w 574"/>
                <a:gd name="T23" fmla="*/ 236 h 572"/>
                <a:gd name="T24" fmla="*/ 492 w 574"/>
                <a:gd name="T25" fmla="*/ 233 h 572"/>
                <a:gd name="T26" fmla="*/ 475 w 574"/>
                <a:gd name="T27" fmla="*/ 64 h 572"/>
                <a:gd name="T28" fmla="*/ 441 w 574"/>
                <a:gd name="T29" fmla="*/ 64 h 572"/>
                <a:gd name="T30" fmla="*/ 422 w 574"/>
                <a:gd name="T31" fmla="*/ 48 h 572"/>
                <a:gd name="T32" fmla="*/ 402 w 574"/>
                <a:gd name="T33" fmla="*/ 49 h 572"/>
                <a:gd name="T34" fmla="*/ 375 w 574"/>
                <a:gd name="T35" fmla="*/ 100 h 572"/>
                <a:gd name="T36" fmla="*/ 271 w 574"/>
                <a:gd name="T37" fmla="*/ 100 h 572"/>
                <a:gd name="T38" fmla="*/ 247 w 574"/>
                <a:gd name="T39" fmla="*/ 76 h 572"/>
                <a:gd name="T40" fmla="*/ 254 w 574"/>
                <a:gd name="T41" fmla="*/ 42 h 572"/>
                <a:gd name="T42" fmla="*/ 226 w 574"/>
                <a:gd name="T43" fmla="*/ 0 h 572"/>
                <a:gd name="T44" fmla="*/ 42 w 574"/>
                <a:gd name="T45" fmla="*/ 3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4" h="572">
                  <a:moveTo>
                    <a:pt x="42" y="3"/>
                  </a:moveTo>
                  <a:lnTo>
                    <a:pt x="100" y="221"/>
                  </a:lnTo>
                  <a:lnTo>
                    <a:pt x="99" y="290"/>
                  </a:lnTo>
                  <a:lnTo>
                    <a:pt x="13" y="382"/>
                  </a:lnTo>
                  <a:lnTo>
                    <a:pt x="0" y="531"/>
                  </a:lnTo>
                  <a:lnTo>
                    <a:pt x="329" y="534"/>
                  </a:lnTo>
                  <a:lnTo>
                    <a:pt x="436" y="572"/>
                  </a:lnTo>
                  <a:lnTo>
                    <a:pt x="524" y="561"/>
                  </a:lnTo>
                  <a:lnTo>
                    <a:pt x="473" y="496"/>
                  </a:lnTo>
                  <a:lnTo>
                    <a:pt x="473" y="313"/>
                  </a:lnTo>
                  <a:lnTo>
                    <a:pt x="574" y="309"/>
                  </a:lnTo>
                  <a:lnTo>
                    <a:pt x="574" y="236"/>
                  </a:lnTo>
                  <a:lnTo>
                    <a:pt x="492" y="233"/>
                  </a:lnTo>
                  <a:lnTo>
                    <a:pt x="475" y="64"/>
                  </a:lnTo>
                  <a:lnTo>
                    <a:pt x="441" y="64"/>
                  </a:lnTo>
                  <a:lnTo>
                    <a:pt x="422" y="48"/>
                  </a:lnTo>
                  <a:lnTo>
                    <a:pt x="402" y="49"/>
                  </a:lnTo>
                  <a:lnTo>
                    <a:pt x="375" y="100"/>
                  </a:lnTo>
                  <a:lnTo>
                    <a:pt x="271" y="100"/>
                  </a:lnTo>
                  <a:lnTo>
                    <a:pt x="247" y="76"/>
                  </a:lnTo>
                  <a:lnTo>
                    <a:pt x="254" y="42"/>
                  </a:lnTo>
                  <a:lnTo>
                    <a:pt x="226" y="0"/>
                  </a:lnTo>
                  <a:lnTo>
                    <a:pt x="42" y="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5" name="Freeform 56">
              <a:extLst>
                <a:ext uri="{FF2B5EF4-FFF2-40B4-BE49-F238E27FC236}">
                  <a16:creationId xmlns:a16="http://schemas.microsoft.com/office/drawing/2014/main" id="{E8128221-E12E-43A5-9E98-77656B0DB3C6}"/>
                </a:ext>
              </a:extLst>
            </p:cNvPr>
            <p:cNvSpPr>
              <a:spLocks/>
            </p:cNvSpPr>
            <p:nvPr/>
          </p:nvSpPr>
          <p:spPr bwMode="auto">
            <a:xfrm>
              <a:off x="6746082" y="4321968"/>
              <a:ext cx="73025" cy="198438"/>
            </a:xfrm>
            <a:custGeom>
              <a:avLst/>
              <a:gdLst>
                <a:gd name="T0" fmla="*/ 5 w 138"/>
                <a:gd name="T1" fmla="*/ 218 h 375"/>
                <a:gd name="T2" fmla="*/ 57 w 138"/>
                <a:gd name="T3" fmla="*/ 274 h 375"/>
                <a:gd name="T4" fmla="*/ 56 w 138"/>
                <a:gd name="T5" fmla="*/ 345 h 375"/>
                <a:gd name="T6" fmla="*/ 67 w 138"/>
                <a:gd name="T7" fmla="*/ 375 h 375"/>
                <a:gd name="T8" fmla="*/ 138 w 138"/>
                <a:gd name="T9" fmla="*/ 298 h 375"/>
                <a:gd name="T10" fmla="*/ 129 w 138"/>
                <a:gd name="T11" fmla="*/ 202 h 375"/>
                <a:gd name="T12" fmla="*/ 91 w 138"/>
                <a:gd name="T13" fmla="*/ 172 h 375"/>
                <a:gd name="T14" fmla="*/ 57 w 138"/>
                <a:gd name="T15" fmla="*/ 2 h 375"/>
                <a:gd name="T16" fmla="*/ 0 w 138"/>
                <a:gd name="T17" fmla="*/ 0 h 375"/>
                <a:gd name="T18" fmla="*/ 26 w 138"/>
                <a:gd name="T19" fmla="*/ 122 h 375"/>
                <a:gd name="T20" fmla="*/ 5 w 138"/>
                <a:gd name="T21" fmla="*/ 21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375">
                  <a:moveTo>
                    <a:pt x="5" y="218"/>
                  </a:moveTo>
                  <a:lnTo>
                    <a:pt x="57" y="274"/>
                  </a:lnTo>
                  <a:lnTo>
                    <a:pt x="56" y="345"/>
                  </a:lnTo>
                  <a:lnTo>
                    <a:pt x="67" y="375"/>
                  </a:lnTo>
                  <a:lnTo>
                    <a:pt x="138" y="298"/>
                  </a:lnTo>
                  <a:lnTo>
                    <a:pt x="129" y="202"/>
                  </a:lnTo>
                  <a:lnTo>
                    <a:pt x="91" y="172"/>
                  </a:lnTo>
                  <a:lnTo>
                    <a:pt x="57" y="2"/>
                  </a:lnTo>
                  <a:lnTo>
                    <a:pt x="0" y="0"/>
                  </a:lnTo>
                  <a:lnTo>
                    <a:pt x="26" y="122"/>
                  </a:lnTo>
                  <a:lnTo>
                    <a:pt x="5" y="21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6" name="Freeform 57">
              <a:extLst>
                <a:ext uri="{FF2B5EF4-FFF2-40B4-BE49-F238E27FC236}">
                  <a16:creationId xmlns:a16="http://schemas.microsoft.com/office/drawing/2014/main" id="{3996261D-CA64-4D73-A2E2-F90450813EE2}"/>
                </a:ext>
              </a:extLst>
            </p:cNvPr>
            <p:cNvSpPr>
              <a:spLocks/>
            </p:cNvSpPr>
            <p:nvPr/>
          </p:nvSpPr>
          <p:spPr bwMode="auto">
            <a:xfrm>
              <a:off x="6669882" y="4352131"/>
              <a:ext cx="279400" cy="411163"/>
            </a:xfrm>
            <a:custGeom>
              <a:avLst/>
              <a:gdLst>
                <a:gd name="T0" fmla="*/ 48 w 529"/>
                <a:gd name="T1" fmla="*/ 740 h 778"/>
                <a:gd name="T2" fmla="*/ 94 w 529"/>
                <a:gd name="T3" fmla="*/ 778 h 778"/>
                <a:gd name="T4" fmla="*/ 202 w 529"/>
                <a:gd name="T5" fmla="*/ 712 h 778"/>
                <a:gd name="T6" fmla="*/ 220 w 529"/>
                <a:gd name="T7" fmla="*/ 614 h 778"/>
                <a:gd name="T8" fmla="*/ 220 w 529"/>
                <a:gd name="T9" fmla="*/ 452 h 778"/>
                <a:gd name="T10" fmla="*/ 394 w 529"/>
                <a:gd name="T11" fmla="*/ 309 h 778"/>
                <a:gd name="T12" fmla="*/ 424 w 529"/>
                <a:gd name="T13" fmla="*/ 310 h 778"/>
                <a:gd name="T14" fmla="*/ 529 w 529"/>
                <a:gd name="T15" fmla="*/ 210 h 778"/>
                <a:gd name="T16" fmla="*/ 513 w 529"/>
                <a:gd name="T17" fmla="*/ 0 h 778"/>
                <a:gd name="T18" fmla="*/ 233 w 529"/>
                <a:gd name="T19" fmla="*/ 36 h 778"/>
                <a:gd name="T20" fmla="*/ 241 w 529"/>
                <a:gd name="T21" fmla="*/ 99 h 778"/>
                <a:gd name="T22" fmla="*/ 290 w 529"/>
                <a:gd name="T23" fmla="*/ 136 h 778"/>
                <a:gd name="T24" fmla="*/ 301 w 529"/>
                <a:gd name="T25" fmla="*/ 250 h 778"/>
                <a:gd name="T26" fmla="*/ 206 w 529"/>
                <a:gd name="T27" fmla="*/ 342 h 778"/>
                <a:gd name="T28" fmla="*/ 184 w 529"/>
                <a:gd name="T29" fmla="*/ 290 h 778"/>
                <a:gd name="T30" fmla="*/ 188 w 529"/>
                <a:gd name="T31" fmla="*/ 222 h 778"/>
                <a:gd name="T32" fmla="*/ 133 w 529"/>
                <a:gd name="T33" fmla="*/ 163 h 778"/>
                <a:gd name="T34" fmla="*/ 0 w 529"/>
                <a:gd name="T35" fmla="*/ 225 h 778"/>
                <a:gd name="T36" fmla="*/ 124 w 529"/>
                <a:gd name="T37" fmla="*/ 288 h 778"/>
                <a:gd name="T38" fmla="*/ 128 w 529"/>
                <a:gd name="T39" fmla="*/ 471 h 778"/>
                <a:gd name="T40" fmla="*/ 46 w 529"/>
                <a:gd name="T41" fmla="*/ 593 h 778"/>
                <a:gd name="T42" fmla="*/ 48 w 529"/>
                <a:gd name="T43" fmla="*/ 740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9" h="778">
                  <a:moveTo>
                    <a:pt x="48" y="740"/>
                  </a:moveTo>
                  <a:lnTo>
                    <a:pt x="94" y="778"/>
                  </a:lnTo>
                  <a:lnTo>
                    <a:pt x="202" y="712"/>
                  </a:lnTo>
                  <a:lnTo>
                    <a:pt x="220" y="614"/>
                  </a:lnTo>
                  <a:lnTo>
                    <a:pt x="220" y="452"/>
                  </a:lnTo>
                  <a:lnTo>
                    <a:pt x="394" y="309"/>
                  </a:lnTo>
                  <a:lnTo>
                    <a:pt x="424" y="310"/>
                  </a:lnTo>
                  <a:lnTo>
                    <a:pt x="529" y="210"/>
                  </a:lnTo>
                  <a:lnTo>
                    <a:pt x="513" y="0"/>
                  </a:lnTo>
                  <a:lnTo>
                    <a:pt x="233" y="36"/>
                  </a:lnTo>
                  <a:lnTo>
                    <a:pt x="241" y="99"/>
                  </a:lnTo>
                  <a:lnTo>
                    <a:pt x="290" y="136"/>
                  </a:lnTo>
                  <a:lnTo>
                    <a:pt x="301" y="250"/>
                  </a:lnTo>
                  <a:lnTo>
                    <a:pt x="206" y="342"/>
                  </a:lnTo>
                  <a:lnTo>
                    <a:pt x="184" y="290"/>
                  </a:lnTo>
                  <a:lnTo>
                    <a:pt x="188" y="222"/>
                  </a:lnTo>
                  <a:lnTo>
                    <a:pt x="133" y="163"/>
                  </a:lnTo>
                  <a:lnTo>
                    <a:pt x="0" y="225"/>
                  </a:lnTo>
                  <a:lnTo>
                    <a:pt x="124" y="288"/>
                  </a:lnTo>
                  <a:lnTo>
                    <a:pt x="128" y="471"/>
                  </a:lnTo>
                  <a:lnTo>
                    <a:pt x="46" y="593"/>
                  </a:lnTo>
                  <a:lnTo>
                    <a:pt x="48" y="74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7" name="Freeform 58">
              <a:extLst>
                <a:ext uri="{FF2B5EF4-FFF2-40B4-BE49-F238E27FC236}">
                  <a16:creationId xmlns:a16="http://schemas.microsoft.com/office/drawing/2014/main" id="{06E56A08-DEAA-49D0-8917-CEE15571C48F}"/>
                </a:ext>
              </a:extLst>
            </p:cNvPr>
            <p:cNvSpPr>
              <a:spLocks/>
            </p:cNvSpPr>
            <p:nvPr/>
          </p:nvSpPr>
          <p:spPr bwMode="auto">
            <a:xfrm>
              <a:off x="6542882" y="4474368"/>
              <a:ext cx="187325" cy="187325"/>
            </a:xfrm>
            <a:custGeom>
              <a:avLst/>
              <a:gdLst>
                <a:gd name="T0" fmla="*/ 3 w 353"/>
                <a:gd name="T1" fmla="*/ 151 h 354"/>
                <a:gd name="T2" fmla="*/ 156 w 353"/>
                <a:gd name="T3" fmla="*/ 325 h 354"/>
                <a:gd name="T4" fmla="*/ 274 w 353"/>
                <a:gd name="T5" fmla="*/ 354 h 354"/>
                <a:gd name="T6" fmla="*/ 353 w 353"/>
                <a:gd name="T7" fmla="*/ 230 h 354"/>
                <a:gd name="T8" fmla="*/ 347 w 353"/>
                <a:gd name="T9" fmla="*/ 66 h 354"/>
                <a:gd name="T10" fmla="*/ 219 w 353"/>
                <a:gd name="T11" fmla="*/ 0 h 354"/>
                <a:gd name="T12" fmla="*/ 170 w 353"/>
                <a:gd name="T13" fmla="*/ 22 h 354"/>
                <a:gd name="T14" fmla="*/ 99 w 353"/>
                <a:gd name="T15" fmla="*/ 132 h 354"/>
                <a:gd name="T16" fmla="*/ 0 w 353"/>
                <a:gd name="T17" fmla="*/ 131 h 354"/>
                <a:gd name="T18" fmla="*/ 3 w 353"/>
                <a:gd name="T19" fmla="*/ 151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3" h="354">
                  <a:moveTo>
                    <a:pt x="3" y="151"/>
                  </a:moveTo>
                  <a:lnTo>
                    <a:pt x="156" y="325"/>
                  </a:lnTo>
                  <a:lnTo>
                    <a:pt x="274" y="354"/>
                  </a:lnTo>
                  <a:lnTo>
                    <a:pt x="353" y="230"/>
                  </a:lnTo>
                  <a:lnTo>
                    <a:pt x="347" y="66"/>
                  </a:lnTo>
                  <a:lnTo>
                    <a:pt x="219" y="0"/>
                  </a:lnTo>
                  <a:lnTo>
                    <a:pt x="170" y="22"/>
                  </a:lnTo>
                  <a:lnTo>
                    <a:pt x="99" y="132"/>
                  </a:lnTo>
                  <a:lnTo>
                    <a:pt x="0" y="131"/>
                  </a:lnTo>
                  <a:lnTo>
                    <a:pt x="3" y="15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8" name="Freeform 59">
              <a:extLst>
                <a:ext uri="{FF2B5EF4-FFF2-40B4-BE49-F238E27FC236}">
                  <a16:creationId xmlns:a16="http://schemas.microsoft.com/office/drawing/2014/main" id="{F79797B7-6D42-4A47-A598-5485E4E37EB9}"/>
                </a:ext>
              </a:extLst>
            </p:cNvPr>
            <p:cNvSpPr>
              <a:spLocks/>
            </p:cNvSpPr>
            <p:nvPr/>
          </p:nvSpPr>
          <p:spPr bwMode="auto">
            <a:xfrm>
              <a:off x="6195219" y="4518818"/>
              <a:ext cx="327025" cy="323850"/>
            </a:xfrm>
            <a:custGeom>
              <a:avLst/>
              <a:gdLst>
                <a:gd name="T0" fmla="*/ 180 w 617"/>
                <a:gd name="T1" fmla="*/ 575 h 614"/>
                <a:gd name="T2" fmla="*/ 237 w 617"/>
                <a:gd name="T3" fmla="*/ 579 h 614"/>
                <a:gd name="T4" fmla="*/ 270 w 617"/>
                <a:gd name="T5" fmla="*/ 613 h 614"/>
                <a:gd name="T6" fmla="*/ 350 w 617"/>
                <a:gd name="T7" fmla="*/ 614 h 614"/>
                <a:gd name="T8" fmla="*/ 370 w 617"/>
                <a:gd name="T9" fmla="*/ 387 h 614"/>
                <a:gd name="T10" fmla="*/ 370 w 617"/>
                <a:gd name="T11" fmla="*/ 239 h 614"/>
                <a:gd name="T12" fmla="*/ 421 w 617"/>
                <a:gd name="T13" fmla="*/ 227 h 614"/>
                <a:gd name="T14" fmla="*/ 441 w 617"/>
                <a:gd name="T15" fmla="*/ 72 h 614"/>
                <a:gd name="T16" fmla="*/ 571 w 617"/>
                <a:gd name="T17" fmla="*/ 68 h 614"/>
                <a:gd name="T18" fmla="*/ 617 w 617"/>
                <a:gd name="T19" fmla="*/ 30 h 614"/>
                <a:gd name="T20" fmla="*/ 539 w 617"/>
                <a:gd name="T21" fmla="*/ 26 h 614"/>
                <a:gd name="T22" fmla="*/ 434 w 617"/>
                <a:gd name="T23" fmla="*/ 41 h 614"/>
                <a:gd name="T24" fmla="*/ 320 w 617"/>
                <a:gd name="T25" fmla="*/ 0 h 614"/>
                <a:gd name="T26" fmla="*/ 0 w 617"/>
                <a:gd name="T27" fmla="*/ 0 h 614"/>
                <a:gd name="T28" fmla="*/ 8 w 617"/>
                <a:gd name="T29" fmla="*/ 90 h 614"/>
                <a:gd name="T30" fmla="*/ 115 w 617"/>
                <a:gd name="T31" fmla="*/ 248 h 614"/>
                <a:gd name="T32" fmla="*/ 97 w 617"/>
                <a:gd name="T33" fmla="*/ 328 h 614"/>
                <a:gd name="T34" fmla="*/ 98 w 617"/>
                <a:gd name="T35" fmla="*/ 371 h 614"/>
                <a:gd name="T36" fmla="*/ 180 w 617"/>
                <a:gd name="T37" fmla="*/ 57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7" h="614">
                  <a:moveTo>
                    <a:pt x="180" y="575"/>
                  </a:moveTo>
                  <a:lnTo>
                    <a:pt x="237" y="579"/>
                  </a:lnTo>
                  <a:lnTo>
                    <a:pt x="270" y="613"/>
                  </a:lnTo>
                  <a:lnTo>
                    <a:pt x="350" y="614"/>
                  </a:lnTo>
                  <a:lnTo>
                    <a:pt x="370" y="387"/>
                  </a:lnTo>
                  <a:lnTo>
                    <a:pt x="370" y="239"/>
                  </a:lnTo>
                  <a:lnTo>
                    <a:pt x="421" y="227"/>
                  </a:lnTo>
                  <a:lnTo>
                    <a:pt x="441" y="72"/>
                  </a:lnTo>
                  <a:lnTo>
                    <a:pt x="571" y="68"/>
                  </a:lnTo>
                  <a:lnTo>
                    <a:pt x="617" y="30"/>
                  </a:lnTo>
                  <a:lnTo>
                    <a:pt x="539" y="26"/>
                  </a:lnTo>
                  <a:lnTo>
                    <a:pt x="434" y="41"/>
                  </a:lnTo>
                  <a:lnTo>
                    <a:pt x="320" y="0"/>
                  </a:lnTo>
                  <a:lnTo>
                    <a:pt x="0" y="0"/>
                  </a:lnTo>
                  <a:lnTo>
                    <a:pt x="8" y="90"/>
                  </a:lnTo>
                  <a:lnTo>
                    <a:pt x="115" y="248"/>
                  </a:lnTo>
                  <a:lnTo>
                    <a:pt x="97" y="328"/>
                  </a:lnTo>
                  <a:lnTo>
                    <a:pt x="98" y="371"/>
                  </a:lnTo>
                  <a:lnTo>
                    <a:pt x="180" y="57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9" name="Freeform 60">
              <a:extLst>
                <a:ext uri="{FF2B5EF4-FFF2-40B4-BE49-F238E27FC236}">
                  <a16:creationId xmlns:a16="http://schemas.microsoft.com/office/drawing/2014/main" id="{5F2FBBFF-8F3D-490A-8116-D2405731B7C8}"/>
                </a:ext>
              </a:extLst>
            </p:cNvPr>
            <p:cNvSpPr>
              <a:spLocks/>
            </p:cNvSpPr>
            <p:nvPr/>
          </p:nvSpPr>
          <p:spPr bwMode="auto">
            <a:xfrm>
              <a:off x="6398419" y="4537868"/>
              <a:ext cx="222250" cy="252413"/>
            </a:xfrm>
            <a:custGeom>
              <a:avLst/>
              <a:gdLst>
                <a:gd name="T0" fmla="*/ 0 w 421"/>
                <a:gd name="T1" fmla="*/ 354 h 476"/>
                <a:gd name="T2" fmla="*/ 37 w 421"/>
                <a:gd name="T3" fmla="*/ 365 h 476"/>
                <a:gd name="T4" fmla="*/ 32 w 421"/>
                <a:gd name="T5" fmla="*/ 471 h 476"/>
                <a:gd name="T6" fmla="*/ 70 w 421"/>
                <a:gd name="T7" fmla="*/ 476 h 476"/>
                <a:gd name="T8" fmla="*/ 157 w 421"/>
                <a:gd name="T9" fmla="*/ 398 h 476"/>
                <a:gd name="T10" fmla="*/ 262 w 421"/>
                <a:gd name="T11" fmla="*/ 409 h 476"/>
                <a:gd name="T12" fmla="*/ 289 w 421"/>
                <a:gd name="T13" fmla="*/ 339 h 476"/>
                <a:gd name="T14" fmla="*/ 421 w 421"/>
                <a:gd name="T15" fmla="*/ 218 h 476"/>
                <a:gd name="T16" fmla="*/ 263 w 421"/>
                <a:gd name="T17" fmla="*/ 35 h 476"/>
                <a:gd name="T18" fmla="*/ 261 w 421"/>
                <a:gd name="T19" fmla="*/ 5 h 476"/>
                <a:gd name="T20" fmla="*/ 243 w 421"/>
                <a:gd name="T21" fmla="*/ 0 h 476"/>
                <a:gd name="T22" fmla="*/ 195 w 421"/>
                <a:gd name="T23" fmla="*/ 44 h 476"/>
                <a:gd name="T24" fmla="*/ 70 w 421"/>
                <a:gd name="T25" fmla="*/ 47 h 476"/>
                <a:gd name="T26" fmla="*/ 53 w 421"/>
                <a:gd name="T27" fmla="*/ 203 h 476"/>
                <a:gd name="T28" fmla="*/ 3 w 421"/>
                <a:gd name="T29" fmla="*/ 215 h 476"/>
                <a:gd name="T30" fmla="*/ 0 w 421"/>
                <a:gd name="T31" fmla="*/ 35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1" h="476">
                  <a:moveTo>
                    <a:pt x="0" y="354"/>
                  </a:moveTo>
                  <a:lnTo>
                    <a:pt x="37" y="365"/>
                  </a:lnTo>
                  <a:lnTo>
                    <a:pt x="32" y="471"/>
                  </a:lnTo>
                  <a:lnTo>
                    <a:pt x="70" y="476"/>
                  </a:lnTo>
                  <a:lnTo>
                    <a:pt x="157" y="398"/>
                  </a:lnTo>
                  <a:lnTo>
                    <a:pt x="262" y="409"/>
                  </a:lnTo>
                  <a:lnTo>
                    <a:pt x="289" y="339"/>
                  </a:lnTo>
                  <a:lnTo>
                    <a:pt x="421" y="218"/>
                  </a:lnTo>
                  <a:lnTo>
                    <a:pt x="263" y="35"/>
                  </a:lnTo>
                  <a:lnTo>
                    <a:pt x="261" y="5"/>
                  </a:lnTo>
                  <a:lnTo>
                    <a:pt x="243" y="0"/>
                  </a:lnTo>
                  <a:lnTo>
                    <a:pt x="195" y="44"/>
                  </a:lnTo>
                  <a:lnTo>
                    <a:pt x="70" y="47"/>
                  </a:lnTo>
                  <a:lnTo>
                    <a:pt x="53" y="203"/>
                  </a:lnTo>
                  <a:lnTo>
                    <a:pt x="3" y="215"/>
                  </a:lnTo>
                  <a:lnTo>
                    <a:pt x="0" y="35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0" name="Freeform 61">
              <a:extLst>
                <a:ext uri="{FF2B5EF4-FFF2-40B4-BE49-F238E27FC236}">
                  <a16:creationId xmlns:a16="http://schemas.microsoft.com/office/drawing/2014/main" id="{8CB466DB-BE1F-4BAD-BB07-28D43A4B9A6B}"/>
                </a:ext>
              </a:extLst>
            </p:cNvPr>
            <p:cNvSpPr>
              <a:spLocks/>
            </p:cNvSpPr>
            <p:nvPr/>
          </p:nvSpPr>
          <p:spPr bwMode="auto">
            <a:xfrm>
              <a:off x="6658769" y="4750593"/>
              <a:ext cx="57150" cy="46038"/>
            </a:xfrm>
            <a:custGeom>
              <a:avLst/>
              <a:gdLst>
                <a:gd name="T0" fmla="*/ 61 w 107"/>
                <a:gd name="T1" fmla="*/ 0 h 87"/>
                <a:gd name="T2" fmla="*/ 18 w 107"/>
                <a:gd name="T3" fmla="*/ 7 h 87"/>
                <a:gd name="T4" fmla="*/ 0 w 107"/>
                <a:gd name="T5" fmla="*/ 57 h 87"/>
                <a:gd name="T6" fmla="*/ 33 w 107"/>
                <a:gd name="T7" fmla="*/ 87 h 87"/>
                <a:gd name="T8" fmla="*/ 73 w 107"/>
                <a:gd name="T9" fmla="*/ 87 h 87"/>
                <a:gd name="T10" fmla="*/ 107 w 107"/>
                <a:gd name="T11" fmla="*/ 38 h 87"/>
                <a:gd name="T12" fmla="*/ 61 w 107"/>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07" h="87">
                  <a:moveTo>
                    <a:pt x="61" y="0"/>
                  </a:moveTo>
                  <a:lnTo>
                    <a:pt x="18" y="7"/>
                  </a:lnTo>
                  <a:lnTo>
                    <a:pt x="0" y="57"/>
                  </a:lnTo>
                  <a:lnTo>
                    <a:pt x="33" y="87"/>
                  </a:lnTo>
                  <a:lnTo>
                    <a:pt x="73" y="87"/>
                  </a:lnTo>
                  <a:lnTo>
                    <a:pt x="107" y="38"/>
                  </a:lnTo>
                  <a:lnTo>
                    <a:pt x="6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1" name="Freeform 62">
              <a:extLst>
                <a:ext uri="{FF2B5EF4-FFF2-40B4-BE49-F238E27FC236}">
                  <a16:creationId xmlns:a16="http://schemas.microsoft.com/office/drawing/2014/main" id="{EE31F77D-26B1-440A-BF92-73351ABCE9DA}"/>
                </a:ext>
              </a:extLst>
            </p:cNvPr>
            <p:cNvSpPr>
              <a:spLocks/>
            </p:cNvSpPr>
            <p:nvPr/>
          </p:nvSpPr>
          <p:spPr bwMode="auto">
            <a:xfrm>
              <a:off x="6561932" y="4831556"/>
              <a:ext cx="63500" cy="58738"/>
            </a:xfrm>
            <a:custGeom>
              <a:avLst/>
              <a:gdLst>
                <a:gd name="T0" fmla="*/ 16 w 122"/>
                <a:gd name="T1" fmla="*/ 41 h 109"/>
                <a:gd name="T2" fmla="*/ 68 w 122"/>
                <a:gd name="T3" fmla="*/ 0 h 109"/>
                <a:gd name="T4" fmla="*/ 93 w 122"/>
                <a:gd name="T5" fmla="*/ 1 h 109"/>
                <a:gd name="T6" fmla="*/ 122 w 122"/>
                <a:gd name="T7" fmla="*/ 39 h 109"/>
                <a:gd name="T8" fmla="*/ 119 w 122"/>
                <a:gd name="T9" fmla="*/ 76 h 109"/>
                <a:gd name="T10" fmla="*/ 69 w 122"/>
                <a:gd name="T11" fmla="*/ 94 h 109"/>
                <a:gd name="T12" fmla="*/ 69 w 122"/>
                <a:gd name="T13" fmla="*/ 109 h 109"/>
                <a:gd name="T14" fmla="*/ 14 w 122"/>
                <a:gd name="T15" fmla="*/ 106 h 109"/>
                <a:gd name="T16" fmla="*/ 0 w 122"/>
                <a:gd name="T17" fmla="*/ 65 h 109"/>
                <a:gd name="T18" fmla="*/ 16 w 122"/>
                <a:gd name="T19" fmla="*/ 4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09">
                  <a:moveTo>
                    <a:pt x="16" y="41"/>
                  </a:moveTo>
                  <a:lnTo>
                    <a:pt x="68" y="0"/>
                  </a:lnTo>
                  <a:lnTo>
                    <a:pt x="93" y="1"/>
                  </a:lnTo>
                  <a:lnTo>
                    <a:pt x="122" y="39"/>
                  </a:lnTo>
                  <a:lnTo>
                    <a:pt x="119" y="76"/>
                  </a:lnTo>
                  <a:lnTo>
                    <a:pt x="69" y="94"/>
                  </a:lnTo>
                  <a:lnTo>
                    <a:pt x="69" y="109"/>
                  </a:lnTo>
                  <a:lnTo>
                    <a:pt x="14" y="106"/>
                  </a:lnTo>
                  <a:lnTo>
                    <a:pt x="0" y="65"/>
                  </a:lnTo>
                  <a:lnTo>
                    <a:pt x="16" y="4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2" name="Freeform 63">
              <a:extLst>
                <a:ext uri="{FF2B5EF4-FFF2-40B4-BE49-F238E27FC236}">
                  <a16:creationId xmlns:a16="http://schemas.microsoft.com/office/drawing/2014/main" id="{8EAB8004-7602-4627-8629-827A67537BA0}"/>
                </a:ext>
              </a:extLst>
            </p:cNvPr>
            <p:cNvSpPr>
              <a:spLocks noEditPoints="1"/>
            </p:cNvSpPr>
            <p:nvPr/>
          </p:nvSpPr>
          <p:spPr bwMode="auto">
            <a:xfrm>
              <a:off x="6293644" y="4656931"/>
              <a:ext cx="423863" cy="368300"/>
            </a:xfrm>
            <a:custGeom>
              <a:avLst/>
              <a:gdLst>
                <a:gd name="T0" fmla="*/ 637 w 801"/>
                <a:gd name="T1" fmla="*/ 0 h 696"/>
                <a:gd name="T2" fmla="*/ 502 w 801"/>
                <a:gd name="T3" fmla="*/ 125 h 696"/>
                <a:gd name="T4" fmla="*/ 470 w 801"/>
                <a:gd name="T5" fmla="*/ 202 h 696"/>
                <a:gd name="T6" fmla="*/ 363 w 801"/>
                <a:gd name="T7" fmla="*/ 189 h 696"/>
                <a:gd name="T8" fmla="*/ 274 w 801"/>
                <a:gd name="T9" fmla="*/ 268 h 696"/>
                <a:gd name="T10" fmla="*/ 214 w 801"/>
                <a:gd name="T11" fmla="*/ 262 h 696"/>
                <a:gd name="T12" fmla="*/ 219 w 801"/>
                <a:gd name="T13" fmla="*/ 152 h 696"/>
                <a:gd name="T14" fmla="*/ 198 w 801"/>
                <a:gd name="T15" fmla="*/ 145 h 696"/>
                <a:gd name="T16" fmla="*/ 184 w 801"/>
                <a:gd name="T17" fmla="*/ 369 h 696"/>
                <a:gd name="T18" fmla="*/ 78 w 801"/>
                <a:gd name="T19" fmla="*/ 368 h 696"/>
                <a:gd name="T20" fmla="*/ 47 w 801"/>
                <a:gd name="T21" fmla="*/ 331 h 696"/>
                <a:gd name="T22" fmla="*/ 0 w 801"/>
                <a:gd name="T23" fmla="*/ 331 h 696"/>
                <a:gd name="T24" fmla="*/ 43 w 801"/>
                <a:gd name="T25" fmla="*/ 452 h 696"/>
                <a:gd name="T26" fmla="*/ 118 w 801"/>
                <a:gd name="T27" fmla="*/ 524 h 696"/>
                <a:gd name="T28" fmla="*/ 64 w 801"/>
                <a:gd name="T29" fmla="*/ 587 h 696"/>
                <a:gd name="T30" fmla="*/ 99 w 801"/>
                <a:gd name="T31" fmla="*/ 665 h 696"/>
                <a:gd name="T32" fmla="*/ 180 w 801"/>
                <a:gd name="T33" fmla="*/ 696 h 696"/>
                <a:gd name="T34" fmla="*/ 245 w 801"/>
                <a:gd name="T35" fmla="*/ 642 h 696"/>
                <a:gd name="T36" fmla="*/ 428 w 801"/>
                <a:gd name="T37" fmla="*/ 643 h 696"/>
                <a:gd name="T38" fmla="*/ 441 w 801"/>
                <a:gd name="T39" fmla="*/ 625 h 696"/>
                <a:gd name="T40" fmla="*/ 524 w 801"/>
                <a:gd name="T41" fmla="*/ 611 h 696"/>
                <a:gd name="T42" fmla="*/ 801 w 801"/>
                <a:gd name="T43" fmla="*/ 336 h 696"/>
                <a:gd name="T44" fmla="*/ 800 w 801"/>
                <a:gd name="T45" fmla="*/ 249 h 696"/>
                <a:gd name="T46" fmla="*/ 770 w 801"/>
                <a:gd name="T47" fmla="*/ 287 h 696"/>
                <a:gd name="T48" fmla="*/ 726 w 801"/>
                <a:gd name="T49" fmla="*/ 287 h 696"/>
                <a:gd name="T50" fmla="*/ 672 w 801"/>
                <a:gd name="T51" fmla="*/ 242 h 696"/>
                <a:gd name="T52" fmla="*/ 699 w 801"/>
                <a:gd name="T53" fmla="*/ 174 h 696"/>
                <a:gd name="T54" fmla="*/ 746 w 801"/>
                <a:gd name="T55" fmla="*/ 164 h 696"/>
                <a:gd name="T56" fmla="*/ 742 w 801"/>
                <a:gd name="T57" fmla="*/ 24 h 696"/>
                <a:gd name="T58" fmla="*/ 637 w 801"/>
                <a:gd name="T59" fmla="*/ 0 h 696"/>
                <a:gd name="T60" fmla="*/ 572 w 801"/>
                <a:gd name="T61" fmla="*/ 317 h 696"/>
                <a:gd name="T62" fmla="*/ 599 w 801"/>
                <a:gd name="T63" fmla="*/ 316 h 696"/>
                <a:gd name="T64" fmla="*/ 640 w 801"/>
                <a:gd name="T65" fmla="*/ 361 h 696"/>
                <a:gd name="T66" fmla="*/ 639 w 801"/>
                <a:gd name="T67" fmla="*/ 414 h 696"/>
                <a:gd name="T68" fmla="*/ 590 w 801"/>
                <a:gd name="T69" fmla="*/ 439 h 696"/>
                <a:gd name="T70" fmla="*/ 587 w 801"/>
                <a:gd name="T71" fmla="*/ 456 h 696"/>
                <a:gd name="T72" fmla="*/ 512 w 801"/>
                <a:gd name="T73" fmla="*/ 457 h 696"/>
                <a:gd name="T74" fmla="*/ 488 w 801"/>
                <a:gd name="T75" fmla="*/ 401 h 696"/>
                <a:gd name="T76" fmla="*/ 510 w 801"/>
                <a:gd name="T77" fmla="*/ 359 h 696"/>
                <a:gd name="T78" fmla="*/ 572 w 801"/>
                <a:gd name="T79" fmla="*/ 31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1" h="696">
                  <a:moveTo>
                    <a:pt x="637" y="0"/>
                  </a:moveTo>
                  <a:lnTo>
                    <a:pt x="502" y="125"/>
                  </a:lnTo>
                  <a:lnTo>
                    <a:pt x="470" y="202"/>
                  </a:lnTo>
                  <a:lnTo>
                    <a:pt x="363" y="189"/>
                  </a:lnTo>
                  <a:lnTo>
                    <a:pt x="274" y="268"/>
                  </a:lnTo>
                  <a:lnTo>
                    <a:pt x="214" y="262"/>
                  </a:lnTo>
                  <a:lnTo>
                    <a:pt x="219" y="152"/>
                  </a:lnTo>
                  <a:lnTo>
                    <a:pt x="198" y="145"/>
                  </a:lnTo>
                  <a:lnTo>
                    <a:pt x="184" y="369"/>
                  </a:lnTo>
                  <a:lnTo>
                    <a:pt x="78" y="368"/>
                  </a:lnTo>
                  <a:lnTo>
                    <a:pt x="47" y="331"/>
                  </a:lnTo>
                  <a:lnTo>
                    <a:pt x="0" y="331"/>
                  </a:lnTo>
                  <a:lnTo>
                    <a:pt x="43" y="452"/>
                  </a:lnTo>
                  <a:lnTo>
                    <a:pt x="118" y="524"/>
                  </a:lnTo>
                  <a:lnTo>
                    <a:pt x="64" y="587"/>
                  </a:lnTo>
                  <a:lnTo>
                    <a:pt x="99" y="665"/>
                  </a:lnTo>
                  <a:lnTo>
                    <a:pt x="180" y="696"/>
                  </a:lnTo>
                  <a:lnTo>
                    <a:pt x="245" y="642"/>
                  </a:lnTo>
                  <a:lnTo>
                    <a:pt x="428" y="643"/>
                  </a:lnTo>
                  <a:lnTo>
                    <a:pt x="441" y="625"/>
                  </a:lnTo>
                  <a:lnTo>
                    <a:pt x="524" y="611"/>
                  </a:lnTo>
                  <a:lnTo>
                    <a:pt x="801" y="336"/>
                  </a:lnTo>
                  <a:lnTo>
                    <a:pt x="800" y="249"/>
                  </a:lnTo>
                  <a:lnTo>
                    <a:pt x="770" y="287"/>
                  </a:lnTo>
                  <a:lnTo>
                    <a:pt x="726" y="287"/>
                  </a:lnTo>
                  <a:lnTo>
                    <a:pt x="672" y="242"/>
                  </a:lnTo>
                  <a:lnTo>
                    <a:pt x="699" y="174"/>
                  </a:lnTo>
                  <a:lnTo>
                    <a:pt x="746" y="164"/>
                  </a:lnTo>
                  <a:lnTo>
                    <a:pt x="742" y="24"/>
                  </a:lnTo>
                  <a:lnTo>
                    <a:pt x="637" y="0"/>
                  </a:lnTo>
                  <a:close/>
                  <a:moveTo>
                    <a:pt x="572" y="317"/>
                  </a:moveTo>
                  <a:lnTo>
                    <a:pt x="599" y="316"/>
                  </a:lnTo>
                  <a:lnTo>
                    <a:pt x="640" y="361"/>
                  </a:lnTo>
                  <a:lnTo>
                    <a:pt x="639" y="414"/>
                  </a:lnTo>
                  <a:lnTo>
                    <a:pt x="590" y="439"/>
                  </a:lnTo>
                  <a:lnTo>
                    <a:pt x="587" y="456"/>
                  </a:lnTo>
                  <a:lnTo>
                    <a:pt x="512" y="457"/>
                  </a:lnTo>
                  <a:lnTo>
                    <a:pt x="488" y="401"/>
                  </a:lnTo>
                  <a:lnTo>
                    <a:pt x="510" y="359"/>
                  </a:lnTo>
                  <a:lnTo>
                    <a:pt x="572" y="31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64">
              <a:extLst>
                <a:ext uri="{FF2B5EF4-FFF2-40B4-BE49-F238E27FC236}">
                  <a16:creationId xmlns:a16="http://schemas.microsoft.com/office/drawing/2014/main" id="{29239D97-0F90-4F82-899F-3F4B07234EC0}"/>
                </a:ext>
              </a:extLst>
            </p:cNvPr>
            <p:cNvSpPr>
              <a:spLocks/>
            </p:cNvSpPr>
            <p:nvPr/>
          </p:nvSpPr>
          <p:spPr bwMode="auto">
            <a:xfrm>
              <a:off x="4688682" y="1251743"/>
              <a:ext cx="1062038" cy="1035050"/>
            </a:xfrm>
            <a:custGeom>
              <a:avLst/>
              <a:gdLst>
                <a:gd name="T0" fmla="*/ 0 w 2007"/>
                <a:gd name="T1" fmla="*/ 414 h 1956"/>
                <a:gd name="T2" fmla="*/ 24 w 2007"/>
                <a:gd name="T3" fmla="*/ 499 h 1956"/>
                <a:gd name="T4" fmla="*/ 159 w 2007"/>
                <a:gd name="T5" fmla="*/ 554 h 1956"/>
                <a:gd name="T6" fmla="*/ 368 w 2007"/>
                <a:gd name="T7" fmla="*/ 666 h 1956"/>
                <a:gd name="T8" fmla="*/ 382 w 2007"/>
                <a:gd name="T9" fmla="*/ 992 h 1956"/>
                <a:gd name="T10" fmla="*/ 513 w 2007"/>
                <a:gd name="T11" fmla="*/ 1006 h 1956"/>
                <a:gd name="T12" fmla="*/ 414 w 2007"/>
                <a:gd name="T13" fmla="*/ 1071 h 1956"/>
                <a:gd name="T14" fmla="*/ 540 w 2007"/>
                <a:gd name="T15" fmla="*/ 1141 h 1956"/>
                <a:gd name="T16" fmla="*/ 368 w 2007"/>
                <a:gd name="T17" fmla="*/ 1471 h 1956"/>
                <a:gd name="T18" fmla="*/ 377 w 2007"/>
                <a:gd name="T19" fmla="*/ 1634 h 1956"/>
                <a:gd name="T20" fmla="*/ 499 w 2007"/>
                <a:gd name="T21" fmla="*/ 1854 h 1956"/>
                <a:gd name="T22" fmla="*/ 573 w 2007"/>
                <a:gd name="T23" fmla="*/ 1834 h 1956"/>
                <a:gd name="T24" fmla="*/ 610 w 2007"/>
                <a:gd name="T25" fmla="*/ 1956 h 1956"/>
                <a:gd name="T26" fmla="*/ 717 w 2007"/>
                <a:gd name="T27" fmla="*/ 1779 h 1956"/>
                <a:gd name="T28" fmla="*/ 1066 w 2007"/>
                <a:gd name="T29" fmla="*/ 1523 h 1956"/>
                <a:gd name="T30" fmla="*/ 1257 w 2007"/>
                <a:gd name="T31" fmla="*/ 1388 h 1956"/>
                <a:gd name="T32" fmla="*/ 1485 w 2007"/>
                <a:gd name="T33" fmla="*/ 1285 h 1956"/>
                <a:gd name="T34" fmla="*/ 1625 w 2007"/>
                <a:gd name="T35" fmla="*/ 1155 h 1956"/>
                <a:gd name="T36" fmla="*/ 1476 w 2007"/>
                <a:gd name="T37" fmla="*/ 1062 h 1956"/>
                <a:gd name="T38" fmla="*/ 1528 w 2007"/>
                <a:gd name="T39" fmla="*/ 913 h 1956"/>
                <a:gd name="T40" fmla="*/ 1714 w 2007"/>
                <a:gd name="T41" fmla="*/ 936 h 1956"/>
                <a:gd name="T42" fmla="*/ 1798 w 2007"/>
                <a:gd name="T43" fmla="*/ 680 h 1956"/>
                <a:gd name="T44" fmla="*/ 1695 w 2007"/>
                <a:gd name="T45" fmla="*/ 582 h 1956"/>
                <a:gd name="T46" fmla="*/ 1816 w 2007"/>
                <a:gd name="T47" fmla="*/ 456 h 1956"/>
                <a:gd name="T48" fmla="*/ 1951 w 2007"/>
                <a:gd name="T49" fmla="*/ 228 h 1956"/>
                <a:gd name="T50" fmla="*/ 1625 w 2007"/>
                <a:gd name="T51" fmla="*/ 358 h 1956"/>
                <a:gd name="T52" fmla="*/ 1616 w 2007"/>
                <a:gd name="T53" fmla="*/ 196 h 1956"/>
                <a:gd name="T54" fmla="*/ 1514 w 2007"/>
                <a:gd name="T55" fmla="*/ 219 h 1956"/>
                <a:gd name="T56" fmla="*/ 1393 w 2007"/>
                <a:gd name="T57" fmla="*/ 164 h 1956"/>
                <a:gd name="T58" fmla="*/ 1598 w 2007"/>
                <a:gd name="T59" fmla="*/ 61 h 1956"/>
                <a:gd name="T60" fmla="*/ 1179 w 2007"/>
                <a:gd name="T61" fmla="*/ 23 h 1956"/>
                <a:gd name="T62" fmla="*/ 1057 w 2007"/>
                <a:gd name="T63" fmla="*/ 42 h 1956"/>
                <a:gd name="T64" fmla="*/ 974 w 2007"/>
                <a:gd name="T65" fmla="*/ 18 h 1956"/>
                <a:gd name="T66" fmla="*/ 1048 w 2007"/>
                <a:gd name="T67" fmla="*/ 98 h 1956"/>
                <a:gd name="T68" fmla="*/ 880 w 2007"/>
                <a:gd name="T69" fmla="*/ 88 h 1956"/>
                <a:gd name="T70" fmla="*/ 769 w 2007"/>
                <a:gd name="T71" fmla="*/ 135 h 1956"/>
                <a:gd name="T72" fmla="*/ 634 w 2007"/>
                <a:gd name="T73" fmla="*/ 56 h 1956"/>
                <a:gd name="T74" fmla="*/ 396 w 2007"/>
                <a:gd name="T75" fmla="*/ 75 h 1956"/>
                <a:gd name="T76" fmla="*/ 284 w 2007"/>
                <a:gd name="T77" fmla="*/ 117 h 1956"/>
                <a:gd name="T78" fmla="*/ 224 w 2007"/>
                <a:gd name="T79" fmla="*/ 210 h 1956"/>
                <a:gd name="T80" fmla="*/ 103 w 2007"/>
                <a:gd name="T81" fmla="*/ 266 h 1956"/>
                <a:gd name="T82" fmla="*/ 9 w 2007"/>
                <a:gd name="T83" fmla="*/ 289 h 1956"/>
                <a:gd name="T84" fmla="*/ 182 w 2007"/>
                <a:gd name="T85" fmla="*/ 335 h 1956"/>
                <a:gd name="T86" fmla="*/ 103 w 2007"/>
                <a:gd name="T87" fmla="*/ 415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7" h="1956">
                  <a:moveTo>
                    <a:pt x="24" y="377"/>
                  </a:moveTo>
                  <a:lnTo>
                    <a:pt x="0" y="414"/>
                  </a:lnTo>
                  <a:lnTo>
                    <a:pt x="42" y="456"/>
                  </a:lnTo>
                  <a:lnTo>
                    <a:pt x="24" y="499"/>
                  </a:lnTo>
                  <a:lnTo>
                    <a:pt x="84" y="578"/>
                  </a:lnTo>
                  <a:lnTo>
                    <a:pt x="159" y="554"/>
                  </a:lnTo>
                  <a:lnTo>
                    <a:pt x="256" y="545"/>
                  </a:lnTo>
                  <a:lnTo>
                    <a:pt x="368" y="666"/>
                  </a:lnTo>
                  <a:lnTo>
                    <a:pt x="443" y="866"/>
                  </a:lnTo>
                  <a:lnTo>
                    <a:pt x="382" y="992"/>
                  </a:lnTo>
                  <a:lnTo>
                    <a:pt x="466" y="978"/>
                  </a:lnTo>
                  <a:lnTo>
                    <a:pt x="513" y="1006"/>
                  </a:lnTo>
                  <a:lnTo>
                    <a:pt x="517" y="1066"/>
                  </a:lnTo>
                  <a:lnTo>
                    <a:pt x="414" y="1071"/>
                  </a:lnTo>
                  <a:lnTo>
                    <a:pt x="470" y="1127"/>
                  </a:lnTo>
                  <a:lnTo>
                    <a:pt x="540" y="1141"/>
                  </a:lnTo>
                  <a:lnTo>
                    <a:pt x="387" y="1346"/>
                  </a:lnTo>
                  <a:lnTo>
                    <a:pt x="368" y="1471"/>
                  </a:lnTo>
                  <a:lnTo>
                    <a:pt x="400" y="1574"/>
                  </a:lnTo>
                  <a:lnTo>
                    <a:pt x="377" y="1634"/>
                  </a:lnTo>
                  <a:lnTo>
                    <a:pt x="419" y="1764"/>
                  </a:lnTo>
                  <a:lnTo>
                    <a:pt x="499" y="1854"/>
                  </a:lnTo>
                  <a:lnTo>
                    <a:pt x="522" y="1849"/>
                  </a:lnTo>
                  <a:lnTo>
                    <a:pt x="573" y="1834"/>
                  </a:lnTo>
                  <a:lnTo>
                    <a:pt x="578" y="1910"/>
                  </a:lnTo>
                  <a:lnTo>
                    <a:pt x="610" y="1956"/>
                  </a:lnTo>
                  <a:lnTo>
                    <a:pt x="670" y="1951"/>
                  </a:lnTo>
                  <a:lnTo>
                    <a:pt x="717" y="1779"/>
                  </a:lnTo>
                  <a:lnTo>
                    <a:pt x="857" y="1607"/>
                  </a:lnTo>
                  <a:lnTo>
                    <a:pt x="1066" y="1523"/>
                  </a:lnTo>
                  <a:lnTo>
                    <a:pt x="1197" y="1359"/>
                  </a:lnTo>
                  <a:lnTo>
                    <a:pt x="1257" y="1388"/>
                  </a:lnTo>
                  <a:lnTo>
                    <a:pt x="1383" y="1388"/>
                  </a:lnTo>
                  <a:lnTo>
                    <a:pt x="1485" y="1285"/>
                  </a:lnTo>
                  <a:lnTo>
                    <a:pt x="1611" y="1234"/>
                  </a:lnTo>
                  <a:lnTo>
                    <a:pt x="1625" y="1155"/>
                  </a:lnTo>
                  <a:lnTo>
                    <a:pt x="1546" y="1085"/>
                  </a:lnTo>
                  <a:lnTo>
                    <a:pt x="1476" y="1062"/>
                  </a:lnTo>
                  <a:lnTo>
                    <a:pt x="1438" y="963"/>
                  </a:lnTo>
                  <a:lnTo>
                    <a:pt x="1528" y="913"/>
                  </a:lnTo>
                  <a:lnTo>
                    <a:pt x="1667" y="987"/>
                  </a:lnTo>
                  <a:lnTo>
                    <a:pt x="1714" y="936"/>
                  </a:lnTo>
                  <a:lnTo>
                    <a:pt x="1639" y="894"/>
                  </a:lnTo>
                  <a:lnTo>
                    <a:pt x="1798" y="680"/>
                  </a:lnTo>
                  <a:lnTo>
                    <a:pt x="1769" y="587"/>
                  </a:lnTo>
                  <a:lnTo>
                    <a:pt x="1695" y="582"/>
                  </a:lnTo>
                  <a:lnTo>
                    <a:pt x="1723" y="499"/>
                  </a:lnTo>
                  <a:lnTo>
                    <a:pt x="1816" y="456"/>
                  </a:lnTo>
                  <a:lnTo>
                    <a:pt x="2007" y="288"/>
                  </a:lnTo>
                  <a:lnTo>
                    <a:pt x="1951" y="228"/>
                  </a:lnTo>
                  <a:lnTo>
                    <a:pt x="1737" y="247"/>
                  </a:lnTo>
                  <a:lnTo>
                    <a:pt x="1625" y="358"/>
                  </a:lnTo>
                  <a:lnTo>
                    <a:pt x="1690" y="214"/>
                  </a:lnTo>
                  <a:lnTo>
                    <a:pt x="1616" y="196"/>
                  </a:lnTo>
                  <a:lnTo>
                    <a:pt x="1574" y="270"/>
                  </a:lnTo>
                  <a:lnTo>
                    <a:pt x="1514" y="219"/>
                  </a:lnTo>
                  <a:lnTo>
                    <a:pt x="1346" y="238"/>
                  </a:lnTo>
                  <a:lnTo>
                    <a:pt x="1393" y="164"/>
                  </a:lnTo>
                  <a:lnTo>
                    <a:pt x="1667" y="153"/>
                  </a:lnTo>
                  <a:lnTo>
                    <a:pt x="1598" y="61"/>
                  </a:lnTo>
                  <a:lnTo>
                    <a:pt x="1299" y="5"/>
                  </a:lnTo>
                  <a:lnTo>
                    <a:pt x="1179" y="23"/>
                  </a:lnTo>
                  <a:lnTo>
                    <a:pt x="1183" y="84"/>
                  </a:lnTo>
                  <a:lnTo>
                    <a:pt x="1057" y="42"/>
                  </a:lnTo>
                  <a:lnTo>
                    <a:pt x="1062" y="0"/>
                  </a:lnTo>
                  <a:lnTo>
                    <a:pt x="974" y="18"/>
                  </a:lnTo>
                  <a:lnTo>
                    <a:pt x="954" y="65"/>
                  </a:lnTo>
                  <a:lnTo>
                    <a:pt x="1048" y="98"/>
                  </a:lnTo>
                  <a:lnTo>
                    <a:pt x="950" y="168"/>
                  </a:lnTo>
                  <a:lnTo>
                    <a:pt x="880" y="88"/>
                  </a:lnTo>
                  <a:lnTo>
                    <a:pt x="783" y="61"/>
                  </a:lnTo>
                  <a:lnTo>
                    <a:pt x="769" y="135"/>
                  </a:lnTo>
                  <a:lnTo>
                    <a:pt x="670" y="135"/>
                  </a:lnTo>
                  <a:lnTo>
                    <a:pt x="634" y="56"/>
                  </a:lnTo>
                  <a:lnTo>
                    <a:pt x="479" y="33"/>
                  </a:lnTo>
                  <a:lnTo>
                    <a:pt x="396" y="75"/>
                  </a:lnTo>
                  <a:lnTo>
                    <a:pt x="391" y="131"/>
                  </a:lnTo>
                  <a:lnTo>
                    <a:pt x="284" y="117"/>
                  </a:lnTo>
                  <a:lnTo>
                    <a:pt x="219" y="144"/>
                  </a:lnTo>
                  <a:lnTo>
                    <a:pt x="224" y="210"/>
                  </a:lnTo>
                  <a:lnTo>
                    <a:pt x="224" y="243"/>
                  </a:lnTo>
                  <a:lnTo>
                    <a:pt x="103" y="266"/>
                  </a:lnTo>
                  <a:lnTo>
                    <a:pt x="47" y="228"/>
                  </a:lnTo>
                  <a:lnTo>
                    <a:pt x="9" y="289"/>
                  </a:lnTo>
                  <a:lnTo>
                    <a:pt x="65" y="349"/>
                  </a:lnTo>
                  <a:lnTo>
                    <a:pt x="182" y="335"/>
                  </a:lnTo>
                  <a:lnTo>
                    <a:pt x="191" y="373"/>
                  </a:lnTo>
                  <a:lnTo>
                    <a:pt x="103" y="415"/>
                  </a:lnTo>
                  <a:lnTo>
                    <a:pt x="24" y="377"/>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US"/>
            </a:p>
          </p:txBody>
        </p:sp>
        <p:sp>
          <p:nvSpPr>
            <p:cNvPr id="224" name="Freeform 65">
              <a:extLst>
                <a:ext uri="{FF2B5EF4-FFF2-40B4-BE49-F238E27FC236}">
                  <a16:creationId xmlns:a16="http://schemas.microsoft.com/office/drawing/2014/main" id="{4089A4A4-24AC-4E6D-9D76-15A4F895EA9C}"/>
                </a:ext>
              </a:extLst>
            </p:cNvPr>
            <p:cNvSpPr>
              <a:spLocks/>
            </p:cNvSpPr>
            <p:nvPr/>
          </p:nvSpPr>
          <p:spPr bwMode="auto">
            <a:xfrm>
              <a:off x="4869657" y="1835943"/>
              <a:ext cx="42863" cy="49213"/>
            </a:xfrm>
            <a:custGeom>
              <a:avLst/>
              <a:gdLst>
                <a:gd name="T0" fmla="*/ 52 w 80"/>
                <a:gd name="T1" fmla="*/ 0 h 93"/>
                <a:gd name="T2" fmla="*/ 80 w 80"/>
                <a:gd name="T3" fmla="*/ 41 h 93"/>
                <a:gd name="T4" fmla="*/ 66 w 80"/>
                <a:gd name="T5" fmla="*/ 93 h 93"/>
                <a:gd name="T6" fmla="*/ 38 w 80"/>
                <a:gd name="T7" fmla="*/ 93 h 93"/>
                <a:gd name="T8" fmla="*/ 0 w 80"/>
                <a:gd name="T9" fmla="*/ 51 h 93"/>
                <a:gd name="T10" fmla="*/ 10 w 80"/>
                <a:gd name="T11" fmla="*/ 19 h 93"/>
                <a:gd name="T12" fmla="*/ 52 w 80"/>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80" h="93">
                  <a:moveTo>
                    <a:pt x="52" y="0"/>
                  </a:moveTo>
                  <a:lnTo>
                    <a:pt x="80" y="41"/>
                  </a:lnTo>
                  <a:lnTo>
                    <a:pt x="66" y="93"/>
                  </a:lnTo>
                  <a:lnTo>
                    <a:pt x="38" y="93"/>
                  </a:lnTo>
                  <a:lnTo>
                    <a:pt x="0" y="51"/>
                  </a:lnTo>
                  <a:lnTo>
                    <a:pt x="10" y="19"/>
                  </a:lnTo>
                  <a:lnTo>
                    <a:pt x="5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66">
              <a:extLst>
                <a:ext uri="{FF2B5EF4-FFF2-40B4-BE49-F238E27FC236}">
                  <a16:creationId xmlns:a16="http://schemas.microsoft.com/office/drawing/2014/main" id="{61ADEEF5-89F9-4B68-980F-69AAB722DC4E}"/>
                </a:ext>
              </a:extLst>
            </p:cNvPr>
            <p:cNvSpPr>
              <a:spLocks/>
            </p:cNvSpPr>
            <p:nvPr/>
          </p:nvSpPr>
          <p:spPr bwMode="auto">
            <a:xfrm>
              <a:off x="5498307" y="1774031"/>
              <a:ext cx="57150" cy="47625"/>
            </a:xfrm>
            <a:custGeom>
              <a:avLst/>
              <a:gdLst>
                <a:gd name="T0" fmla="*/ 28 w 107"/>
                <a:gd name="T1" fmla="*/ 0 h 89"/>
                <a:gd name="T2" fmla="*/ 107 w 107"/>
                <a:gd name="T3" fmla="*/ 23 h 89"/>
                <a:gd name="T4" fmla="*/ 102 w 107"/>
                <a:gd name="T5" fmla="*/ 89 h 89"/>
                <a:gd name="T6" fmla="*/ 19 w 107"/>
                <a:gd name="T7" fmla="*/ 46 h 89"/>
                <a:gd name="T8" fmla="*/ 0 w 107"/>
                <a:gd name="T9" fmla="*/ 23 h 89"/>
                <a:gd name="T10" fmla="*/ 28 w 107"/>
                <a:gd name="T11" fmla="*/ 0 h 89"/>
              </a:gdLst>
              <a:ahLst/>
              <a:cxnLst>
                <a:cxn ang="0">
                  <a:pos x="T0" y="T1"/>
                </a:cxn>
                <a:cxn ang="0">
                  <a:pos x="T2" y="T3"/>
                </a:cxn>
                <a:cxn ang="0">
                  <a:pos x="T4" y="T5"/>
                </a:cxn>
                <a:cxn ang="0">
                  <a:pos x="T6" y="T7"/>
                </a:cxn>
                <a:cxn ang="0">
                  <a:pos x="T8" y="T9"/>
                </a:cxn>
                <a:cxn ang="0">
                  <a:pos x="T10" y="T11"/>
                </a:cxn>
              </a:cxnLst>
              <a:rect l="0" t="0" r="r" b="b"/>
              <a:pathLst>
                <a:path w="107" h="89">
                  <a:moveTo>
                    <a:pt x="28" y="0"/>
                  </a:moveTo>
                  <a:lnTo>
                    <a:pt x="107" y="23"/>
                  </a:lnTo>
                  <a:lnTo>
                    <a:pt x="102" y="89"/>
                  </a:lnTo>
                  <a:lnTo>
                    <a:pt x="19" y="46"/>
                  </a:lnTo>
                  <a:lnTo>
                    <a:pt x="0" y="23"/>
                  </a:lnTo>
                  <a:lnTo>
                    <a:pt x="2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6" name="Freeform 76">
              <a:extLst>
                <a:ext uri="{FF2B5EF4-FFF2-40B4-BE49-F238E27FC236}">
                  <a16:creationId xmlns:a16="http://schemas.microsoft.com/office/drawing/2014/main" id="{1F5F02B0-A0E4-4478-BA6C-0051D9696163}"/>
                </a:ext>
              </a:extLst>
            </p:cNvPr>
            <p:cNvSpPr>
              <a:spLocks/>
            </p:cNvSpPr>
            <p:nvPr/>
          </p:nvSpPr>
          <p:spPr bwMode="auto">
            <a:xfrm>
              <a:off x="8646319" y="4452143"/>
              <a:ext cx="1038225" cy="969963"/>
            </a:xfrm>
            <a:custGeom>
              <a:avLst/>
              <a:gdLst>
                <a:gd name="T0" fmla="*/ 80 w 1963"/>
                <a:gd name="T1" fmla="*/ 803 h 1832"/>
                <a:gd name="T2" fmla="*/ 73 w 1963"/>
                <a:gd name="T3" fmla="*/ 1238 h 1832"/>
                <a:gd name="T4" fmla="*/ 6 w 1963"/>
                <a:gd name="T5" fmla="*/ 1286 h 1832"/>
                <a:gd name="T6" fmla="*/ 0 w 1963"/>
                <a:gd name="T7" fmla="*/ 1329 h 1832"/>
                <a:gd name="T8" fmla="*/ 92 w 1963"/>
                <a:gd name="T9" fmla="*/ 1391 h 1832"/>
                <a:gd name="T10" fmla="*/ 316 w 1963"/>
                <a:gd name="T11" fmla="*/ 1347 h 1832"/>
                <a:gd name="T12" fmla="*/ 432 w 1963"/>
                <a:gd name="T13" fmla="*/ 1347 h 1832"/>
                <a:gd name="T14" fmla="*/ 474 w 1963"/>
                <a:gd name="T15" fmla="*/ 1286 h 1832"/>
                <a:gd name="T16" fmla="*/ 729 w 1963"/>
                <a:gd name="T17" fmla="*/ 1238 h 1832"/>
                <a:gd name="T18" fmla="*/ 912 w 1963"/>
                <a:gd name="T19" fmla="*/ 1293 h 1832"/>
                <a:gd name="T20" fmla="*/ 900 w 1963"/>
                <a:gd name="T21" fmla="*/ 1366 h 1832"/>
                <a:gd name="T22" fmla="*/ 924 w 1963"/>
                <a:gd name="T23" fmla="*/ 1440 h 1832"/>
                <a:gd name="T24" fmla="*/ 1063 w 1963"/>
                <a:gd name="T25" fmla="*/ 1415 h 1832"/>
                <a:gd name="T26" fmla="*/ 1069 w 1963"/>
                <a:gd name="T27" fmla="*/ 1452 h 1832"/>
                <a:gd name="T28" fmla="*/ 979 w 1963"/>
                <a:gd name="T29" fmla="*/ 1519 h 1832"/>
                <a:gd name="T30" fmla="*/ 1008 w 1963"/>
                <a:gd name="T31" fmla="*/ 1543 h 1832"/>
                <a:gd name="T32" fmla="*/ 1075 w 1963"/>
                <a:gd name="T33" fmla="*/ 1519 h 1832"/>
                <a:gd name="T34" fmla="*/ 1057 w 1963"/>
                <a:gd name="T35" fmla="*/ 1721 h 1832"/>
                <a:gd name="T36" fmla="*/ 1185 w 1963"/>
                <a:gd name="T37" fmla="*/ 1819 h 1832"/>
                <a:gd name="T38" fmla="*/ 1258 w 1963"/>
                <a:gd name="T39" fmla="*/ 1795 h 1832"/>
                <a:gd name="T40" fmla="*/ 1294 w 1963"/>
                <a:gd name="T41" fmla="*/ 1832 h 1832"/>
                <a:gd name="T42" fmla="*/ 1507 w 1963"/>
                <a:gd name="T43" fmla="*/ 1801 h 1832"/>
                <a:gd name="T44" fmla="*/ 1708 w 1963"/>
                <a:gd name="T45" fmla="*/ 1476 h 1832"/>
                <a:gd name="T46" fmla="*/ 1781 w 1963"/>
                <a:gd name="T47" fmla="*/ 1458 h 1832"/>
                <a:gd name="T48" fmla="*/ 1927 w 1963"/>
                <a:gd name="T49" fmla="*/ 1188 h 1832"/>
                <a:gd name="T50" fmla="*/ 1963 w 1963"/>
                <a:gd name="T51" fmla="*/ 955 h 1832"/>
                <a:gd name="T52" fmla="*/ 1872 w 1963"/>
                <a:gd name="T53" fmla="*/ 840 h 1832"/>
                <a:gd name="T54" fmla="*/ 1908 w 1963"/>
                <a:gd name="T55" fmla="*/ 815 h 1832"/>
                <a:gd name="T56" fmla="*/ 1835 w 1963"/>
                <a:gd name="T57" fmla="*/ 588 h 1832"/>
                <a:gd name="T58" fmla="*/ 1756 w 1963"/>
                <a:gd name="T59" fmla="*/ 533 h 1832"/>
                <a:gd name="T60" fmla="*/ 1768 w 1963"/>
                <a:gd name="T61" fmla="*/ 227 h 1832"/>
                <a:gd name="T62" fmla="*/ 1695 w 1963"/>
                <a:gd name="T63" fmla="*/ 172 h 1832"/>
                <a:gd name="T64" fmla="*/ 1677 w 1963"/>
                <a:gd name="T65" fmla="*/ 0 h 1832"/>
                <a:gd name="T66" fmla="*/ 1641 w 1963"/>
                <a:gd name="T67" fmla="*/ 0 h 1832"/>
                <a:gd name="T68" fmla="*/ 1519 w 1963"/>
                <a:gd name="T69" fmla="*/ 404 h 1832"/>
                <a:gd name="T70" fmla="*/ 1453 w 1963"/>
                <a:gd name="T71" fmla="*/ 410 h 1832"/>
                <a:gd name="T72" fmla="*/ 1301 w 1963"/>
                <a:gd name="T73" fmla="*/ 257 h 1832"/>
                <a:gd name="T74" fmla="*/ 1386 w 1963"/>
                <a:gd name="T75" fmla="*/ 31 h 1832"/>
                <a:gd name="T76" fmla="*/ 1227 w 1963"/>
                <a:gd name="T77" fmla="*/ 0 h 1832"/>
                <a:gd name="T78" fmla="*/ 1052 w 1963"/>
                <a:gd name="T79" fmla="*/ 49 h 1832"/>
                <a:gd name="T80" fmla="*/ 1003 w 1963"/>
                <a:gd name="T81" fmla="*/ 190 h 1832"/>
                <a:gd name="T82" fmla="*/ 924 w 1963"/>
                <a:gd name="T83" fmla="*/ 208 h 1832"/>
                <a:gd name="T84" fmla="*/ 918 w 1963"/>
                <a:gd name="T85" fmla="*/ 111 h 1832"/>
                <a:gd name="T86" fmla="*/ 596 w 1963"/>
                <a:gd name="T87" fmla="*/ 307 h 1832"/>
                <a:gd name="T88" fmla="*/ 602 w 1963"/>
                <a:gd name="T89" fmla="*/ 380 h 1832"/>
                <a:gd name="T90" fmla="*/ 554 w 1963"/>
                <a:gd name="T91" fmla="*/ 447 h 1832"/>
                <a:gd name="T92" fmla="*/ 432 w 1963"/>
                <a:gd name="T93" fmla="*/ 447 h 1832"/>
                <a:gd name="T94" fmla="*/ 171 w 1963"/>
                <a:gd name="T95" fmla="*/ 558 h 1832"/>
                <a:gd name="T96" fmla="*/ 80 w 1963"/>
                <a:gd name="T97" fmla="*/ 803 h 1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3" h="1832">
                  <a:moveTo>
                    <a:pt x="80" y="803"/>
                  </a:moveTo>
                  <a:lnTo>
                    <a:pt x="73" y="1238"/>
                  </a:lnTo>
                  <a:lnTo>
                    <a:pt x="6" y="1286"/>
                  </a:lnTo>
                  <a:lnTo>
                    <a:pt x="0" y="1329"/>
                  </a:lnTo>
                  <a:lnTo>
                    <a:pt x="92" y="1391"/>
                  </a:lnTo>
                  <a:lnTo>
                    <a:pt x="316" y="1347"/>
                  </a:lnTo>
                  <a:lnTo>
                    <a:pt x="432" y="1347"/>
                  </a:lnTo>
                  <a:lnTo>
                    <a:pt x="474" y="1286"/>
                  </a:lnTo>
                  <a:lnTo>
                    <a:pt x="729" y="1238"/>
                  </a:lnTo>
                  <a:lnTo>
                    <a:pt x="912" y="1293"/>
                  </a:lnTo>
                  <a:lnTo>
                    <a:pt x="900" y="1366"/>
                  </a:lnTo>
                  <a:lnTo>
                    <a:pt x="924" y="1440"/>
                  </a:lnTo>
                  <a:lnTo>
                    <a:pt x="1063" y="1415"/>
                  </a:lnTo>
                  <a:lnTo>
                    <a:pt x="1069" y="1452"/>
                  </a:lnTo>
                  <a:lnTo>
                    <a:pt x="979" y="1519"/>
                  </a:lnTo>
                  <a:lnTo>
                    <a:pt x="1008" y="1543"/>
                  </a:lnTo>
                  <a:lnTo>
                    <a:pt x="1075" y="1519"/>
                  </a:lnTo>
                  <a:lnTo>
                    <a:pt x="1057" y="1721"/>
                  </a:lnTo>
                  <a:lnTo>
                    <a:pt x="1185" y="1819"/>
                  </a:lnTo>
                  <a:lnTo>
                    <a:pt x="1258" y="1795"/>
                  </a:lnTo>
                  <a:lnTo>
                    <a:pt x="1294" y="1832"/>
                  </a:lnTo>
                  <a:lnTo>
                    <a:pt x="1507" y="1801"/>
                  </a:lnTo>
                  <a:lnTo>
                    <a:pt x="1708" y="1476"/>
                  </a:lnTo>
                  <a:lnTo>
                    <a:pt x="1781" y="1458"/>
                  </a:lnTo>
                  <a:lnTo>
                    <a:pt x="1927" y="1188"/>
                  </a:lnTo>
                  <a:lnTo>
                    <a:pt x="1963" y="955"/>
                  </a:lnTo>
                  <a:lnTo>
                    <a:pt x="1872" y="840"/>
                  </a:lnTo>
                  <a:lnTo>
                    <a:pt x="1908" y="815"/>
                  </a:lnTo>
                  <a:lnTo>
                    <a:pt x="1835" y="588"/>
                  </a:lnTo>
                  <a:lnTo>
                    <a:pt x="1756" y="533"/>
                  </a:lnTo>
                  <a:lnTo>
                    <a:pt x="1768" y="227"/>
                  </a:lnTo>
                  <a:lnTo>
                    <a:pt x="1695" y="172"/>
                  </a:lnTo>
                  <a:lnTo>
                    <a:pt x="1677" y="0"/>
                  </a:lnTo>
                  <a:lnTo>
                    <a:pt x="1641" y="0"/>
                  </a:lnTo>
                  <a:lnTo>
                    <a:pt x="1519" y="404"/>
                  </a:lnTo>
                  <a:lnTo>
                    <a:pt x="1453" y="410"/>
                  </a:lnTo>
                  <a:lnTo>
                    <a:pt x="1301" y="257"/>
                  </a:lnTo>
                  <a:lnTo>
                    <a:pt x="1386" y="31"/>
                  </a:lnTo>
                  <a:lnTo>
                    <a:pt x="1227" y="0"/>
                  </a:lnTo>
                  <a:lnTo>
                    <a:pt x="1052" y="49"/>
                  </a:lnTo>
                  <a:lnTo>
                    <a:pt x="1003" y="190"/>
                  </a:lnTo>
                  <a:lnTo>
                    <a:pt x="924" y="208"/>
                  </a:lnTo>
                  <a:lnTo>
                    <a:pt x="918" y="111"/>
                  </a:lnTo>
                  <a:lnTo>
                    <a:pt x="596" y="307"/>
                  </a:lnTo>
                  <a:lnTo>
                    <a:pt x="602" y="380"/>
                  </a:lnTo>
                  <a:lnTo>
                    <a:pt x="554" y="447"/>
                  </a:lnTo>
                  <a:lnTo>
                    <a:pt x="432" y="447"/>
                  </a:lnTo>
                  <a:lnTo>
                    <a:pt x="171" y="558"/>
                  </a:lnTo>
                  <a:lnTo>
                    <a:pt x="80" y="80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7" name="Freeform 77">
              <a:extLst>
                <a:ext uri="{FF2B5EF4-FFF2-40B4-BE49-F238E27FC236}">
                  <a16:creationId xmlns:a16="http://schemas.microsoft.com/office/drawing/2014/main" id="{DA54106A-BAB5-4BFC-9604-9F9BC53F2A88}"/>
                </a:ext>
              </a:extLst>
            </p:cNvPr>
            <p:cNvSpPr>
              <a:spLocks/>
            </p:cNvSpPr>
            <p:nvPr/>
          </p:nvSpPr>
          <p:spPr bwMode="auto">
            <a:xfrm>
              <a:off x="9257507" y="5496718"/>
              <a:ext cx="106363" cy="109538"/>
            </a:xfrm>
            <a:custGeom>
              <a:avLst/>
              <a:gdLst>
                <a:gd name="T0" fmla="*/ 31 w 201"/>
                <a:gd name="T1" fmla="*/ 0 h 208"/>
                <a:gd name="T2" fmla="*/ 0 w 201"/>
                <a:gd name="T3" fmla="*/ 121 h 208"/>
                <a:gd name="T4" fmla="*/ 6 w 201"/>
                <a:gd name="T5" fmla="*/ 208 h 208"/>
                <a:gd name="T6" fmla="*/ 98 w 201"/>
                <a:gd name="T7" fmla="*/ 202 h 208"/>
                <a:gd name="T8" fmla="*/ 201 w 201"/>
                <a:gd name="T9" fmla="*/ 42 h 208"/>
                <a:gd name="T10" fmla="*/ 31 w 201"/>
                <a:gd name="T11" fmla="*/ 0 h 208"/>
              </a:gdLst>
              <a:ahLst/>
              <a:cxnLst>
                <a:cxn ang="0">
                  <a:pos x="T0" y="T1"/>
                </a:cxn>
                <a:cxn ang="0">
                  <a:pos x="T2" y="T3"/>
                </a:cxn>
                <a:cxn ang="0">
                  <a:pos x="T4" y="T5"/>
                </a:cxn>
                <a:cxn ang="0">
                  <a:pos x="T6" y="T7"/>
                </a:cxn>
                <a:cxn ang="0">
                  <a:pos x="T8" y="T9"/>
                </a:cxn>
                <a:cxn ang="0">
                  <a:pos x="T10" y="T11"/>
                </a:cxn>
              </a:cxnLst>
              <a:rect l="0" t="0" r="r" b="b"/>
              <a:pathLst>
                <a:path w="201" h="208">
                  <a:moveTo>
                    <a:pt x="31" y="0"/>
                  </a:moveTo>
                  <a:lnTo>
                    <a:pt x="0" y="121"/>
                  </a:lnTo>
                  <a:lnTo>
                    <a:pt x="6" y="208"/>
                  </a:lnTo>
                  <a:lnTo>
                    <a:pt x="98" y="202"/>
                  </a:lnTo>
                  <a:lnTo>
                    <a:pt x="201" y="42"/>
                  </a:lnTo>
                  <a:lnTo>
                    <a:pt x="3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8" name="Freeform 78">
              <a:extLst>
                <a:ext uri="{FF2B5EF4-FFF2-40B4-BE49-F238E27FC236}">
                  <a16:creationId xmlns:a16="http://schemas.microsoft.com/office/drawing/2014/main" id="{CE797E8E-E982-4D93-9704-21810089D212}"/>
                </a:ext>
              </a:extLst>
            </p:cNvPr>
            <p:cNvSpPr>
              <a:spLocks/>
            </p:cNvSpPr>
            <p:nvPr/>
          </p:nvSpPr>
          <p:spPr bwMode="auto">
            <a:xfrm>
              <a:off x="10013157" y="5366543"/>
              <a:ext cx="147638" cy="293688"/>
            </a:xfrm>
            <a:custGeom>
              <a:avLst/>
              <a:gdLst>
                <a:gd name="T0" fmla="*/ 98 w 280"/>
                <a:gd name="T1" fmla="*/ 0 h 557"/>
                <a:gd name="T2" fmla="*/ 116 w 280"/>
                <a:gd name="T3" fmla="*/ 203 h 557"/>
                <a:gd name="T4" fmla="*/ 92 w 280"/>
                <a:gd name="T5" fmla="*/ 294 h 557"/>
                <a:gd name="T6" fmla="*/ 0 w 280"/>
                <a:gd name="T7" fmla="*/ 361 h 557"/>
                <a:gd name="T8" fmla="*/ 6 w 280"/>
                <a:gd name="T9" fmla="*/ 442 h 557"/>
                <a:gd name="T10" fmla="*/ 6 w 280"/>
                <a:gd name="T11" fmla="*/ 527 h 557"/>
                <a:gd name="T12" fmla="*/ 31 w 280"/>
                <a:gd name="T13" fmla="*/ 557 h 557"/>
                <a:gd name="T14" fmla="*/ 280 w 280"/>
                <a:gd name="T15" fmla="*/ 343 h 557"/>
                <a:gd name="T16" fmla="*/ 280 w 280"/>
                <a:gd name="T17" fmla="*/ 294 h 557"/>
                <a:gd name="T18" fmla="*/ 219 w 280"/>
                <a:gd name="T19" fmla="*/ 294 h 557"/>
                <a:gd name="T20" fmla="*/ 134 w 280"/>
                <a:gd name="T21" fmla="*/ 7 h 557"/>
                <a:gd name="T22" fmla="*/ 98 w 280"/>
                <a:gd name="T23"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557">
                  <a:moveTo>
                    <a:pt x="98" y="0"/>
                  </a:moveTo>
                  <a:lnTo>
                    <a:pt x="116" y="203"/>
                  </a:lnTo>
                  <a:lnTo>
                    <a:pt x="92" y="294"/>
                  </a:lnTo>
                  <a:lnTo>
                    <a:pt x="0" y="361"/>
                  </a:lnTo>
                  <a:lnTo>
                    <a:pt x="6" y="442"/>
                  </a:lnTo>
                  <a:lnTo>
                    <a:pt x="6" y="527"/>
                  </a:lnTo>
                  <a:lnTo>
                    <a:pt x="31" y="557"/>
                  </a:lnTo>
                  <a:lnTo>
                    <a:pt x="280" y="343"/>
                  </a:lnTo>
                  <a:lnTo>
                    <a:pt x="280" y="294"/>
                  </a:lnTo>
                  <a:lnTo>
                    <a:pt x="219" y="294"/>
                  </a:lnTo>
                  <a:lnTo>
                    <a:pt x="134" y="7"/>
                  </a:lnTo>
                  <a:lnTo>
                    <a:pt x="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79">
              <a:extLst>
                <a:ext uri="{FF2B5EF4-FFF2-40B4-BE49-F238E27FC236}">
                  <a16:creationId xmlns:a16="http://schemas.microsoft.com/office/drawing/2014/main" id="{78EC4937-6F9B-4A18-BF1F-A50C34F9C82D}"/>
                </a:ext>
              </a:extLst>
            </p:cNvPr>
            <p:cNvSpPr>
              <a:spLocks/>
            </p:cNvSpPr>
            <p:nvPr/>
          </p:nvSpPr>
          <p:spPr bwMode="auto">
            <a:xfrm>
              <a:off x="9706769" y="5599906"/>
              <a:ext cx="287338" cy="233363"/>
            </a:xfrm>
            <a:custGeom>
              <a:avLst/>
              <a:gdLst>
                <a:gd name="T0" fmla="*/ 492 w 541"/>
                <a:gd name="T1" fmla="*/ 0 h 440"/>
                <a:gd name="T2" fmla="*/ 541 w 541"/>
                <a:gd name="T3" fmla="*/ 91 h 440"/>
                <a:gd name="T4" fmla="*/ 407 w 541"/>
                <a:gd name="T5" fmla="*/ 220 h 440"/>
                <a:gd name="T6" fmla="*/ 395 w 541"/>
                <a:gd name="T7" fmla="*/ 287 h 440"/>
                <a:gd name="T8" fmla="*/ 304 w 541"/>
                <a:gd name="T9" fmla="*/ 299 h 440"/>
                <a:gd name="T10" fmla="*/ 152 w 541"/>
                <a:gd name="T11" fmla="*/ 440 h 440"/>
                <a:gd name="T12" fmla="*/ 12 w 541"/>
                <a:gd name="T13" fmla="*/ 373 h 440"/>
                <a:gd name="T14" fmla="*/ 0 w 541"/>
                <a:gd name="T15" fmla="*/ 323 h 440"/>
                <a:gd name="T16" fmla="*/ 256 w 541"/>
                <a:gd name="T17" fmla="*/ 214 h 440"/>
                <a:gd name="T18" fmla="*/ 492 w 541"/>
                <a:gd name="T19"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1" h="440">
                  <a:moveTo>
                    <a:pt x="492" y="0"/>
                  </a:moveTo>
                  <a:lnTo>
                    <a:pt x="541" y="91"/>
                  </a:lnTo>
                  <a:lnTo>
                    <a:pt x="407" y="220"/>
                  </a:lnTo>
                  <a:lnTo>
                    <a:pt x="395" y="287"/>
                  </a:lnTo>
                  <a:lnTo>
                    <a:pt x="304" y="299"/>
                  </a:lnTo>
                  <a:lnTo>
                    <a:pt x="152" y="440"/>
                  </a:lnTo>
                  <a:lnTo>
                    <a:pt x="12" y="373"/>
                  </a:lnTo>
                  <a:lnTo>
                    <a:pt x="0" y="323"/>
                  </a:lnTo>
                  <a:lnTo>
                    <a:pt x="256" y="214"/>
                  </a:lnTo>
                  <a:lnTo>
                    <a:pt x="49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80">
              <a:extLst>
                <a:ext uri="{FF2B5EF4-FFF2-40B4-BE49-F238E27FC236}">
                  <a16:creationId xmlns:a16="http://schemas.microsoft.com/office/drawing/2014/main" id="{FCA1B1EB-5FD5-45D9-8B63-EB4344D31A86}"/>
                </a:ext>
              </a:extLst>
            </p:cNvPr>
            <p:cNvSpPr>
              <a:spLocks/>
            </p:cNvSpPr>
            <p:nvPr/>
          </p:nvSpPr>
          <p:spPr bwMode="auto">
            <a:xfrm>
              <a:off x="10003632" y="4809331"/>
              <a:ext cx="66675" cy="84138"/>
            </a:xfrm>
            <a:custGeom>
              <a:avLst/>
              <a:gdLst>
                <a:gd name="T0" fmla="*/ 6 w 128"/>
                <a:gd name="T1" fmla="*/ 0 h 160"/>
                <a:gd name="T2" fmla="*/ 0 w 128"/>
                <a:gd name="T3" fmla="*/ 31 h 160"/>
                <a:gd name="T4" fmla="*/ 79 w 128"/>
                <a:gd name="T5" fmla="*/ 141 h 160"/>
                <a:gd name="T6" fmla="*/ 122 w 128"/>
                <a:gd name="T7" fmla="*/ 160 h 160"/>
                <a:gd name="T8" fmla="*/ 128 w 128"/>
                <a:gd name="T9" fmla="*/ 117 h 160"/>
                <a:gd name="T10" fmla="*/ 6 w 128"/>
                <a:gd name="T11" fmla="*/ 0 h 160"/>
              </a:gdLst>
              <a:ahLst/>
              <a:cxnLst>
                <a:cxn ang="0">
                  <a:pos x="T0" y="T1"/>
                </a:cxn>
                <a:cxn ang="0">
                  <a:pos x="T2" y="T3"/>
                </a:cxn>
                <a:cxn ang="0">
                  <a:pos x="T4" y="T5"/>
                </a:cxn>
                <a:cxn ang="0">
                  <a:pos x="T6" y="T7"/>
                </a:cxn>
                <a:cxn ang="0">
                  <a:pos x="T8" y="T9"/>
                </a:cxn>
                <a:cxn ang="0">
                  <a:pos x="T10" y="T11"/>
                </a:cxn>
              </a:cxnLst>
              <a:rect l="0" t="0" r="r" b="b"/>
              <a:pathLst>
                <a:path w="128" h="160">
                  <a:moveTo>
                    <a:pt x="6" y="0"/>
                  </a:moveTo>
                  <a:lnTo>
                    <a:pt x="0" y="31"/>
                  </a:lnTo>
                  <a:lnTo>
                    <a:pt x="79" y="141"/>
                  </a:lnTo>
                  <a:lnTo>
                    <a:pt x="122" y="160"/>
                  </a:lnTo>
                  <a:lnTo>
                    <a:pt x="128" y="117"/>
                  </a:lnTo>
                  <a:lnTo>
                    <a:pt x="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81">
              <a:extLst>
                <a:ext uri="{FF2B5EF4-FFF2-40B4-BE49-F238E27FC236}">
                  <a16:creationId xmlns:a16="http://schemas.microsoft.com/office/drawing/2014/main" id="{B50A05DF-A4C8-4E6F-8D68-4742902D6724}"/>
                </a:ext>
              </a:extLst>
            </p:cNvPr>
            <p:cNvSpPr>
              <a:spLocks/>
            </p:cNvSpPr>
            <p:nvPr/>
          </p:nvSpPr>
          <p:spPr bwMode="auto">
            <a:xfrm>
              <a:off x="8335169" y="3875881"/>
              <a:ext cx="284163" cy="344488"/>
            </a:xfrm>
            <a:custGeom>
              <a:avLst/>
              <a:gdLst>
                <a:gd name="T0" fmla="*/ 5 w 538"/>
                <a:gd name="T1" fmla="*/ 0 h 650"/>
                <a:gd name="T2" fmla="*/ 0 w 538"/>
                <a:gd name="T3" fmla="*/ 39 h 650"/>
                <a:gd name="T4" fmla="*/ 116 w 538"/>
                <a:gd name="T5" fmla="*/ 235 h 650"/>
                <a:gd name="T6" fmla="*/ 150 w 538"/>
                <a:gd name="T7" fmla="*/ 235 h 650"/>
                <a:gd name="T8" fmla="*/ 393 w 538"/>
                <a:gd name="T9" fmla="*/ 640 h 650"/>
                <a:gd name="T10" fmla="*/ 489 w 538"/>
                <a:gd name="T11" fmla="*/ 650 h 650"/>
                <a:gd name="T12" fmla="*/ 538 w 538"/>
                <a:gd name="T13" fmla="*/ 508 h 650"/>
                <a:gd name="T14" fmla="*/ 461 w 538"/>
                <a:gd name="T15" fmla="*/ 459 h 650"/>
                <a:gd name="T16" fmla="*/ 445 w 538"/>
                <a:gd name="T17" fmla="*/ 381 h 650"/>
                <a:gd name="T18" fmla="*/ 5 w 538"/>
                <a:gd name="T19"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8" h="650">
                  <a:moveTo>
                    <a:pt x="5" y="0"/>
                  </a:moveTo>
                  <a:lnTo>
                    <a:pt x="0" y="39"/>
                  </a:lnTo>
                  <a:lnTo>
                    <a:pt x="116" y="235"/>
                  </a:lnTo>
                  <a:lnTo>
                    <a:pt x="150" y="235"/>
                  </a:lnTo>
                  <a:lnTo>
                    <a:pt x="393" y="640"/>
                  </a:lnTo>
                  <a:lnTo>
                    <a:pt x="489" y="650"/>
                  </a:lnTo>
                  <a:lnTo>
                    <a:pt x="538" y="508"/>
                  </a:lnTo>
                  <a:lnTo>
                    <a:pt x="461" y="459"/>
                  </a:lnTo>
                  <a:lnTo>
                    <a:pt x="445" y="381"/>
                  </a:lnTo>
                  <a:lnTo>
                    <a:pt x="5"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32" name="Freeform 82">
              <a:extLst>
                <a:ext uri="{FF2B5EF4-FFF2-40B4-BE49-F238E27FC236}">
                  <a16:creationId xmlns:a16="http://schemas.microsoft.com/office/drawing/2014/main" id="{FD29C1DC-F5ED-4B4C-BFBE-B6EF2FDE4D14}"/>
                </a:ext>
              </a:extLst>
            </p:cNvPr>
            <p:cNvSpPr>
              <a:spLocks/>
            </p:cNvSpPr>
            <p:nvPr/>
          </p:nvSpPr>
          <p:spPr bwMode="auto">
            <a:xfrm>
              <a:off x="8714582" y="3833018"/>
              <a:ext cx="242888" cy="214313"/>
            </a:xfrm>
            <a:custGeom>
              <a:avLst/>
              <a:gdLst>
                <a:gd name="T0" fmla="*/ 0 w 458"/>
                <a:gd name="T1" fmla="*/ 344 h 404"/>
                <a:gd name="T2" fmla="*/ 52 w 458"/>
                <a:gd name="T3" fmla="*/ 404 h 404"/>
                <a:gd name="T4" fmla="*/ 250 w 458"/>
                <a:gd name="T5" fmla="*/ 335 h 404"/>
                <a:gd name="T6" fmla="*/ 290 w 458"/>
                <a:gd name="T7" fmla="*/ 184 h 404"/>
                <a:gd name="T8" fmla="*/ 378 w 458"/>
                <a:gd name="T9" fmla="*/ 177 h 404"/>
                <a:gd name="T10" fmla="*/ 458 w 458"/>
                <a:gd name="T11" fmla="*/ 119 h 404"/>
                <a:gd name="T12" fmla="*/ 354 w 458"/>
                <a:gd name="T13" fmla="*/ 42 h 404"/>
                <a:gd name="T14" fmla="*/ 330 w 458"/>
                <a:gd name="T15" fmla="*/ 0 h 404"/>
                <a:gd name="T16" fmla="*/ 278 w 458"/>
                <a:gd name="T17" fmla="*/ 95 h 404"/>
                <a:gd name="T18" fmla="*/ 297 w 458"/>
                <a:gd name="T19" fmla="*/ 150 h 404"/>
                <a:gd name="T20" fmla="*/ 265 w 458"/>
                <a:gd name="T21" fmla="*/ 196 h 404"/>
                <a:gd name="T22" fmla="*/ 206 w 458"/>
                <a:gd name="T23" fmla="*/ 180 h 404"/>
                <a:gd name="T24" fmla="*/ 62 w 458"/>
                <a:gd name="T25" fmla="*/ 286 h 404"/>
                <a:gd name="T26" fmla="*/ 66 w 458"/>
                <a:gd name="T27" fmla="*/ 348 h 404"/>
                <a:gd name="T28" fmla="*/ 0 w 458"/>
                <a:gd name="T29" fmla="*/ 34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8" h="404">
                  <a:moveTo>
                    <a:pt x="0" y="344"/>
                  </a:moveTo>
                  <a:lnTo>
                    <a:pt x="52" y="404"/>
                  </a:lnTo>
                  <a:lnTo>
                    <a:pt x="250" y="335"/>
                  </a:lnTo>
                  <a:lnTo>
                    <a:pt x="290" y="184"/>
                  </a:lnTo>
                  <a:lnTo>
                    <a:pt x="378" y="177"/>
                  </a:lnTo>
                  <a:lnTo>
                    <a:pt x="458" y="119"/>
                  </a:lnTo>
                  <a:lnTo>
                    <a:pt x="354" y="42"/>
                  </a:lnTo>
                  <a:lnTo>
                    <a:pt x="330" y="0"/>
                  </a:lnTo>
                  <a:lnTo>
                    <a:pt x="278" y="95"/>
                  </a:lnTo>
                  <a:lnTo>
                    <a:pt x="297" y="150"/>
                  </a:lnTo>
                  <a:lnTo>
                    <a:pt x="265" y="196"/>
                  </a:lnTo>
                  <a:lnTo>
                    <a:pt x="206" y="180"/>
                  </a:lnTo>
                  <a:lnTo>
                    <a:pt x="62" y="286"/>
                  </a:lnTo>
                  <a:lnTo>
                    <a:pt x="66" y="348"/>
                  </a:lnTo>
                  <a:lnTo>
                    <a:pt x="0" y="34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83">
              <a:extLst>
                <a:ext uri="{FF2B5EF4-FFF2-40B4-BE49-F238E27FC236}">
                  <a16:creationId xmlns:a16="http://schemas.microsoft.com/office/drawing/2014/main" id="{5C1E8756-1CD4-4449-B0C7-FDEAF3E82161}"/>
                </a:ext>
              </a:extLst>
            </p:cNvPr>
            <p:cNvSpPr>
              <a:spLocks/>
            </p:cNvSpPr>
            <p:nvPr/>
          </p:nvSpPr>
          <p:spPr bwMode="auto">
            <a:xfrm>
              <a:off x="8830469" y="3891756"/>
              <a:ext cx="33338" cy="38100"/>
            </a:xfrm>
            <a:custGeom>
              <a:avLst/>
              <a:gdLst>
                <a:gd name="T0" fmla="*/ 48 w 62"/>
                <a:gd name="T1" fmla="*/ 0 h 74"/>
                <a:gd name="T2" fmla="*/ 0 w 62"/>
                <a:gd name="T3" fmla="*/ 60 h 74"/>
                <a:gd name="T4" fmla="*/ 40 w 62"/>
                <a:gd name="T5" fmla="*/ 74 h 74"/>
                <a:gd name="T6" fmla="*/ 62 w 62"/>
                <a:gd name="T7" fmla="*/ 41 h 74"/>
                <a:gd name="T8" fmla="*/ 48 w 62"/>
                <a:gd name="T9" fmla="*/ 0 h 74"/>
              </a:gdLst>
              <a:ahLst/>
              <a:cxnLst>
                <a:cxn ang="0">
                  <a:pos x="T0" y="T1"/>
                </a:cxn>
                <a:cxn ang="0">
                  <a:pos x="T2" y="T3"/>
                </a:cxn>
                <a:cxn ang="0">
                  <a:pos x="T4" y="T5"/>
                </a:cxn>
                <a:cxn ang="0">
                  <a:pos x="T6" y="T7"/>
                </a:cxn>
                <a:cxn ang="0">
                  <a:pos x="T8" y="T9"/>
                </a:cxn>
              </a:cxnLst>
              <a:rect l="0" t="0" r="r" b="b"/>
              <a:pathLst>
                <a:path w="62" h="74">
                  <a:moveTo>
                    <a:pt x="48" y="0"/>
                  </a:moveTo>
                  <a:lnTo>
                    <a:pt x="0" y="60"/>
                  </a:lnTo>
                  <a:lnTo>
                    <a:pt x="40" y="74"/>
                  </a:lnTo>
                  <a:lnTo>
                    <a:pt x="62" y="41"/>
                  </a:lnTo>
                  <a:lnTo>
                    <a:pt x="4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84">
              <a:extLst>
                <a:ext uri="{FF2B5EF4-FFF2-40B4-BE49-F238E27FC236}">
                  <a16:creationId xmlns:a16="http://schemas.microsoft.com/office/drawing/2014/main" id="{D7A8A14F-6C8F-4942-A60C-10B327C54F30}"/>
                </a:ext>
              </a:extLst>
            </p:cNvPr>
            <p:cNvSpPr>
              <a:spLocks/>
            </p:cNvSpPr>
            <p:nvPr/>
          </p:nvSpPr>
          <p:spPr bwMode="auto">
            <a:xfrm>
              <a:off x="8944769" y="4002881"/>
              <a:ext cx="182563" cy="228600"/>
            </a:xfrm>
            <a:custGeom>
              <a:avLst/>
              <a:gdLst>
                <a:gd name="T0" fmla="*/ 0 w 345"/>
                <a:gd name="T1" fmla="*/ 300 h 432"/>
                <a:gd name="T2" fmla="*/ 38 w 345"/>
                <a:gd name="T3" fmla="*/ 348 h 432"/>
                <a:gd name="T4" fmla="*/ 13 w 345"/>
                <a:gd name="T5" fmla="*/ 419 h 432"/>
                <a:gd name="T6" fmla="*/ 13 w 345"/>
                <a:gd name="T7" fmla="*/ 432 h 432"/>
                <a:gd name="T8" fmla="*/ 71 w 345"/>
                <a:gd name="T9" fmla="*/ 432 h 432"/>
                <a:gd name="T10" fmla="*/ 91 w 345"/>
                <a:gd name="T11" fmla="*/ 254 h 432"/>
                <a:gd name="T12" fmla="*/ 109 w 345"/>
                <a:gd name="T13" fmla="*/ 259 h 432"/>
                <a:gd name="T14" fmla="*/ 143 w 345"/>
                <a:gd name="T15" fmla="*/ 422 h 432"/>
                <a:gd name="T16" fmla="*/ 175 w 345"/>
                <a:gd name="T17" fmla="*/ 431 h 432"/>
                <a:gd name="T18" fmla="*/ 205 w 345"/>
                <a:gd name="T19" fmla="*/ 361 h 432"/>
                <a:gd name="T20" fmla="*/ 175 w 345"/>
                <a:gd name="T21" fmla="*/ 255 h 432"/>
                <a:gd name="T22" fmla="*/ 150 w 345"/>
                <a:gd name="T23" fmla="*/ 210 h 432"/>
                <a:gd name="T24" fmla="*/ 229 w 345"/>
                <a:gd name="T25" fmla="*/ 153 h 432"/>
                <a:gd name="T26" fmla="*/ 211 w 345"/>
                <a:gd name="T27" fmla="*/ 126 h 432"/>
                <a:gd name="T28" fmla="*/ 135 w 345"/>
                <a:gd name="T29" fmla="*/ 176 h 432"/>
                <a:gd name="T30" fmla="*/ 114 w 345"/>
                <a:gd name="T31" fmla="*/ 176 h 432"/>
                <a:gd name="T32" fmla="*/ 78 w 345"/>
                <a:gd name="T33" fmla="*/ 121 h 432"/>
                <a:gd name="T34" fmla="*/ 89 w 345"/>
                <a:gd name="T35" fmla="*/ 98 h 432"/>
                <a:gd name="T36" fmla="*/ 152 w 345"/>
                <a:gd name="T37" fmla="*/ 68 h 432"/>
                <a:gd name="T38" fmla="*/ 245 w 345"/>
                <a:gd name="T39" fmla="*/ 96 h 432"/>
                <a:gd name="T40" fmla="*/ 275 w 345"/>
                <a:gd name="T41" fmla="*/ 94 h 432"/>
                <a:gd name="T42" fmla="*/ 345 w 345"/>
                <a:gd name="T43" fmla="*/ 28 h 432"/>
                <a:gd name="T44" fmla="*/ 316 w 345"/>
                <a:gd name="T45" fmla="*/ 0 h 432"/>
                <a:gd name="T46" fmla="*/ 251 w 345"/>
                <a:gd name="T47" fmla="*/ 50 h 432"/>
                <a:gd name="T48" fmla="*/ 209 w 345"/>
                <a:gd name="T49" fmla="*/ 50 h 432"/>
                <a:gd name="T50" fmla="*/ 145 w 345"/>
                <a:gd name="T51" fmla="*/ 20 h 432"/>
                <a:gd name="T52" fmla="*/ 99 w 345"/>
                <a:gd name="T53" fmla="*/ 22 h 432"/>
                <a:gd name="T54" fmla="*/ 49 w 345"/>
                <a:gd name="T55" fmla="*/ 103 h 432"/>
                <a:gd name="T56" fmla="*/ 17 w 345"/>
                <a:gd name="T57" fmla="*/ 244 h 432"/>
                <a:gd name="T58" fmla="*/ 0 w 345"/>
                <a:gd name="T59" fmla="*/ 30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5" h="432">
                  <a:moveTo>
                    <a:pt x="0" y="300"/>
                  </a:moveTo>
                  <a:lnTo>
                    <a:pt x="38" y="348"/>
                  </a:lnTo>
                  <a:lnTo>
                    <a:pt x="13" y="419"/>
                  </a:lnTo>
                  <a:lnTo>
                    <a:pt x="13" y="432"/>
                  </a:lnTo>
                  <a:lnTo>
                    <a:pt x="71" y="432"/>
                  </a:lnTo>
                  <a:lnTo>
                    <a:pt x="91" y="254"/>
                  </a:lnTo>
                  <a:lnTo>
                    <a:pt x="109" y="259"/>
                  </a:lnTo>
                  <a:lnTo>
                    <a:pt x="143" y="422"/>
                  </a:lnTo>
                  <a:lnTo>
                    <a:pt x="175" y="431"/>
                  </a:lnTo>
                  <a:lnTo>
                    <a:pt x="205" y="361"/>
                  </a:lnTo>
                  <a:lnTo>
                    <a:pt x="175" y="255"/>
                  </a:lnTo>
                  <a:lnTo>
                    <a:pt x="150" y="210"/>
                  </a:lnTo>
                  <a:lnTo>
                    <a:pt x="229" y="153"/>
                  </a:lnTo>
                  <a:lnTo>
                    <a:pt x="211" y="126"/>
                  </a:lnTo>
                  <a:lnTo>
                    <a:pt x="135" y="176"/>
                  </a:lnTo>
                  <a:lnTo>
                    <a:pt x="114" y="176"/>
                  </a:lnTo>
                  <a:lnTo>
                    <a:pt x="78" y="121"/>
                  </a:lnTo>
                  <a:lnTo>
                    <a:pt x="89" y="98"/>
                  </a:lnTo>
                  <a:lnTo>
                    <a:pt x="152" y="68"/>
                  </a:lnTo>
                  <a:lnTo>
                    <a:pt x="245" y="96"/>
                  </a:lnTo>
                  <a:lnTo>
                    <a:pt x="275" y="94"/>
                  </a:lnTo>
                  <a:lnTo>
                    <a:pt x="345" y="28"/>
                  </a:lnTo>
                  <a:lnTo>
                    <a:pt x="316" y="0"/>
                  </a:lnTo>
                  <a:lnTo>
                    <a:pt x="251" y="50"/>
                  </a:lnTo>
                  <a:lnTo>
                    <a:pt x="209" y="50"/>
                  </a:lnTo>
                  <a:lnTo>
                    <a:pt x="145" y="20"/>
                  </a:lnTo>
                  <a:lnTo>
                    <a:pt x="99" y="22"/>
                  </a:lnTo>
                  <a:lnTo>
                    <a:pt x="49" y="103"/>
                  </a:lnTo>
                  <a:lnTo>
                    <a:pt x="17" y="244"/>
                  </a:lnTo>
                  <a:lnTo>
                    <a:pt x="0" y="30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5">
              <a:extLst>
                <a:ext uri="{FF2B5EF4-FFF2-40B4-BE49-F238E27FC236}">
                  <a16:creationId xmlns:a16="http://schemas.microsoft.com/office/drawing/2014/main" id="{775B6EB4-2EEE-4492-9E68-061DF609072F}"/>
                </a:ext>
              </a:extLst>
            </p:cNvPr>
            <p:cNvSpPr>
              <a:spLocks/>
            </p:cNvSpPr>
            <p:nvPr/>
          </p:nvSpPr>
          <p:spPr bwMode="auto">
            <a:xfrm>
              <a:off x="9151144" y="3993356"/>
              <a:ext cx="53975" cy="76200"/>
            </a:xfrm>
            <a:custGeom>
              <a:avLst/>
              <a:gdLst>
                <a:gd name="T0" fmla="*/ 32 w 101"/>
                <a:gd name="T1" fmla="*/ 0 h 144"/>
                <a:gd name="T2" fmla="*/ 0 w 101"/>
                <a:gd name="T3" fmla="*/ 78 h 144"/>
                <a:gd name="T4" fmla="*/ 50 w 101"/>
                <a:gd name="T5" fmla="*/ 144 h 144"/>
                <a:gd name="T6" fmla="*/ 67 w 101"/>
                <a:gd name="T7" fmla="*/ 144 h 144"/>
                <a:gd name="T8" fmla="*/ 90 w 101"/>
                <a:gd name="T9" fmla="*/ 100 h 144"/>
                <a:gd name="T10" fmla="*/ 101 w 101"/>
                <a:gd name="T11" fmla="*/ 85 h 144"/>
                <a:gd name="T12" fmla="*/ 80 w 101"/>
                <a:gd name="T13" fmla="*/ 61 h 144"/>
                <a:gd name="T14" fmla="*/ 47 w 101"/>
                <a:gd name="T15" fmla="*/ 49 h 144"/>
                <a:gd name="T16" fmla="*/ 32 w 101"/>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44">
                  <a:moveTo>
                    <a:pt x="32" y="0"/>
                  </a:moveTo>
                  <a:lnTo>
                    <a:pt x="0" y="78"/>
                  </a:lnTo>
                  <a:lnTo>
                    <a:pt x="50" y="144"/>
                  </a:lnTo>
                  <a:lnTo>
                    <a:pt x="67" y="144"/>
                  </a:lnTo>
                  <a:lnTo>
                    <a:pt x="90" y="100"/>
                  </a:lnTo>
                  <a:lnTo>
                    <a:pt x="101" y="85"/>
                  </a:lnTo>
                  <a:lnTo>
                    <a:pt x="80" y="61"/>
                  </a:lnTo>
                  <a:lnTo>
                    <a:pt x="47" y="49"/>
                  </a:lnTo>
                  <a:lnTo>
                    <a:pt x="32"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36" name="Freeform 86">
              <a:extLst>
                <a:ext uri="{FF2B5EF4-FFF2-40B4-BE49-F238E27FC236}">
                  <a16:creationId xmlns:a16="http://schemas.microsoft.com/office/drawing/2014/main" id="{98930152-A685-4A94-B830-ED6F2D7F554E}"/>
                </a:ext>
              </a:extLst>
            </p:cNvPr>
            <p:cNvSpPr>
              <a:spLocks/>
            </p:cNvSpPr>
            <p:nvPr/>
          </p:nvSpPr>
          <p:spPr bwMode="auto">
            <a:xfrm>
              <a:off x="9173369" y="4128293"/>
              <a:ext cx="80963" cy="34925"/>
            </a:xfrm>
            <a:custGeom>
              <a:avLst/>
              <a:gdLst>
                <a:gd name="T0" fmla="*/ 89 w 151"/>
                <a:gd name="T1" fmla="*/ 0 h 66"/>
                <a:gd name="T2" fmla="*/ 20 w 151"/>
                <a:gd name="T3" fmla="*/ 15 h 66"/>
                <a:gd name="T4" fmla="*/ 0 w 151"/>
                <a:gd name="T5" fmla="*/ 38 h 66"/>
                <a:gd name="T6" fmla="*/ 17 w 151"/>
                <a:gd name="T7" fmla="*/ 66 h 66"/>
                <a:gd name="T8" fmla="*/ 62 w 151"/>
                <a:gd name="T9" fmla="*/ 50 h 66"/>
                <a:gd name="T10" fmla="*/ 91 w 151"/>
                <a:gd name="T11" fmla="*/ 33 h 66"/>
                <a:gd name="T12" fmla="*/ 133 w 151"/>
                <a:gd name="T13" fmla="*/ 66 h 66"/>
                <a:gd name="T14" fmla="*/ 151 w 151"/>
                <a:gd name="T15" fmla="*/ 51 h 66"/>
                <a:gd name="T16" fmla="*/ 118 w 151"/>
                <a:gd name="T17" fmla="*/ 10 h 66"/>
                <a:gd name="T18" fmla="*/ 89 w 151"/>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66">
                  <a:moveTo>
                    <a:pt x="89" y="0"/>
                  </a:moveTo>
                  <a:lnTo>
                    <a:pt x="20" y="15"/>
                  </a:lnTo>
                  <a:lnTo>
                    <a:pt x="0" y="38"/>
                  </a:lnTo>
                  <a:lnTo>
                    <a:pt x="17" y="66"/>
                  </a:lnTo>
                  <a:lnTo>
                    <a:pt x="62" y="50"/>
                  </a:lnTo>
                  <a:lnTo>
                    <a:pt x="91" y="33"/>
                  </a:lnTo>
                  <a:lnTo>
                    <a:pt x="133" y="66"/>
                  </a:lnTo>
                  <a:lnTo>
                    <a:pt x="151" y="51"/>
                  </a:lnTo>
                  <a:lnTo>
                    <a:pt x="118" y="10"/>
                  </a:lnTo>
                  <a:lnTo>
                    <a:pt x="89"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87">
              <a:extLst>
                <a:ext uri="{FF2B5EF4-FFF2-40B4-BE49-F238E27FC236}">
                  <a16:creationId xmlns:a16="http://schemas.microsoft.com/office/drawing/2014/main" id="{41CC5BA0-F21B-4618-BB9E-048D065BAC59}"/>
                </a:ext>
              </a:extLst>
            </p:cNvPr>
            <p:cNvSpPr>
              <a:spLocks/>
            </p:cNvSpPr>
            <p:nvPr/>
          </p:nvSpPr>
          <p:spPr bwMode="auto">
            <a:xfrm>
              <a:off x="8590757" y="4245768"/>
              <a:ext cx="246063" cy="95250"/>
            </a:xfrm>
            <a:custGeom>
              <a:avLst/>
              <a:gdLst>
                <a:gd name="T0" fmla="*/ 48 w 465"/>
                <a:gd name="T1" fmla="*/ 0 h 182"/>
                <a:gd name="T2" fmla="*/ 0 w 465"/>
                <a:gd name="T3" fmla="*/ 33 h 182"/>
                <a:gd name="T4" fmla="*/ 10 w 465"/>
                <a:gd name="T5" fmla="*/ 60 h 182"/>
                <a:gd name="T6" fmla="*/ 160 w 465"/>
                <a:gd name="T7" fmla="*/ 94 h 182"/>
                <a:gd name="T8" fmla="*/ 235 w 465"/>
                <a:gd name="T9" fmla="*/ 107 h 182"/>
                <a:gd name="T10" fmla="*/ 268 w 465"/>
                <a:gd name="T11" fmla="*/ 142 h 182"/>
                <a:gd name="T12" fmla="*/ 353 w 465"/>
                <a:gd name="T13" fmla="*/ 149 h 182"/>
                <a:gd name="T14" fmla="*/ 394 w 465"/>
                <a:gd name="T15" fmla="*/ 182 h 182"/>
                <a:gd name="T16" fmla="*/ 431 w 465"/>
                <a:gd name="T17" fmla="*/ 174 h 182"/>
                <a:gd name="T18" fmla="*/ 465 w 465"/>
                <a:gd name="T19" fmla="*/ 144 h 182"/>
                <a:gd name="T20" fmla="*/ 403 w 465"/>
                <a:gd name="T21" fmla="*/ 114 h 182"/>
                <a:gd name="T22" fmla="*/ 349 w 465"/>
                <a:gd name="T23" fmla="*/ 68 h 182"/>
                <a:gd name="T24" fmla="*/ 209 w 465"/>
                <a:gd name="T25" fmla="*/ 35 h 182"/>
                <a:gd name="T26" fmla="*/ 48 w 465"/>
                <a:gd name="T2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182">
                  <a:moveTo>
                    <a:pt x="48" y="0"/>
                  </a:moveTo>
                  <a:lnTo>
                    <a:pt x="0" y="33"/>
                  </a:lnTo>
                  <a:lnTo>
                    <a:pt x="10" y="60"/>
                  </a:lnTo>
                  <a:lnTo>
                    <a:pt x="160" y="94"/>
                  </a:lnTo>
                  <a:lnTo>
                    <a:pt x="235" y="107"/>
                  </a:lnTo>
                  <a:lnTo>
                    <a:pt x="268" y="142"/>
                  </a:lnTo>
                  <a:lnTo>
                    <a:pt x="353" y="149"/>
                  </a:lnTo>
                  <a:lnTo>
                    <a:pt x="394" y="182"/>
                  </a:lnTo>
                  <a:lnTo>
                    <a:pt x="431" y="174"/>
                  </a:lnTo>
                  <a:lnTo>
                    <a:pt x="465" y="144"/>
                  </a:lnTo>
                  <a:lnTo>
                    <a:pt x="403" y="114"/>
                  </a:lnTo>
                  <a:lnTo>
                    <a:pt x="349" y="68"/>
                  </a:lnTo>
                  <a:lnTo>
                    <a:pt x="209" y="35"/>
                  </a:lnTo>
                  <a:lnTo>
                    <a:pt x="48"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88">
              <a:extLst>
                <a:ext uri="{FF2B5EF4-FFF2-40B4-BE49-F238E27FC236}">
                  <a16:creationId xmlns:a16="http://schemas.microsoft.com/office/drawing/2014/main" id="{79E7AFF1-86EF-4927-997E-B85CB764A211}"/>
                </a:ext>
              </a:extLst>
            </p:cNvPr>
            <p:cNvSpPr>
              <a:spLocks/>
            </p:cNvSpPr>
            <p:nvPr/>
          </p:nvSpPr>
          <p:spPr bwMode="auto">
            <a:xfrm>
              <a:off x="8855869" y="4323556"/>
              <a:ext cx="39688" cy="23813"/>
            </a:xfrm>
            <a:custGeom>
              <a:avLst/>
              <a:gdLst>
                <a:gd name="T0" fmla="*/ 37 w 75"/>
                <a:gd name="T1" fmla="*/ 0 h 43"/>
                <a:gd name="T2" fmla="*/ 0 w 75"/>
                <a:gd name="T3" fmla="*/ 20 h 43"/>
                <a:gd name="T4" fmla="*/ 22 w 75"/>
                <a:gd name="T5" fmla="*/ 43 h 43"/>
                <a:gd name="T6" fmla="*/ 75 w 75"/>
                <a:gd name="T7" fmla="*/ 23 h 43"/>
                <a:gd name="T8" fmla="*/ 37 w 75"/>
                <a:gd name="T9" fmla="*/ 0 h 43"/>
              </a:gdLst>
              <a:ahLst/>
              <a:cxnLst>
                <a:cxn ang="0">
                  <a:pos x="T0" y="T1"/>
                </a:cxn>
                <a:cxn ang="0">
                  <a:pos x="T2" y="T3"/>
                </a:cxn>
                <a:cxn ang="0">
                  <a:pos x="T4" y="T5"/>
                </a:cxn>
                <a:cxn ang="0">
                  <a:pos x="T6" y="T7"/>
                </a:cxn>
                <a:cxn ang="0">
                  <a:pos x="T8" y="T9"/>
                </a:cxn>
              </a:cxnLst>
              <a:rect l="0" t="0" r="r" b="b"/>
              <a:pathLst>
                <a:path w="75" h="43">
                  <a:moveTo>
                    <a:pt x="37" y="0"/>
                  </a:moveTo>
                  <a:lnTo>
                    <a:pt x="0" y="20"/>
                  </a:lnTo>
                  <a:lnTo>
                    <a:pt x="22" y="43"/>
                  </a:lnTo>
                  <a:lnTo>
                    <a:pt x="75" y="23"/>
                  </a:lnTo>
                  <a:lnTo>
                    <a:pt x="37"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89">
              <a:extLst>
                <a:ext uri="{FF2B5EF4-FFF2-40B4-BE49-F238E27FC236}">
                  <a16:creationId xmlns:a16="http://schemas.microsoft.com/office/drawing/2014/main" id="{9B907A27-889A-4EEE-861B-0ACEFE7A1A34}"/>
                </a:ext>
              </a:extLst>
            </p:cNvPr>
            <p:cNvSpPr>
              <a:spLocks/>
            </p:cNvSpPr>
            <p:nvPr/>
          </p:nvSpPr>
          <p:spPr bwMode="auto">
            <a:xfrm>
              <a:off x="8908257" y="4314031"/>
              <a:ext cx="33338" cy="23813"/>
            </a:xfrm>
            <a:custGeom>
              <a:avLst/>
              <a:gdLst>
                <a:gd name="T0" fmla="*/ 0 w 61"/>
                <a:gd name="T1" fmla="*/ 2 h 44"/>
                <a:gd name="T2" fmla="*/ 7 w 61"/>
                <a:gd name="T3" fmla="*/ 34 h 44"/>
                <a:gd name="T4" fmla="*/ 45 w 61"/>
                <a:gd name="T5" fmla="*/ 44 h 44"/>
                <a:gd name="T6" fmla="*/ 61 w 61"/>
                <a:gd name="T7" fmla="*/ 26 h 44"/>
                <a:gd name="T8" fmla="*/ 43 w 61"/>
                <a:gd name="T9" fmla="*/ 0 h 44"/>
                <a:gd name="T10" fmla="*/ 0 w 61"/>
                <a:gd name="T11" fmla="*/ 2 h 44"/>
              </a:gdLst>
              <a:ahLst/>
              <a:cxnLst>
                <a:cxn ang="0">
                  <a:pos x="T0" y="T1"/>
                </a:cxn>
                <a:cxn ang="0">
                  <a:pos x="T2" y="T3"/>
                </a:cxn>
                <a:cxn ang="0">
                  <a:pos x="T4" y="T5"/>
                </a:cxn>
                <a:cxn ang="0">
                  <a:pos x="T6" y="T7"/>
                </a:cxn>
                <a:cxn ang="0">
                  <a:pos x="T8" y="T9"/>
                </a:cxn>
                <a:cxn ang="0">
                  <a:pos x="T10" y="T11"/>
                </a:cxn>
              </a:cxnLst>
              <a:rect l="0" t="0" r="r" b="b"/>
              <a:pathLst>
                <a:path w="61" h="44">
                  <a:moveTo>
                    <a:pt x="0" y="2"/>
                  </a:moveTo>
                  <a:lnTo>
                    <a:pt x="7" y="34"/>
                  </a:lnTo>
                  <a:lnTo>
                    <a:pt x="45" y="44"/>
                  </a:lnTo>
                  <a:lnTo>
                    <a:pt x="61" y="26"/>
                  </a:lnTo>
                  <a:lnTo>
                    <a:pt x="43" y="0"/>
                  </a:lnTo>
                  <a:lnTo>
                    <a:pt x="0" y="2"/>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90">
              <a:extLst>
                <a:ext uri="{FF2B5EF4-FFF2-40B4-BE49-F238E27FC236}">
                  <a16:creationId xmlns:a16="http://schemas.microsoft.com/office/drawing/2014/main" id="{DBC22E5F-A53B-4DDC-8569-80E0C02F7301}"/>
                </a:ext>
              </a:extLst>
            </p:cNvPr>
            <p:cNvSpPr>
              <a:spLocks/>
            </p:cNvSpPr>
            <p:nvPr/>
          </p:nvSpPr>
          <p:spPr bwMode="auto">
            <a:xfrm>
              <a:off x="8932069" y="4360068"/>
              <a:ext cx="41275" cy="22225"/>
            </a:xfrm>
            <a:custGeom>
              <a:avLst/>
              <a:gdLst>
                <a:gd name="T0" fmla="*/ 47 w 76"/>
                <a:gd name="T1" fmla="*/ 0 h 42"/>
                <a:gd name="T2" fmla="*/ 0 w 76"/>
                <a:gd name="T3" fmla="*/ 7 h 42"/>
                <a:gd name="T4" fmla="*/ 43 w 76"/>
                <a:gd name="T5" fmla="*/ 42 h 42"/>
                <a:gd name="T6" fmla="*/ 76 w 76"/>
                <a:gd name="T7" fmla="*/ 42 h 42"/>
                <a:gd name="T8" fmla="*/ 47 w 76"/>
                <a:gd name="T9" fmla="*/ 0 h 42"/>
              </a:gdLst>
              <a:ahLst/>
              <a:cxnLst>
                <a:cxn ang="0">
                  <a:pos x="T0" y="T1"/>
                </a:cxn>
                <a:cxn ang="0">
                  <a:pos x="T2" y="T3"/>
                </a:cxn>
                <a:cxn ang="0">
                  <a:pos x="T4" y="T5"/>
                </a:cxn>
                <a:cxn ang="0">
                  <a:pos x="T6" y="T7"/>
                </a:cxn>
                <a:cxn ang="0">
                  <a:pos x="T8" y="T9"/>
                </a:cxn>
              </a:cxnLst>
              <a:rect l="0" t="0" r="r" b="b"/>
              <a:pathLst>
                <a:path w="76" h="42">
                  <a:moveTo>
                    <a:pt x="47" y="0"/>
                  </a:moveTo>
                  <a:lnTo>
                    <a:pt x="0" y="7"/>
                  </a:lnTo>
                  <a:lnTo>
                    <a:pt x="43" y="42"/>
                  </a:lnTo>
                  <a:lnTo>
                    <a:pt x="76" y="42"/>
                  </a:lnTo>
                  <a:lnTo>
                    <a:pt x="47"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Freeform 91">
              <a:extLst>
                <a:ext uri="{FF2B5EF4-FFF2-40B4-BE49-F238E27FC236}">
                  <a16:creationId xmlns:a16="http://schemas.microsoft.com/office/drawing/2014/main" id="{E8A01D35-B43C-447A-BA08-46528633920D}"/>
                </a:ext>
              </a:extLst>
            </p:cNvPr>
            <p:cNvSpPr>
              <a:spLocks/>
            </p:cNvSpPr>
            <p:nvPr/>
          </p:nvSpPr>
          <p:spPr bwMode="auto">
            <a:xfrm>
              <a:off x="8959057" y="4323556"/>
              <a:ext cx="71438" cy="23813"/>
            </a:xfrm>
            <a:custGeom>
              <a:avLst/>
              <a:gdLst>
                <a:gd name="T0" fmla="*/ 10 w 134"/>
                <a:gd name="T1" fmla="*/ 13 h 45"/>
                <a:gd name="T2" fmla="*/ 0 w 134"/>
                <a:gd name="T3" fmla="*/ 33 h 45"/>
                <a:gd name="T4" fmla="*/ 75 w 134"/>
                <a:gd name="T5" fmla="*/ 45 h 45"/>
                <a:gd name="T6" fmla="*/ 134 w 134"/>
                <a:gd name="T7" fmla="*/ 11 h 45"/>
                <a:gd name="T8" fmla="*/ 101 w 134"/>
                <a:gd name="T9" fmla="*/ 1 h 45"/>
                <a:gd name="T10" fmla="*/ 47 w 134"/>
                <a:gd name="T11" fmla="*/ 16 h 45"/>
                <a:gd name="T12" fmla="*/ 26 w 134"/>
                <a:gd name="T13" fmla="*/ 0 h 45"/>
                <a:gd name="T14" fmla="*/ 10 w 134"/>
                <a:gd name="T15" fmla="*/ 13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45">
                  <a:moveTo>
                    <a:pt x="10" y="13"/>
                  </a:moveTo>
                  <a:lnTo>
                    <a:pt x="0" y="33"/>
                  </a:lnTo>
                  <a:lnTo>
                    <a:pt x="75" y="45"/>
                  </a:lnTo>
                  <a:lnTo>
                    <a:pt x="134" y="11"/>
                  </a:lnTo>
                  <a:lnTo>
                    <a:pt x="101" y="1"/>
                  </a:lnTo>
                  <a:lnTo>
                    <a:pt x="47" y="16"/>
                  </a:lnTo>
                  <a:lnTo>
                    <a:pt x="26" y="0"/>
                  </a:lnTo>
                  <a:lnTo>
                    <a:pt x="10" y="13"/>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42" name="Freeform 92">
              <a:extLst>
                <a:ext uri="{FF2B5EF4-FFF2-40B4-BE49-F238E27FC236}">
                  <a16:creationId xmlns:a16="http://schemas.microsoft.com/office/drawing/2014/main" id="{2B7E1C2F-E625-4065-B27C-F33B55C81003}"/>
                </a:ext>
              </a:extLst>
            </p:cNvPr>
            <p:cNvSpPr>
              <a:spLocks/>
            </p:cNvSpPr>
            <p:nvPr/>
          </p:nvSpPr>
          <p:spPr bwMode="auto">
            <a:xfrm>
              <a:off x="9049544" y="4337843"/>
              <a:ext cx="92075" cy="47625"/>
            </a:xfrm>
            <a:custGeom>
              <a:avLst/>
              <a:gdLst>
                <a:gd name="T0" fmla="*/ 87 w 174"/>
                <a:gd name="T1" fmla="*/ 0 h 91"/>
                <a:gd name="T2" fmla="*/ 0 w 174"/>
                <a:gd name="T3" fmla="*/ 73 h 91"/>
                <a:gd name="T4" fmla="*/ 8 w 174"/>
                <a:gd name="T5" fmla="*/ 91 h 91"/>
                <a:gd name="T6" fmla="*/ 45 w 174"/>
                <a:gd name="T7" fmla="*/ 84 h 91"/>
                <a:gd name="T8" fmla="*/ 89 w 174"/>
                <a:gd name="T9" fmla="*/ 44 h 91"/>
                <a:gd name="T10" fmla="*/ 174 w 174"/>
                <a:gd name="T11" fmla="*/ 31 h 91"/>
                <a:gd name="T12" fmla="*/ 158 w 174"/>
                <a:gd name="T13" fmla="*/ 3 h 91"/>
                <a:gd name="T14" fmla="*/ 87 w 174"/>
                <a:gd name="T15" fmla="*/ 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91">
                  <a:moveTo>
                    <a:pt x="87" y="0"/>
                  </a:moveTo>
                  <a:lnTo>
                    <a:pt x="0" y="73"/>
                  </a:lnTo>
                  <a:lnTo>
                    <a:pt x="8" y="91"/>
                  </a:lnTo>
                  <a:lnTo>
                    <a:pt x="45" y="84"/>
                  </a:lnTo>
                  <a:lnTo>
                    <a:pt x="89" y="44"/>
                  </a:lnTo>
                  <a:lnTo>
                    <a:pt x="174" y="31"/>
                  </a:lnTo>
                  <a:lnTo>
                    <a:pt x="158" y="3"/>
                  </a:lnTo>
                  <a:lnTo>
                    <a:pt x="87"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243" name="Freeform 93">
              <a:extLst>
                <a:ext uri="{FF2B5EF4-FFF2-40B4-BE49-F238E27FC236}">
                  <a16:creationId xmlns:a16="http://schemas.microsoft.com/office/drawing/2014/main" id="{D44D66F7-D7D2-4AB2-A0A8-6C6ABA2B1A72}"/>
                </a:ext>
              </a:extLst>
            </p:cNvPr>
            <p:cNvSpPr>
              <a:spLocks/>
            </p:cNvSpPr>
            <p:nvPr/>
          </p:nvSpPr>
          <p:spPr bwMode="auto">
            <a:xfrm>
              <a:off x="9760744" y="4161631"/>
              <a:ext cx="63500" cy="71438"/>
            </a:xfrm>
            <a:custGeom>
              <a:avLst/>
              <a:gdLst>
                <a:gd name="T0" fmla="*/ 16 w 119"/>
                <a:gd name="T1" fmla="*/ 0 h 137"/>
                <a:gd name="T2" fmla="*/ 0 w 119"/>
                <a:gd name="T3" fmla="*/ 21 h 137"/>
                <a:gd name="T4" fmla="*/ 83 w 119"/>
                <a:gd name="T5" fmla="*/ 94 h 137"/>
                <a:gd name="T6" fmla="*/ 94 w 119"/>
                <a:gd name="T7" fmla="*/ 137 h 137"/>
                <a:gd name="T8" fmla="*/ 116 w 119"/>
                <a:gd name="T9" fmla="*/ 135 h 137"/>
                <a:gd name="T10" fmla="*/ 119 w 119"/>
                <a:gd name="T11" fmla="*/ 90 h 137"/>
                <a:gd name="T12" fmla="*/ 94 w 119"/>
                <a:gd name="T13" fmla="*/ 68 h 137"/>
                <a:gd name="T14" fmla="*/ 16 w 119"/>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 h="137">
                  <a:moveTo>
                    <a:pt x="16" y="0"/>
                  </a:moveTo>
                  <a:lnTo>
                    <a:pt x="0" y="21"/>
                  </a:lnTo>
                  <a:lnTo>
                    <a:pt x="83" y="94"/>
                  </a:lnTo>
                  <a:lnTo>
                    <a:pt x="94" y="137"/>
                  </a:lnTo>
                  <a:lnTo>
                    <a:pt x="116" y="135"/>
                  </a:lnTo>
                  <a:lnTo>
                    <a:pt x="119" y="90"/>
                  </a:lnTo>
                  <a:lnTo>
                    <a:pt x="94" y="68"/>
                  </a:lnTo>
                  <a:lnTo>
                    <a:pt x="1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4" name="Freeform 94">
              <a:extLst>
                <a:ext uri="{FF2B5EF4-FFF2-40B4-BE49-F238E27FC236}">
                  <a16:creationId xmlns:a16="http://schemas.microsoft.com/office/drawing/2014/main" id="{AE0D5BA7-4722-4230-ADD9-638634A4A3CC}"/>
                </a:ext>
              </a:extLst>
            </p:cNvPr>
            <p:cNvSpPr>
              <a:spLocks/>
            </p:cNvSpPr>
            <p:nvPr/>
          </p:nvSpPr>
          <p:spPr bwMode="auto">
            <a:xfrm>
              <a:off x="9711532" y="4215606"/>
              <a:ext cx="87313" cy="63500"/>
            </a:xfrm>
            <a:custGeom>
              <a:avLst/>
              <a:gdLst>
                <a:gd name="T0" fmla="*/ 150 w 164"/>
                <a:gd name="T1" fmla="*/ 0 h 119"/>
                <a:gd name="T2" fmla="*/ 134 w 164"/>
                <a:gd name="T3" fmla="*/ 4 h 119"/>
                <a:gd name="T4" fmla="*/ 125 w 164"/>
                <a:gd name="T5" fmla="*/ 47 h 119"/>
                <a:gd name="T6" fmla="*/ 93 w 164"/>
                <a:gd name="T7" fmla="*/ 68 h 119"/>
                <a:gd name="T8" fmla="*/ 0 w 164"/>
                <a:gd name="T9" fmla="*/ 84 h 119"/>
                <a:gd name="T10" fmla="*/ 3 w 164"/>
                <a:gd name="T11" fmla="*/ 119 h 119"/>
                <a:gd name="T12" fmla="*/ 103 w 164"/>
                <a:gd name="T13" fmla="*/ 114 h 119"/>
                <a:gd name="T14" fmla="*/ 164 w 164"/>
                <a:gd name="T15" fmla="*/ 75 h 119"/>
                <a:gd name="T16" fmla="*/ 160 w 164"/>
                <a:gd name="T17" fmla="*/ 7 h 119"/>
                <a:gd name="T18" fmla="*/ 150 w 164"/>
                <a:gd name="T1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19">
                  <a:moveTo>
                    <a:pt x="150" y="0"/>
                  </a:moveTo>
                  <a:lnTo>
                    <a:pt x="134" y="4"/>
                  </a:lnTo>
                  <a:lnTo>
                    <a:pt x="125" y="47"/>
                  </a:lnTo>
                  <a:lnTo>
                    <a:pt x="93" y="68"/>
                  </a:lnTo>
                  <a:lnTo>
                    <a:pt x="0" y="84"/>
                  </a:lnTo>
                  <a:lnTo>
                    <a:pt x="3" y="119"/>
                  </a:lnTo>
                  <a:lnTo>
                    <a:pt x="103" y="114"/>
                  </a:lnTo>
                  <a:lnTo>
                    <a:pt x="164" y="75"/>
                  </a:lnTo>
                  <a:lnTo>
                    <a:pt x="160" y="7"/>
                  </a:lnTo>
                  <a:lnTo>
                    <a:pt x="15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5" name="Freeform 95">
              <a:extLst>
                <a:ext uri="{FF2B5EF4-FFF2-40B4-BE49-F238E27FC236}">
                  <a16:creationId xmlns:a16="http://schemas.microsoft.com/office/drawing/2014/main" id="{19B7C202-C460-4EDF-8A16-BA8F88A84FD1}"/>
                </a:ext>
              </a:extLst>
            </p:cNvPr>
            <p:cNvSpPr>
              <a:spLocks/>
            </p:cNvSpPr>
            <p:nvPr/>
          </p:nvSpPr>
          <p:spPr bwMode="auto">
            <a:xfrm>
              <a:off x="9849644" y="4253706"/>
              <a:ext cx="38100" cy="53975"/>
            </a:xfrm>
            <a:custGeom>
              <a:avLst/>
              <a:gdLst>
                <a:gd name="T0" fmla="*/ 0 w 70"/>
                <a:gd name="T1" fmla="*/ 5 h 101"/>
                <a:gd name="T2" fmla="*/ 21 w 70"/>
                <a:gd name="T3" fmla="*/ 65 h 101"/>
                <a:gd name="T4" fmla="*/ 59 w 70"/>
                <a:gd name="T5" fmla="*/ 101 h 101"/>
                <a:gd name="T6" fmla="*/ 70 w 70"/>
                <a:gd name="T7" fmla="*/ 91 h 101"/>
                <a:gd name="T8" fmla="*/ 66 w 70"/>
                <a:gd name="T9" fmla="*/ 51 h 101"/>
                <a:gd name="T10" fmla="*/ 23 w 70"/>
                <a:gd name="T11" fmla="*/ 0 h 101"/>
                <a:gd name="T12" fmla="*/ 0 w 70"/>
                <a:gd name="T13" fmla="*/ 5 h 101"/>
              </a:gdLst>
              <a:ahLst/>
              <a:cxnLst>
                <a:cxn ang="0">
                  <a:pos x="T0" y="T1"/>
                </a:cxn>
                <a:cxn ang="0">
                  <a:pos x="T2" y="T3"/>
                </a:cxn>
                <a:cxn ang="0">
                  <a:pos x="T4" y="T5"/>
                </a:cxn>
                <a:cxn ang="0">
                  <a:pos x="T6" y="T7"/>
                </a:cxn>
                <a:cxn ang="0">
                  <a:pos x="T8" y="T9"/>
                </a:cxn>
                <a:cxn ang="0">
                  <a:pos x="T10" y="T11"/>
                </a:cxn>
                <a:cxn ang="0">
                  <a:pos x="T12" y="T13"/>
                </a:cxn>
              </a:cxnLst>
              <a:rect l="0" t="0" r="r" b="b"/>
              <a:pathLst>
                <a:path w="70" h="101">
                  <a:moveTo>
                    <a:pt x="0" y="5"/>
                  </a:moveTo>
                  <a:lnTo>
                    <a:pt x="21" y="65"/>
                  </a:lnTo>
                  <a:lnTo>
                    <a:pt x="59" y="101"/>
                  </a:lnTo>
                  <a:lnTo>
                    <a:pt x="70" y="91"/>
                  </a:lnTo>
                  <a:lnTo>
                    <a:pt x="66" y="51"/>
                  </a:lnTo>
                  <a:lnTo>
                    <a:pt x="23" y="0"/>
                  </a:lnTo>
                  <a:lnTo>
                    <a:pt x="0" y="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96">
              <a:extLst>
                <a:ext uri="{FF2B5EF4-FFF2-40B4-BE49-F238E27FC236}">
                  <a16:creationId xmlns:a16="http://schemas.microsoft.com/office/drawing/2014/main" id="{F2192764-3054-4469-86BC-B5878A4ED5CA}"/>
                </a:ext>
              </a:extLst>
            </p:cNvPr>
            <p:cNvSpPr>
              <a:spLocks/>
            </p:cNvSpPr>
            <p:nvPr/>
          </p:nvSpPr>
          <p:spPr bwMode="auto">
            <a:xfrm>
              <a:off x="9905207" y="4302918"/>
              <a:ext cx="25400" cy="33338"/>
            </a:xfrm>
            <a:custGeom>
              <a:avLst/>
              <a:gdLst>
                <a:gd name="T0" fmla="*/ 0 w 49"/>
                <a:gd name="T1" fmla="*/ 0 h 62"/>
                <a:gd name="T2" fmla="*/ 3 w 49"/>
                <a:gd name="T3" fmla="*/ 40 h 62"/>
                <a:gd name="T4" fmla="*/ 27 w 49"/>
                <a:gd name="T5" fmla="*/ 62 h 62"/>
                <a:gd name="T6" fmla="*/ 49 w 49"/>
                <a:gd name="T7" fmla="*/ 48 h 62"/>
                <a:gd name="T8" fmla="*/ 29 w 49"/>
                <a:gd name="T9" fmla="*/ 6 h 62"/>
                <a:gd name="T10" fmla="*/ 0 w 49"/>
                <a:gd name="T11" fmla="*/ 0 h 62"/>
              </a:gdLst>
              <a:ahLst/>
              <a:cxnLst>
                <a:cxn ang="0">
                  <a:pos x="T0" y="T1"/>
                </a:cxn>
                <a:cxn ang="0">
                  <a:pos x="T2" y="T3"/>
                </a:cxn>
                <a:cxn ang="0">
                  <a:pos x="T4" y="T5"/>
                </a:cxn>
                <a:cxn ang="0">
                  <a:pos x="T6" y="T7"/>
                </a:cxn>
                <a:cxn ang="0">
                  <a:pos x="T8" y="T9"/>
                </a:cxn>
                <a:cxn ang="0">
                  <a:pos x="T10" y="T11"/>
                </a:cxn>
              </a:cxnLst>
              <a:rect l="0" t="0" r="r" b="b"/>
              <a:pathLst>
                <a:path w="49" h="62">
                  <a:moveTo>
                    <a:pt x="0" y="0"/>
                  </a:moveTo>
                  <a:lnTo>
                    <a:pt x="3" y="40"/>
                  </a:lnTo>
                  <a:lnTo>
                    <a:pt x="27" y="62"/>
                  </a:lnTo>
                  <a:lnTo>
                    <a:pt x="49" y="48"/>
                  </a:lnTo>
                  <a:lnTo>
                    <a:pt x="29" y="6"/>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97">
              <a:extLst>
                <a:ext uri="{FF2B5EF4-FFF2-40B4-BE49-F238E27FC236}">
                  <a16:creationId xmlns:a16="http://schemas.microsoft.com/office/drawing/2014/main" id="{36F47760-34DF-4464-B0B4-77D8102C3D8B}"/>
                </a:ext>
              </a:extLst>
            </p:cNvPr>
            <p:cNvSpPr>
              <a:spLocks/>
            </p:cNvSpPr>
            <p:nvPr/>
          </p:nvSpPr>
          <p:spPr bwMode="auto">
            <a:xfrm>
              <a:off x="9909969" y="4353718"/>
              <a:ext cx="23813" cy="36513"/>
            </a:xfrm>
            <a:custGeom>
              <a:avLst/>
              <a:gdLst>
                <a:gd name="T0" fmla="*/ 20 w 45"/>
                <a:gd name="T1" fmla="*/ 0 h 68"/>
                <a:gd name="T2" fmla="*/ 0 w 45"/>
                <a:gd name="T3" fmla="*/ 22 h 68"/>
                <a:gd name="T4" fmla="*/ 21 w 45"/>
                <a:gd name="T5" fmla="*/ 60 h 68"/>
                <a:gd name="T6" fmla="*/ 45 w 45"/>
                <a:gd name="T7" fmla="*/ 68 h 68"/>
                <a:gd name="T8" fmla="*/ 44 w 45"/>
                <a:gd name="T9" fmla="*/ 42 h 68"/>
                <a:gd name="T10" fmla="*/ 20 w 45"/>
                <a:gd name="T11" fmla="*/ 0 h 68"/>
              </a:gdLst>
              <a:ahLst/>
              <a:cxnLst>
                <a:cxn ang="0">
                  <a:pos x="T0" y="T1"/>
                </a:cxn>
                <a:cxn ang="0">
                  <a:pos x="T2" y="T3"/>
                </a:cxn>
                <a:cxn ang="0">
                  <a:pos x="T4" y="T5"/>
                </a:cxn>
                <a:cxn ang="0">
                  <a:pos x="T6" y="T7"/>
                </a:cxn>
                <a:cxn ang="0">
                  <a:pos x="T8" y="T9"/>
                </a:cxn>
                <a:cxn ang="0">
                  <a:pos x="T10" y="T11"/>
                </a:cxn>
              </a:cxnLst>
              <a:rect l="0" t="0" r="r" b="b"/>
              <a:pathLst>
                <a:path w="45" h="68">
                  <a:moveTo>
                    <a:pt x="20" y="0"/>
                  </a:moveTo>
                  <a:lnTo>
                    <a:pt x="0" y="22"/>
                  </a:lnTo>
                  <a:lnTo>
                    <a:pt x="21" y="60"/>
                  </a:lnTo>
                  <a:lnTo>
                    <a:pt x="45" y="68"/>
                  </a:lnTo>
                  <a:lnTo>
                    <a:pt x="44" y="42"/>
                  </a:lnTo>
                  <a:lnTo>
                    <a:pt x="2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98">
              <a:extLst>
                <a:ext uri="{FF2B5EF4-FFF2-40B4-BE49-F238E27FC236}">
                  <a16:creationId xmlns:a16="http://schemas.microsoft.com/office/drawing/2014/main" id="{768DC498-B215-4B5C-89C0-C76438E41FFE}"/>
                </a:ext>
              </a:extLst>
            </p:cNvPr>
            <p:cNvSpPr>
              <a:spLocks/>
            </p:cNvSpPr>
            <p:nvPr/>
          </p:nvSpPr>
          <p:spPr bwMode="auto">
            <a:xfrm>
              <a:off x="9946482" y="4342606"/>
              <a:ext cx="36513" cy="42863"/>
            </a:xfrm>
            <a:custGeom>
              <a:avLst/>
              <a:gdLst>
                <a:gd name="T0" fmla="*/ 0 w 69"/>
                <a:gd name="T1" fmla="*/ 0 h 83"/>
                <a:gd name="T2" fmla="*/ 17 w 69"/>
                <a:gd name="T3" fmla="*/ 44 h 83"/>
                <a:gd name="T4" fmla="*/ 50 w 69"/>
                <a:gd name="T5" fmla="*/ 83 h 83"/>
                <a:gd name="T6" fmla="*/ 69 w 69"/>
                <a:gd name="T7" fmla="*/ 54 h 83"/>
                <a:gd name="T8" fmla="*/ 44 w 69"/>
                <a:gd name="T9" fmla="*/ 10 h 83"/>
                <a:gd name="T10" fmla="*/ 0 w 69"/>
                <a:gd name="T11" fmla="*/ 0 h 83"/>
              </a:gdLst>
              <a:ahLst/>
              <a:cxnLst>
                <a:cxn ang="0">
                  <a:pos x="T0" y="T1"/>
                </a:cxn>
                <a:cxn ang="0">
                  <a:pos x="T2" y="T3"/>
                </a:cxn>
                <a:cxn ang="0">
                  <a:pos x="T4" y="T5"/>
                </a:cxn>
                <a:cxn ang="0">
                  <a:pos x="T6" y="T7"/>
                </a:cxn>
                <a:cxn ang="0">
                  <a:pos x="T8" y="T9"/>
                </a:cxn>
                <a:cxn ang="0">
                  <a:pos x="T10" y="T11"/>
                </a:cxn>
              </a:cxnLst>
              <a:rect l="0" t="0" r="r" b="b"/>
              <a:pathLst>
                <a:path w="69" h="83">
                  <a:moveTo>
                    <a:pt x="0" y="0"/>
                  </a:moveTo>
                  <a:lnTo>
                    <a:pt x="17" y="44"/>
                  </a:lnTo>
                  <a:lnTo>
                    <a:pt x="50" y="83"/>
                  </a:lnTo>
                  <a:lnTo>
                    <a:pt x="69" y="54"/>
                  </a:lnTo>
                  <a:lnTo>
                    <a:pt x="44" y="1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99">
              <a:extLst>
                <a:ext uri="{FF2B5EF4-FFF2-40B4-BE49-F238E27FC236}">
                  <a16:creationId xmlns:a16="http://schemas.microsoft.com/office/drawing/2014/main" id="{B38D44FA-677D-42F7-863D-D38EC6B6310A}"/>
                </a:ext>
              </a:extLst>
            </p:cNvPr>
            <p:cNvSpPr>
              <a:spLocks/>
            </p:cNvSpPr>
            <p:nvPr/>
          </p:nvSpPr>
          <p:spPr bwMode="auto">
            <a:xfrm>
              <a:off x="9992519" y="4375943"/>
              <a:ext cx="28575" cy="46038"/>
            </a:xfrm>
            <a:custGeom>
              <a:avLst/>
              <a:gdLst>
                <a:gd name="T0" fmla="*/ 0 w 54"/>
                <a:gd name="T1" fmla="*/ 0 h 85"/>
                <a:gd name="T2" fmla="*/ 10 w 54"/>
                <a:gd name="T3" fmla="*/ 53 h 85"/>
                <a:gd name="T4" fmla="*/ 33 w 54"/>
                <a:gd name="T5" fmla="*/ 85 h 85"/>
                <a:gd name="T6" fmla="*/ 54 w 54"/>
                <a:gd name="T7" fmla="*/ 44 h 85"/>
                <a:gd name="T8" fmla="*/ 0 w 54"/>
                <a:gd name="T9" fmla="*/ 0 h 85"/>
              </a:gdLst>
              <a:ahLst/>
              <a:cxnLst>
                <a:cxn ang="0">
                  <a:pos x="T0" y="T1"/>
                </a:cxn>
                <a:cxn ang="0">
                  <a:pos x="T2" y="T3"/>
                </a:cxn>
                <a:cxn ang="0">
                  <a:pos x="T4" y="T5"/>
                </a:cxn>
                <a:cxn ang="0">
                  <a:pos x="T6" y="T7"/>
                </a:cxn>
                <a:cxn ang="0">
                  <a:pos x="T8" y="T9"/>
                </a:cxn>
              </a:cxnLst>
              <a:rect l="0" t="0" r="r" b="b"/>
              <a:pathLst>
                <a:path w="54" h="85">
                  <a:moveTo>
                    <a:pt x="0" y="0"/>
                  </a:moveTo>
                  <a:lnTo>
                    <a:pt x="10" y="53"/>
                  </a:lnTo>
                  <a:lnTo>
                    <a:pt x="33" y="85"/>
                  </a:lnTo>
                  <a:lnTo>
                    <a:pt x="54" y="4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0" name="Freeform 100">
              <a:extLst>
                <a:ext uri="{FF2B5EF4-FFF2-40B4-BE49-F238E27FC236}">
                  <a16:creationId xmlns:a16="http://schemas.microsoft.com/office/drawing/2014/main" id="{694E6FB8-E895-4D66-9B93-62135CB55345}"/>
                </a:ext>
              </a:extLst>
            </p:cNvPr>
            <p:cNvSpPr>
              <a:spLocks/>
            </p:cNvSpPr>
            <p:nvPr/>
          </p:nvSpPr>
          <p:spPr bwMode="auto">
            <a:xfrm>
              <a:off x="10002044" y="4439443"/>
              <a:ext cx="26988" cy="28575"/>
            </a:xfrm>
            <a:custGeom>
              <a:avLst/>
              <a:gdLst>
                <a:gd name="T0" fmla="*/ 9 w 49"/>
                <a:gd name="T1" fmla="*/ 0 h 55"/>
                <a:gd name="T2" fmla="*/ 0 w 49"/>
                <a:gd name="T3" fmla="*/ 15 h 55"/>
                <a:gd name="T4" fmla="*/ 30 w 49"/>
                <a:gd name="T5" fmla="*/ 53 h 55"/>
                <a:gd name="T6" fmla="*/ 49 w 49"/>
                <a:gd name="T7" fmla="*/ 55 h 55"/>
                <a:gd name="T8" fmla="*/ 37 w 49"/>
                <a:gd name="T9" fmla="*/ 5 h 55"/>
                <a:gd name="T10" fmla="*/ 9 w 49"/>
                <a:gd name="T11" fmla="*/ 0 h 55"/>
              </a:gdLst>
              <a:ahLst/>
              <a:cxnLst>
                <a:cxn ang="0">
                  <a:pos x="T0" y="T1"/>
                </a:cxn>
                <a:cxn ang="0">
                  <a:pos x="T2" y="T3"/>
                </a:cxn>
                <a:cxn ang="0">
                  <a:pos x="T4" y="T5"/>
                </a:cxn>
                <a:cxn ang="0">
                  <a:pos x="T6" y="T7"/>
                </a:cxn>
                <a:cxn ang="0">
                  <a:pos x="T8" y="T9"/>
                </a:cxn>
                <a:cxn ang="0">
                  <a:pos x="T10" y="T11"/>
                </a:cxn>
              </a:cxnLst>
              <a:rect l="0" t="0" r="r" b="b"/>
              <a:pathLst>
                <a:path w="49" h="55">
                  <a:moveTo>
                    <a:pt x="9" y="0"/>
                  </a:moveTo>
                  <a:lnTo>
                    <a:pt x="0" y="15"/>
                  </a:lnTo>
                  <a:lnTo>
                    <a:pt x="30" y="53"/>
                  </a:lnTo>
                  <a:lnTo>
                    <a:pt x="49" y="55"/>
                  </a:lnTo>
                  <a:lnTo>
                    <a:pt x="37" y="5"/>
                  </a:lnTo>
                  <a:lnTo>
                    <a:pt x="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1" name="Freeform 101">
              <a:extLst>
                <a:ext uri="{FF2B5EF4-FFF2-40B4-BE49-F238E27FC236}">
                  <a16:creationId xmlns:a16="http://schemas.microsoft.com/office/drawing/2014/main" id="{430771B0-B2DF-43F3-A7F0-E4A68997A603}"/>
                </a:ext>
              </a:extLst>
            </p:cNvPr>
            <p:cNvSpPr>
              <a:spLocks/>
            </p:cNvSpPr>
            <p:nvPr/>
          </p:nvSpPr>
          <p:spPr bwMode="auto">
            <a:xfrm>
              <a:off x="9957594" y="4479131"/>
              <a:ext cx="25400" cy="26988"/>
            </a:xfrm>
            <a:custGeom>
              <a:avLst/>
              <a:gdLst>
                <a:gd name="T0" fmla="*/ 29 w 48"/>
                <a:gd name="T1" fmla="*/ 0 h 51"/>
                <a:gd name="T2" fmla="*/ 0 w 48"/>
                <a:gd name="T3" fmla="*/ 14 h 51"/>
                <a:gd name="T4" fmla="*/ 25 w 48"/>
                <a:gd name="T5" fmla="*/ 51 h 51"/>
                <a:gd name="T6" fmla="*/ 48 w 48"/>
                <a:gd name="T7" fmla="*/ 39 h 51"/>
                <a:gd name="T8" fmla="*/ 29 w 48"/>
                <a:gd name="T9" fmla="*/ 0 h 51"/>
              </a:gdLst>
              <a:ahLst/>
              <a:cxnLst>
                <a:cxn ang="0">
                  <a:pos x="T0" y="T1"/>
                </a:cxn>
                <a:cxn ang="0">
                  <a:pos x="T2" y="T3"/>
                </a:cxn>
                <a:cxn ang="0">
                  <a:pos x="T4" y="T5"/>
                </a:cxn>
                <a:cxn ang="0">
                  <a:pos x="T6" y="T7"/>
                </a:cxn>
                <a:cxn ang="0">
                  <a:pos x="T8" y="T9"/>
                </a:cxn>
              </a:cxnLst>
              <a:rect l="0" t="0" r="r" b="b"/>
              <a:pathLst>
                <a:path w="48" h="51">
                  <a:moveTo>
                    <a:pt x="29" y="0"/>
                  </a:moveTo>
                  <a:lnTo>
                    <a:pt x="0" y="14"/>
                  </a:lnTo>
                  <a:lnTo>
                    <a:pt x="25" y="51"/>
                  </a:lnTo>
                  <a:lnTo>
                    <a:pt x="48" y="39"/>
                  </a:lnTo>
                  <a:lnTo>
                    <a:pt x="2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2" name="Freeform 102">
              <a:extLst>
                <a:ext uri="{FF2B5EF4-FFF2-40B4-BE49-F238E27FC236}">
                  <a16:creationId xmlns:a16="http://schemas.microsoft.com/office/drawing/2014/main" id="{BCA4CB9D-F161-437B-93F7-6A1E4A0A1C65}"/>
                </a:ext>
              </a:extLst>
            </p:cNvPr>
            <p:cNvSpPr>
              <a:spLocks/>
            </p:cNvSpPr>
            <p:nvPr/>
          </p:nvSpPr>
          <p:spPr bwMode="auto">
            <a:xfrm>
              <a:off x="10124282" y="4598193"/>
              <a:ext cx="20638" cy="34925"/>
            </a:xfrm>
            <a:custGeom>
              <a:avLst/>
              <a:gdLst>
                <a:gd name="T0" fmla="*/ 22 w 40"/>
                <a:gd name="T1" fmla="*/ 0 h 67"/>
                <a:gd name="T2" fmla="*/ 0 w 40"/>
                <a:gd name="T3" fmla="*/ 29 h 67"/>
                <a:gd name="T4" fmla="*/ 10 w 40"/>
                <a:gd name="T5" fmla="*/ 60 h 67"/>
                <a:gd name="T6" fmla="*/ 21 w 40"/>
                <a:gd name="T7" fmla="*/ 67 h 67"/>
                <a:gd name="T8" fmla="*/ 40 w 40"/>
                <a:gd name="T9" fmla="*/ 43 h 67"/>
                <a:gd name="T10" fmla="*/ 22 w 40"/>
                <a:gd name="T11" fmla="*/ 0 h 67"/>
              </a:gdLst>
              <a:ahLst/>
              <a:cxnLst>
                <a:cxn ang="0">
                  <a:pos x="T0" y="T1"/>
                </a:cxn>
                <a:cxn ang="0">
                  <a:pos x="T2" y="T3"/>
                </a:cxn>
                <a:cxn ang="0">
                  <a:pos x="T4" y="T5"/>
                </a:cxn>
                <a:cxn ang="0">
                  <a:pos x="T6" y="T7"/>
                </a:cxn>
                <a:cxn ang="0">
                  <a:pos x="T8" y="T9"/>
                </a:cxn>
                <a:cxn ang="0">
                  <a:pos x="T10" y="T11"/>
                </a:cxn>
              </a:cxnLst>
              <a:rect l="0" t="0" r="r" b="b"/>
              <a:pathLst>
                <a:path w="40" h="67">
                  <a:moveTo>
                    <a:pt x="22" y="0"/>
                  </a:moveTo>
                  <a:lnTo>
                    <a:pt x="0" y="29"/>
                  </a:lnTo>
                  <a:lnTo>
                    <a:pt x="10" y="60"/>
                  </a:lnTo>
                  <a:lnTo>
                    <a:pt x="21" y="67"/>
                  </a:lnTo>
                  <a:lnTo>
                    <a:pt x="40" y="43"/>
                  </a:lnTo>
                  <a:lnTo>
                    <a:pt x="2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3" name="Freeform 103">
              <a:extLst>
                <a:ext uri="{FF2B5EF4-FFF2-40B4-BE49-F238E27FC236}">
                  <a16:creationId xmlns:a16="http://schemas.microsoft.com/office/drawing/2014/main" id="{40F57F4D-23B8-488A-970D-2438306C0F10}"/>
                </a:ext>
              </a:extLst>
            </p:cNvPr>
            <p:cNvSpPr>
              <a:spLocks/>
            </p:cNvSpPr>
            <p:nvPr/>
          </p:nvSpPr>
          <p:spPr bwMode="auto">
            <a:xfrm>
              <a:off x="10141744" y="4642643"/>
              <a:ext cx="20638" cy="17463"/>
            </a:xfrm>
            <a:custGeom>
              <a:avLst/>
              <a:gdLst>
                <a:gd name="T0" fmla="*/ 0 w 41"/>
                <a:gd name="T1" fmla="*/ 4 h 33"/>
                <a:gd name="T2" fmla="*/ 1 w 41"/>
                <a:gd name="T3" fmla="*/ 26 h 33"/>
                <a:gd name="T4" fmla="*/ 24 w 41"/>
                <a:gd name="T5" fmla="*/ 33 h 33"/>
                <a:gd name="T6" fmla="*/ 41 w 41"/>
                <a:gd name="T7" fmla="*/ 25 h 33"/>
                <a:gd name="T8" fmla="*/ 24 w 41"/>
                <a:gd name="T9" fmla="*/ 0 h 33"/>
                <a:gd name="T10" fmla="*/ 0 w 41"/>
                <a:gd name="T11" fmla="*/ 4 h 33"/>
              </a:gdLst>
              <a:ahLst/>
              <a:cxnLst>
                <a:cxn ang="0">
                  <a:pos x="T0" y="T1"/>
                </a:cxn>
                <a:cxn ang="0">
                  <a:pos x="T2" y="T3"/>
                </a:cxn>
                <a:cxn ang="0">
                  <a:pos x="T4" y="T5"/>
                </a:cxn>
                <a:cxn ang="0">
                  <a:pos x="T6" y="T7"/>
                </a:cxn>
                <a:cxn ang="0">
                  <a:pos x="T8" y="T9"/>
                </a:cxn>
                <a:cxn ang="0">
                  <a:pos x="T10" y="T11"/>
                </a:cxn>
              </a:cxnLst>
              <a:rect l="0" t="0" r="r" b="b"/>
              <a:pathLst>
                <a:path w="41" h="33">
                  <a:moveTo>
                    <a:pt x="0" y="4"/>
                  </a:moveTo>
                  <a:lnTo>
                    <a:pt x="1" y="26"/>
                  </a:lnTo>
                  <a:lnTo>
                    <a:pt x="24" y="33"/>
                  </a:lnTo>
                  <a:lnTo>
                    <a:pt x="41" y="25"/>
                  </a:lnTo>
                  <a:lnTo>
                    <a:pt x="24" y="0"/>
                  </a:lnTo>
                  <a:lnTo>
                    <a:pt x="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4" name="Freeform 104">
              <a:extLst>
                <a:ext uri="{FF2B5EF4-FFF2-40B4-BE49-F238E27FC236}">
                  <a16:creationId xmlns:a16="http://schemas.microsoft.com/office/drawing/2014/main" id="{3643B4A1-9E9A-4A9B-8ED3-9529CFFBC721}"/>
                </a:ext>
              </a:extLst>
            </p:cNvPr>
            <p:cNvSpPr>
              <a:spLocks/>
            </p:cNvSpPr>
            <p:nvPr/>
          </p:nvSpPr>
          <p:spPr bwMode="auto">
            <a:xfrm>
              <a:off x="10152857" y="4753768"/>
              <a:ext cx="22225" cy="17463"/>
            </a:xfrm>
            <a:custGeom>
              <a:avLst/>
              <a:gdLst>
                <a:gd name="T0" fmla="*/ 11 w 43"/>
                <a:gd name="T1" fmla="*/ 0 h 33"/>
                <a:gd name="T2" fmla="*/ 0 w 43"/>
                <a:gd name="T3" fmla="*/ 16 h 33"/>
                <a:gd name="T4" fmla="*/ 17 w 43"/>
                <a:gd name="T5" fmla="*/ 33 h 33"/>
                <a:gd name="T6" fmla="*/ 43 w 43"/>
                <a:gd name="T7" fmla="*/ 25 h 33"/>
                <a:gd name="T8" fmla="*/ 11 w 43"/>
                <a:gd name="T9" fmla="*/ 0 h 33"/>
              </a:gdLst>
              <a:ahLst/>
              <a:cxnLst>
                <a:cxn ang="0">
                  <a:pos x="T0" y="T1"/>
                </a:cxn>
                <a:cxn ang="0">
                  <a:pos x="T2" y="T3"/>
                </a:cxn>
                <a:cxn ang="0">
                  <a:pos x="T4" y="T5"/>
                </a:cxn>
                <a:cxn ang="0">
                  <a:pos x="T6" y="T7"/>
                </a:cxn>
                <a:cxn ang="0">
                  <a:pos x="T8" y="T9"/>
                </a:cxn>
              </a:cxnLst>
              <a:rect l="0" t="0" r="r" b="b"/>
              <a:pathLst>
                <a:path w="43" h="33">
                  <a:moveTo>
                    <a:pt x="11" y="0"/>
                  </a:moveTo>
                  <a:lnTo>
                    <a:pt x="0" y="16"/>
                  </a:lnTo>
                  <a:lnTo>
                    <a:pt x="17" y="33"/>
                  </a:lnTo>
                  <a:lnTo>
                    <a:pt x="43" y="25"/>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5" name="Freeform 105">
              <a:extLst>
                <a:ext uri="{FF2B5EF4-FFF2-40B4-BE49-F238E27FC236}">
                  <a16:creationId xmlns:a16="http://schemas.microsoft.com/office/drawing/2014/main" id="{04D6443F-4B0E-40D7-9166-6888D6311B95}"/>
                </a:ext>
              </a:extLst>
            </p:cNvPr>
            <p:cNvSpPr>
              <a:spLocks/>
            </p:cNvSpPr>
            <p:nvPr/>
          </p:nvSpPr>
          <p:spPr bwMode="auto">
            <a:xfrm>
              <a:off x="10375107" y="4734718"/>
              <a:ext cx="12700" cy="44450"/>
            </a:xfrm>
            <a:custGeom>
              <a:avLst/>
              <a:gdLst>
                <a:gd name="T0" fmla="*/ 24 w 25"/>
                <a:gd name="T1" fmla="*/ 0 h 85"/>
                <a:gd name="T2" fmla="*/ 2 w 25"/>
                <a:gd name="T3" fmla="*/ 29 h 85"/>
                <a:gd name="T4" fmla="*/ 0 w 25"/>
                <a:gd name="T5" fmla="*/ 61 h 85"/>
                <a:gd name="T6" fmla="*/ 25 w 25"/>
                <a:gd name="T7" fmla="*/ 85 h 85"/>
                <a:gd name="T8" fmla="*/ 24 w 25"/>
                <a:gd name="T9" fmla="*/ 0 h 85"/>
              </a:gdLst>
              <a:ahLst/>
              <a:cxnLst>
                <a:cxn ang="0">
                  <a:pos x="T0" y="T1"/>
                </a:cxn>
                <a:cxn ang="0">
                  <a:pos x="T2" y="T3"/>
                </a:cxn>
                <a:cxn ang="0">
                  <a:pos x="T4" y="T5"/>
                </a:cxn>
                <a:cxn ang="0">
                  <a:pos x="T6" y="T7"/>
                </a:cxn>
                <a:cxn ang="0">
                  <a:pos x="T8" y="T9"/>
                </a:cxn>
              </a:cxnLst>
              <a:rect l="0" t="0" r="r" b="b"/>
              <a:pathLst>
                <a:path w="25" h="85">
                  <a:moveTo>
                    <a:pt x="24" y="0"/>
                  </a:moveTo>
                  <a:lnTo>
                    <a:pt x="2" y="29"/>
                  </a:lnTo>
                  <a:lnTo>
                    <a:pt x="0" y="61"/>
                  </a:lnTo>
                  <a:lnTo>
                    <a:pt x="25" y="85"/>
                  </a:lnTo>
                  <a:lnTo>
                    <a:pt x="2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6" name="Freeform 106">
              <a:extLst>
                <a:ext uri="{FF2B5EF4-FFF2-40B4-BE49-F238E27FC236}">
                  <a16:creationId xmlns:a16="http://schemas.microsoft.com/office/drawing/2014/main" id="{D3C9B1D8-DAA7-4474-AFEA-3F543AD4D9DA}"/>
                </a:ext>
              </a:extLst>
            </p:cNvPr>
            <p:cNvSpPr>
              <a:spLocks/>
            </p:cNvSpPr>
            <p:nvPr/>
          </p:nvSpPr>
          <p:spPr bwMode="auto">
            <a:xfrm>
              <a:off x="8887619" y="3694906"/>
              <a:ext cx="77788" cy="100013"/>
            </a:xfrm>
            <a:custGeom>
              <a:avLst/>
              <a:gdLst>
                <a:gd name="T0" fmla="*/ 105 w 146"/>
                <a:gd name="T1" fmla="*/ 0 h 188"/>
                <a:gd name="T2" fmla="*/ 90 w 146"/>
                <a:gd name="T3" fmla="*/ 27 h 188"/>
                <a:gd name="T4" fmla="*/ 82 w 146"/>
                <a:gd name="T5" fmla="*/ 62 h 188"/>
                <a:gd name="T6" fmla="*/ 0 w 146"/>
                <a:gd name="T7" fmla="*/ 166 h 188"/>
                <a:gd name="T8" fmla="*/ 5 w 146"/>
                <a:gd name="T9" fmla="*/ 188 h 188"/>
                <a:gd name="T10" fmla="*/ 40 w 146"/>
                <a:gd name="T11" fmla="*/ 183 h 188"/>
                <a:gd name="T12" fmla="*/ 146 w 146"/>
                <a:gd name="T13" fmla="*/ 64 h 188"/>
                <a:gd name="T14" fmla="*/ 105 w 146"/>
                <a:gd name="T15" fmla="*/ 0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88">
                  <a:moveTo>
                    <a:pt x="105" y="0"/>
                  </a:moveTo>
                  <a:lnTo>
                    <a:pt x="90" y="27"/>
                  </a:lnTo>
                  <a:lnTo>
                    <a:pt x="82" y="62"/>
                  </a:lnTo>
                  <a:lnTo>
                    <a:pt x="0" y="166"/>
                  </a:lnTo>
                  <a:lnTo>
                    <a:pt x="5" y="188"/>
                  </a:lnTo>
                  <a:lnTo>
                    <a:pt x="40" y="183"/>
                  </a:lnTo>
                  <a:lnTo>
                    <a:pt x="146" y="64"/>
                  </a:lnTo>
                  <a:lnTo>
                    <a:pt x="10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7" name="Freeform 107">
              <a:extLst>
                <a:ext uri="{FF2B5EF4-FFF2-40B4-BE49-F238E27FC236}">
                  <a16:creationId xmlns:a16="http://schemas.microsoft.com/office/drawing/2014/main" id="{35E673E4-ADB5-47FA-8660-A092B382544B}"/>
                </a:ext>
              </a:extLst>
            </p:cNvPr>
            <p:cNvSpPr>
              <a:spLocks/>
            </p:cNvSpPr>
            <p:nvPr/>
          </p:nvSpPr>
          <p:spPr bwMode="auto">
            <a:xfrm>
              <a:off x="9013032" y="3674268"/>
              <a:ext cx="47625" cy="96838"/>
            </a:xfrm>
            <a:custGeom>
              <a:avLst/>
              <a:gdLst>
                <a:gd name="T0" fmla="*/ 2 w 89"/>
                <a:gd name="T1" fmla="*/ 0 h 185"/>
                <a:gd name="T2" fmla="*/ 0 w 89"/>
                <a:gd name="T3" fmla="*/ 86 h 185"/>
                <a:gd name="T4" fmla="*/ 31 w 89"/>
                <a:gd name="T5" fmla="*/ 117 h 185"/>
                <a:gd name="T6" fmla="*/ 42 w 89"/>
                <a:gd name="T7" fmla="*/ 178 h 185"/>
                <a:gd name="T8" fmla="*/ 74 w 89"/>
                <a:gd name="T9" fmla="*/ 185 h 185"/>
                <a:gd name="T10" fmla="*/ 89 w 89"/>
                <a:gd name="T11" fmla="*/ 146 h 185"/>
                <a:gd name="T12" fmla="*/ 64 w 89"/>
                <a:gd name="T13" fmla="*/ 128 h 185"/>
                <a:gd name="T14" fmla="*/ 57 w 89"/>
                <a:gd name="T15" fmla="*/ 22 h 185"/>
                <a:gd name="T16" fmla="*/ 2 w 89"/>
                <a:gd name="T17"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5">
                  <a:moveTo>
                    <a:pt x="2" y="0"/>
                  </a:moveTo>
                  <a:lnTo>
                    <a:pt x="0" y="86"/>
                  </a:lnTo>
                  <a:lnTo>
                    <a:pt x="31" y="117"/>
                  </a:lnTo>
                  <a:lnTo>
                    <a:pt x="42" y="178"/>
                  </a:lnTo>
                  <a:lnTo>
                    <a:pt x="74" y="185"/>
                  </a:lnTo>
                  <a:lnTo>
                    <a:pt x="89" y="146"/>
                  </a:lnTo>
                  <a:lnTo>
                    <a:pt x="64" y="128"/>
                  </a:lnTo>
                  <a:lnTo>
                    <a:pt x="57" y="22"/>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8" name="Freeform 108">
              <a:extLst>
                <a:ext uri="{FF2B5EF4-FFF2-40B4-BE49-F238E27FC236}">
                  <a16:creationId xmlns:a16="http://schemas.microsoft.com/office/drawing/2014/main" id="{60B3412B-E7A7-4619-B853-D1A6E725227B}"/>
                </a:ext>
              </a:extLst>
            </p:cNvPr>
            <p:cNvSpPr>
              <a:spLocks/>
            </p:cNvSpPr>
            <p:nvPr/>
          </p:nvSpPr>
          <p:spPr bwMode="auto">
            <a:xfrm>
              <a:off x="9060657" y="3691731"/>
              <a:ext cx="25400" cy="55563"/>
            </a:xfrm>
            <a:custGeom>
              <a:avLst/>
              <a:gdLst>
                <a:gd name="T0" fmla="*/ 1 w 49"/>
                <a:gd name="T1" fmla="*/ 0 h 105"/>
                <a:gd name="T2" fmla="*/ 0 w 49"/>
                <a:gd name="T3" fmla="*/ 76 h 105"/>
                <a:gd name="T4" fmla="*/ 17 w 49"/>
                <a:gd name="T5" fmla="*/ 105 h 105"/>
                <a:gd name="T6" fmla="*/ 49 w 49"/>
                <a:gd name="T7" fmla="*/ 69 h 105"/>
                <a:gd name="T8" fmla="*/ 40 w 49"/>
                <a:gd name="T9" fmla="*/ 3 h 105"/>
                <a:gd name="T10" fmla="*/ 1 w 49"/>
                <a:gd name="T11" fmla="*/ 0 h 105"/>
              </a:gdLst>
              <a:ahLst/>
              <a:cxnLst>
                <a:cxn ang="0">
                  <a:pos x="T0" y="T1"/>
                </a:cxn>
                <a:cxn ang="0">
                  <a:pos x="T2" y="T3"/>
                </a:cxn>
                <a:cxn ang="0">
                  <a:pos x="T4" y="T5"/>
                </a:cxn>
                <a:cxn ang="0">
                  <a:pos x="T6" y="T7"/>
                </a:cxn>
                <a:cxn ang="0">
                  <a:pos x="T8" y="T9"/>
                </a:cxn>
                <a:cxn ang="0">
                  <a:pos x="T10" y="T11"/>
                </a:cxn>
              </a:cxnLst>
              <a:rect l="0" t="0" r="r" b="b"/>
              <a:pathLst>
                <a:path w="49" h="105">
                  <a:moveTo>
                    <a:pt x="1" y="0"/>
                  </a:moveTo>
                  <a:lnTo>
                    <a:pt x="0" y="76"/>
                  </a:lnTo>
                  <a:lnTo>
                    <a:pt x="17" y="105"/>
                  </a:lnTo>
                  <a:lnTo>
                    <a:pt x="49" y="69"/>
                  </a:lnTo>
                  <a:lnTo>
                    <a:pt x="40" y="3"/>
                  </a:ln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9" name="Freeform 109">
              <a:extLst>
                <a:ext uri="{FF2B5EF4-FFF2-40B4-BE49-F238E27FC236}">
                  <a16:creationId xmlns:a16="http://schemas.microsoft.com/office/drawing/2014/main" id="{36F09C16-E411-4DF1-9DC0-A4627A9ED50E}"/>
                </a:ext>
              </a:extLst>
            </p:cNvPr>
            <p:cNvSpPr>
              <a:spLocks/>
            </p:cNvSpPr>
            <p:nvPr/>
          </p:nvSpPr>
          <p:spPr bwMode="auto">
            <a:xfrm>
              <a:off x="9071769" y="3652043"/>
              <a:ext cx="38100" cy="47625"/>
            </a:xfrm>
            <a:custGeom>
              <a:avLst/>
              <a:gdLst>
                <a:gd name="T0" fmla="*/ 0 w 73"/>
                <a:gd name="T1" fmla="*/ 8 h 89"/>
                <a:gd name="T2" fmla="*/ 31 w 73"/>
                <a:gd name="T3" fmla="*/ 49 h 89"/>
                <a:gd name="T4" fmla="*/ 46 w 73"/>
                <a:gd name="T5" fmla="*/ 89 h 89"/>
                <a:gd name="T6" fmla="*/ 73 w 73"/>
                <a:gd name="T7" fmla="*/ 89 h 89"/>
                <a:gd name="T8" fmla="*/ 68 w 73"/>
                <a:gd name="T9" fmla="*/ 21 h 89"/>
                <a:gd name="T10" fmla="*/ 38 w 73"/>
                <a:gd name="T11" fmla="*/ 0 h 89"/>
                <a:gd name="T12" fmla="*/ 0 w 73"/>
                <a:gd name="T13" fmla="*/ 8 h 89"/>
              </a:gdLst>
              <a:ahLst/>
              <a:cxnLst>
                <a:cxn ang="0">
                  <a:pos x="T0" y="T1"/>
                </a:cxn>
                <a:cxn ang="0">
                  <a:pos x="T2" y="T3"/>
                </a:cxn>
                <a:cxn ang="0">
                  <a:pos x="T4" y="T5"/>
                </a:cxn>
                <a:cxn ang="0">
                  <a:pos x="T6" y="T7"/>
                </a:cxn>
                <a:cxn ang="0">
                  <a:pos x="T8" y="T9"/>
                </a:cxn>
                <a:cxn ang="0">
                  <a:pos x="T10" y="T11"/>
                </a:cxn>
                <a:cxn ang="0">
                  <a:pos x="T12" y="T13"/>
                </a:cxn>
              </a:cxnLst>
              <a:rect l="0" t="0" r="r" b="b"/>
              <a:pathLst>
                <a:path w="73" h="89">
                  <a:moveTo>
                    <a:pt x="0" y="8"/>
                  </a:moveTo>
                  <a:lnTo>
                    <a:pt x="31" y="49"/>
                  </a:lnTo>
                  <a:lnTo>
                    <a:pt x="46" y="89"/>
                  </a:lnTo>
                  <a:lnTo>
                    <a:pt x="73" y="89"/>
                  </a:lnTo>
                  <a:lnTo>
                    <a:pt x="68" y="21"/>
                  </a:lnTo>
                  <a:lnTo>
                    <a:pt x="38" y="0"/>
                  </a:ln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110">
              <a:extLst>
                <a:ext uri="{FF2B5EF4-FFF2-40B4-BE49-F238E27FC236}">
                  <a16:creationId xmlns:a16="http://schemas.microsoft.com/office/drawing/2014/main" id="{D89A28D8-4FD5-471D-BD89-51BE22BD4F91}"/>
                </a:ext>
              </a:extLst>
            </p:cNvPr>
            <p:cNvSpPr>
              <a:spLocks/>
            </p:cNvSpPr>
            <p:nvPr/>
          </p:nvSpPr>
          <p:spPr bwMode="auto">
            <a:xfrm>
              <a:off x="9024144" y="3737768"/>
              <a:ext cx="119063" cy="133350"/>
            </a:xfrm>
            <a:custGeom>
              <a:avLst/>
              <a:gdLst>
                <a:gd name="T0" fmla="*/ 149 w 225"/>
                <a:gd name="T1" fmla="*/ 0 h 250"/>
                <a:gd name="T2" fmla="*/ 156 w 225"/>
                <a:gd name="T3" fmla="*/ 50 h 250"/>
                <a:gd name="T4" fmla="*/ 98 w 225"/>
                <a:gd name="T5" fmla="*/ 96 h 250"/>
                <a:gd name="T6" fmla="*/ 51 w 225"/>
                <a:gd name="T7" fmla="*/ 101 h 250"/>
                <a:gd name="T8" fmla="*/ 0 w 225"/>
                <a:gd name="T9" fmla="*/ 155 h 250"/>
                <a:gd name="T10" fmla="*/ 2 w 225"/>
                <a:gd name="T11" fmla="*/ 180 h 250"/>
                <a:gd name="T12" fmla="*/ 50 w 225"/>
                <a:gd name="T13" fmla="*/ 166 h 250"/>
                <a:gd name="T14" fmla="*/ 82 w 225"/>
                <a:gd name="T15" fmla="*/ 144 h 250"/>
                <a:gd name="T16" fmla="*/ 111 w 225"/>
                <a:gd name="T17" fmla="*/ 214 h 250"/>
                <a:gd name="T18" fmla="*/ 159 w 225"/>
                <a:gd name="T19" fmla="*/ 250 h 250"/>
                <a:gd name="T20" fmla="*/ 179 w 225"/>
                <a:gd name="T21" fmla="*/ 243 h 250"/>
                <a:gd name="T22" fmla="*/ 197 w 225"/>
                <a:gd name="T23" fmla="*/ 221 h 250"/>
                <a:gd name="T24" fmla="*/ 158 w 225"/>
                <a:gd name="T25" fmla="*/ 182 h 250"/>
                <a:gd name="T26" fmla="*/ 181 w 225"/>
                <a:gd name="T27" fmla="*/ 164 h 250"/>
                <a:gd name="T28" fmla="*/ 207 w 225"/>
                <a:gd name="T29" fmla="*/ 185 h 250"/>
                <a:gd name="T30" fmla="*/ 225 w 225"/>
                <a:gd name="T31" fmla="*/ 155 h 250"/>
                <a:gd name="T32" fmla="*/ 207 w 225"/>
                <a:gd name="T33" fmla="*/ 119 h 250"/>
                <a:gd name="T34" fmla="*/ 204 w 225"/>
                <a:gd name="T35" fmla="*/ 38 h 250"/>
                <a:gd name="T36" fmla="*/ 149 w 225"/>
                <a:gd name="T3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250">
                  <a:moveTo>
                    <a:pt x="149" y="0"/>
                  </a:moveTo>
                  <a:lnTo>
                    <a:pt x="156" y="50"/>
                  </a:lnTo>
                  <a:lnTo>
                    <a:pt x="98" y="96"/>
                  </a:lnTo>
                  <a:lnTo>
                    <a:pt x="51" y="101"/>
                  </a:lnTo>
                  <a:lnTo>
                    <a:pt x="0" y="155"/>
                  </a:lnTo>
                  <a:lnTo>
                    <a:pt x="2" y="180"/>
                  </a:lnTo>
                  <a:lnTo>
                    <a:pt x="50" y="166"/>
                  </a:lnTo>
                  <a:lnTo>
                    <a:pt x="82" y="144"/>
                  </a:lnTo>
                  <a:lnTo>
                    <a:pt x="111" y="214"/>
                  </a:lnTo>
                  <a:lnTo>
                    <a:pt x="159" y="250"/>
                  </a:lnTo>
                  <a:lnTo>
                    <a:pt x="179" y="243"/>
                  </a:lnTo>
                  <a:lnTo>
                    <a:pt x="197" y="221"/>
                  </a:lnTo>
                  <a:lnTo>
                    <a:pt x="158" y="182"/>
                  </a:lnTo>
                  <a:lnTo>
                    <a:pt x="181" y="164"/>
                  </a:lnTo>
                  <a:lnTo>
                    <a:pt x="207" y="185"/>
                  </a:lnTo>
                  <a:lnTo>
                    <a:pt x="225" y="155"/>
                  </a:lnTo>
                  <a:lnTo>
                    <a:pt x="207" y="119"/>
                  </a:lnTo>
                  <a:lnTo>
                    <a:pt x="204" y="38"/>
                  </a:lnTo>
                  <a:lnTo>
                    <a:pt x="14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1" name="Freeform 111">
              <a:extLst>
                <a:ext uri="{FF2B5EF4-FFF2-40B4-BE49-F238E27FC236}">
                  <a16:creationId xmlns:a16="http://schemas.microsoft.com/office/drawing/2014/main" id="{A2D066D9-3219-48E4-9D14-CDA27B30B0DC}"/>
                </a:ext>
              </a:extLst>
            </p:cNvPr>
            <p:cNvSpPr>
              <a:spLocks/>
            </p:cNvSpPr>
            <p:nvPr/>
          </p:nvSpPr>
          <p:spPr bwMode="auto">
            <a:xfrm>
              <a:off x="8935244" y="3472656"/>
              <a:ext cx="127000" cy="168275"/>
            </a:xfrm>
            <a:custGeom>
              <a:avLst/>
              <a:gdLst>
                <a:gd name="T0" fmla="*/ 49 w 238"/>
                <a:gd name="T1" fmla="*/ 0 h 318"/>
                <a:gd name="T2" fmla="*/ 6 w 238"/>
                <a:gd name="T3" fmla="*/ 31 h 318"/>
                <a:gd name="T4" fmla="*/ 0 w 238"/>
                <a:gd name="T5" fmla="*/ 131 h 318"/>
                <a:gd name="T6" fmla="*/ 69 w 238"/>
                <a:gd name="T7" fmla="*/ 264 h 318"/>
                <a:gd name="T8" fmla="*/ 92 w 238"/>
                <a:gd name="T9" fmla="*/ 282 h 318"/>
                <a:gd name="T10" fmla="*/ 121 w 238"/>
                <a:gd name="T11" fmla="*/ 263 h 318"/>
                <a:gd name="T12" fmla="*/ 172 w 238"/>
                <a:gd name="T13" fmla="*/ 271 h 318"/>
                <a:gd name="T14" fmla="*/ 182 w 238"/>
                <a:gd name="T15" fmla="*/ 315 h 318"/>
                <a:gd name="T16" fmla="*/ 220 w 238"/>
                <a:gd name="T17" fmla="*/ 318 h 318"/>
                <a:gd name="T18" fmla="*/ 238 w 238"/>
                <a:gd name="T19" fmla="*/ 293 h 318"/>
                <a:gd name="T20" fmla="*/ 215 w 238"/>
                <a:gd name="T21" fmla="*/ 263 h 318"/>
                <a:gd name="T22" fmla="*/ 187 w 238"/>
                <a:gd name="T23" fmla="*/ 236 h 318"/>
                <a:gd name="T24" fmla="*/ 128 w 238"/>
                <a:gd name="T25" fmla="*/ 229 h 318"/>
                <a:gd name="T26" fmla="*/ 97 w 238"/>
                <a:gd name="T27" fmla="*/ 178 h 318"/>
                <a:gd name="T28" fmla="*/ 132 w 238"/>
                <a:gd name="T29" fmla="*/ 123 h 318"/>
                <a:gd name="T30" fmla="*/ 136 w 238"/>
                <a:gd name="T31" fmla="*/ 76 h 318"/>
                <a:gd name="T32" fmla="*/ 111 w 238"/>
                <a:gd name="T33" fmla="*/ 15 h 318"/>
                <a:gd name="T34" fmla="*/ 49 w 238"/>
                <a:gd name="T3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8" h="318">
                  <a:moveTo>
                    <a:pt x="49" y="0"/>
                  </a:moveTo>
                  <a:lnTo>
                    <a:pt x="6" y="31"/>
                  </a:lnTo>
                  <a:lnTo>
                    <a:pt x="0" y="131"/>
                  </a:lnTo>
                  <a:lnTo>
                    <a:pt x="69" y="264"/>
                  </a:lnTo>
                  <a:lnTo>
                    <a:pt x="92" y="282"/>
                  </a:lnTo>
                  <a:lnTo>
                    <a:pt x="121" y="263"/>
                  </a:lnTo>
                  <a:lnTo>
                    <a:pt x="172" y="271"/>
                  </a:lnTo>
                  <a:lnTo>
                    <a:pt x="182" y="315"/>
                  </a:lnTo>
                  <a:lnTo>
                    <a:pt x="220" y="318"/>
                  </a:lnTo>
                  <a:lnTo>
                    <a:pt x="238" y="293"/>
                  </a:lnTo>
                  <a:lnTo>
                    <a:pt x="215" y="263"/>
                  </a:lnTo>
                  <a:lnTo>
                    <a:pt x="187" y="236"/>
                  </a:lnTo>
                  <a:lnTo>
                    <a:pt x="128" y="229"/>
                  </a:lnTo>
                  <a:lnTo>
                    <a:pt x="97" y="178"/>
                  </a:lnTo>
                  <a:lnTo>
                    <a:pt x="132" y="123"/>
                  </a:lnTo>
                  <a:lnTo>
                    <a:pt x="136" y="76"/>
                  </a:lnTo>
                  <a:lnTo>
                    <a:pt x="111" y="15"/>
                  </a:lnTo>
                  <a:lnTo>
                    <a:pt x="4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12">
              <a:extLst>
                <a:ext uri="{FF2B5EF4-FFF2-40B4-BE49-F238E27FC236}">
                  <a16:creationId xmlns:a16="http://schemas.microsoft.com/office/drawing/2014/main" id="{52E53427-022E-4BF5-8C86-569E9F9E031D}"/>
                </a:ext>
              </a:extLst>
            </p:cNvPr>
            <p:cNvSpPr>
              <a:spLocks/>
            </p:cNvSpPr>
            <p:nvPr/>
          </p:nvSpPr>
          <p:spPr bwMode="auto">
            <a:xfrm>
              <a:off x="8974932" y="3628231"/>
              <a:ext cx="26988" cy="31750"/>
            </a:xfrm>
            <a:custGeom>
              <a:avLst/>
              <a:gdLst>
                <a:gd name="T0" fmla="*/ 0 w 52"/>
                <a:gd name="T1" fmla="*/ 0 h 61"/>
                <a:gd name="T2" fmla="*/ 13 w 52"/>
                <a:gd name="T3" fmla="*/ 47 h 61"/>
                <a:gd name="T4" fmla="*/ 35 w 52"/>
                <a:gd name="T5" fmla="*/ 61 h 61"/>
                <a:gd name="T6" fmla="*/ 52 w 52"/>
                <a:gd name="T7" fmla="*/ 40 h 61"/>
                <a:gd name="T8" fmla="*/ 26 w 52"/>
                <a:gd name="T9" fmla="*/ 4 h 61"/>
                <a:gd name="T10" fmla="*/ 0 w 52"/>
                <a:gd name="T11" fmla="*/ 0 h 61"/>
              </a:gdLst>
              <a:ahLst/>
              <a:cxnLst>
                <a:cxn ang="0">
                  <a:pos x="T0" y="T1"/>
                </a:cxn>
                <a:cxn ang="0">
                  <a:pos x="T2" y="T3"/>
                </a:cxn>
                <a:cxn ang="0">
                  <a:pos x="T4" y="T5"/>
                </a:cxn>
                <a:cxn ang="0">
                  <a:pos x="T6" y="T7"/>
                </a:cxn>
                <a:cxn ang="0">
                  <a:pos x="T8" y="T9"/>
                </a:cxn>
                <a:cxn ang="0">
                  <a:pos x="T10" y="T11"/>
                </a:cxn>
              </a:cxnLst>
              <a:rect l="0" t="0" r="r" b="b"/>
              <a:pathLst>
                <a:path w="52" h="61">
                  <a:moveTo>
                    <a:pt x="0" y="0"/>
                  </a:moveTo>
                  <a:lnTo>
                    <a:pt x="13" y="47"/>
                  </a:lnTo>
                  <a:lnTo>
                    <a:pt x="35" y="61"/>
                  </a:lnTo>
                  <a:lnTo>
                    <a:pt x="52" y="40"/>
                  </a:lnTo>
                  <a:lnTo>
                    <a:pt x="26" y="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113">
              <a:extLst>
                <a:ext uri="{FF2B5EF4-FFF2-40B4-BE49-F238E27FC236}">
                  <a16:creationId xmlns:a16="http://schemas.microsoft.com/office/drawing/2014/main" id="{AF5B1118-3989-4E68-A0A7-97C766EC4CBF}"/>
                </a:ext>
              </a:extLst>
            </p:cNvPr>
            <p:cNvSpPr>
              <a:spLocks/>
            </p:cNvSpPr>
            <p:nvPr/>
          </p:nvSpPr>
          <p:spPr bwMode="auto">
            <a:xfrm>
              <a:off x="8638382" y="3447256"/>
              <a:ext cx="58738" cy="50800"/>
            </a:xfrm>
            <a:custGeom>
              <a:avLst/>
              <a:gdLst>
                <a:gd name="T0" fmla="*/ 70 w 111"/>
                <a:gd name="T1" fmla="*/ 0 h 98"/>
                <a:gd name="T2" fmla="*/ 30 w 111"/>
                <a:gd name="T3" fmla="*/ 11 h 98"/>
                <a:gd name="T4" fmla="*/ 0 w 111"/>
                <a:gd name="T5" fmla="*/ 48 h 98"/>
                <a:gd name="T6" fmla="*/ 25 w 111"/>
                <a:gd name="T7" fmla="*/ 95 h 98"/>
                <a:gd name="T8" fmla="*/ 60 w 111"/>
                <a:gd name="T9" fmla="*/ 98 h 98"/>
                <a:gd name="T10" fmla="*/ 102 w 111"/>
                <a:gd name="T11" fmla="*/ 63 h 98"/>
                <a:gd name="T12" fmla="*/ 111 w 111"/>
                <a:gd name="T13" fmla="*/ 15 h 98"/>
                <a:gd name="T14" fmla="*/ 70 w 111"/>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98">
                  <a:moveTo>
                    <a:pt x="70" y="0"/>
                  </a:moveTo>
                  <a:lnTo>
                    <a:pt x="30" y="11"/>
                  </a:lnTo>
                  <a:lnTo>
                    <a:pt x="0" y="48"/>
                  </a:lnTo>
                  <a:lnTo>
                    <a:pt x="25" y="95"/>
                  </a:lnTo>
                  <a:lnTo>
                    <a:pt x="60" y="98"/>
                  </a:lnTo>
                  <a:lnTo>
                    <a:pt x="102" y="63"/>
                  </a:lnTo>
                  <a:lnTo>
                    <a:pt x="111" y="15"/>
                  </a:lnTo>
                  <a:lnTo>
                    <a:pt x="7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114">
              <a:extLst>
                <a:ext uri="{FF2B5EF4-FFF2-40B4-BE49-F238E27FC236}">
                  <a16:creationId xmlns:a16="http://schemas.microsoft.com/office/drawing/2014/main" id="{F245CF57-156B-4EEC-8109-F3B045C71630}"/>
                </a:ext>
              </a:extLst>
            </p:cNvPr>
            <p:cNvSpPr>
              <a:spLocks/>
            </p:cNvSpPr>
            <p:nvPr/>
          </p:nvSpPr>
          <p:spPr bwMode="auto">
            <a:xfrm>
              <a:off x="8892382" y="3248818"/>
              <a:ext cx="34925" cy="103188"/>
            </a:xfrm>
            <a:custGeom>
              <a:avLst/>
              <a:gdLst>
                <a:gd name="T0" fmla="*/ 64 w 66"/>
                <a:gd name="T1" fmla="*/ 0 h 197"/>
                <a:gd name="T2" fmla="*/ 3 w 66"/>
                <a:gd name="T3" fmla="*/ 47 h 197"/>
                <a:gd name="T4" fmla="*/ 0 w 66"/>
                <a:gd name="T5" fmla="*/ 136 h 197"/>
                <a:gd name="T6" fmla="*/ 53 w 66"/>
                <a:gd name="T7" fmla="*/ 197 h 197"/>
                <a:gd name="T8" fmla="*/ 66 w 66"/>
                <a:gd name="T9" fmla="*/ 185 h 197"/>
                <a:gd name="T10" fmla="*/ 64 w 66"/>
                <a:gd name="T11" fmla="*/ 0 h 197"/>
              </a:gdLst>
              <a:ahLst/>
              <a:cxnLst>
                <a:cxn ang="0">
                  <a:pos x="T0" y="T1"/>
                </a:cxn>
                <a:cxn ang="0">
                  <a:pos x="T2" y="T3"/>
                </a:cxn>
                <a:cxn ang="0">
                  <a:pos x="T4" y="T5"/>
                </a:cxn>
                <a:cxn ang="0">
                  <a:pos x="T6" y="T7"/>
                </a:cxn>
                <a:cxn ang="0">
                  <a:pos x="T8" y="T9"/>
                </a:cxn>
                <a:cxn ang="0">
                  <a:pos x="T10" y="T11"/>
                </a:cxn>
              </a:cxnLst>
              <a:rect l="0" t="0" r="r" b="b"/>
              <a:pathLst>
                <a:path w="66" h="197">
                  <a:moveTo>
                    <a:pt x="64" y="0"/>
                  </a:moveTo>
                  <a:lnTo>
                    <a:pt x="3" y="47"/>
                  </a:lnTo>
                  <a:lnTo>
                    <a:pt x="0" y="136"/>
                  </a:lnTo>
                  <a:lnTo>
                    <a:pt x="53" y="197"/>
                  </a:lnTo>
                  <a:lnTo>
                    <a:pt x="66" y="185"/>
                  </a:lnTo>
                  <a:lnTo>
                    <a:pt x="6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15">
              <a:extLst>
                <a:ext uri="{FF2B5EF4-FFF2-40B4-BE49-F238E27FC236}">
                  <a16:creationId xmlns:a16="http://schemas.microsoft.com/office/drawing/2014/main" id="{FFF0E421-EDB5-45B5-B80D-C1CEF44C743B}"/>
                </a:ext>
              </a:extLst>
            </p:cNvPr>
            <p:cNvSpPr>
              <a:spLocks/>
            </p:cNvSpPr>
            <p:nvPr/>
          </p:nvSpPr>
          <p:spPr bwMode="auto">
            <a:xfrm>
              <a:off x="9054307" y="2959893"/>
              <a:ext cx="65088" cy="93663"/>
            </a:xfrm>
            <a:custGeom>
              <a:avLst/>
              <a:gdLst>
                <a:gd name="T0" fmla="*/ 27 w 121"/>
                <a:gd name="T1" fmla="*/ 0 h 177"/>
                <a:gd name="T2" fmla="*/ 0 w 121"/>
                <a:gd name="T3" fmla="*/ 29 h 177"/>
                <a:gd name="T4" fmla="*/ 11 w 121"/>
                <a:gd name="T5" fmla="*/ 68 h 177"/>
                <a:gd name="T6" fmla="*/ 35 w 121"/>
                <a:gd name="T7" fmla="*/ 69 h 177"/>
                <a:gd name="T8" fmla="*/ 52 w 121"/>
                <a:gd name="T9" fmla="*/ 155 h 177"/>
                <a:gd name="T10" fmla="*/ 72 w 121"/>
                <a:gd name="T11" fmla="*/ 177 h 177"/>
                <a:gd name="T12" fmla="*/ 106 w 121"/>
                <a:gd name="T13" fmla="*/ 145 h 177"/>
                <a:gd name="T14" fmla="*/ 121 w 121"/>
                <a:gd name="T15" fmla="*/ 90 h 177"/>
                <a:gd name="T16" fmla="*/ 78 w 121"/>
                <a:gd name="T17" fmla="*/ 29 h 177"/>
                <a:gd name="T18" fmla="*/ 27 w 121"/>
                <a:gd name="T1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77">
                  <a:moveTo>
                    <a:pt x="27" y="0"/>
                  </a:moveTo>
                  <a:lnTo>
                    <a:pt x="0" y="29"/>
                  </a:lnTo>
                  <a:lnTo>
                    <a:pt x="11" y="68"/>
                  </a:lnTo>
                  <a:lnTo>
                    <a:pt x="35" y="69"/>
                  </a:lnTo>
                  <a:lnTo>
                    <a:pt x="52" y="155"/>
                  </a:lnTo>
                  <a:lnTo>
                    <a:pt x="72" y="177"/>
                  </a:lnTo>
                  <a:lnTo>
                    <a:pt x="106" y="145"/>
                  </a:lnTo>
                  <a:lnTo>
                    <a:pt x="121" y="90"/>
                  </a:lnTo>
                  <a:lnTo>
                    <a:pt x="78" y="29"/>
                  </a:lnTo>
                  <a:lnTo>
                    <a:pt x="2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116">
              <a:extLst>
                <a:ext uri="{FF2B5EF4-FFF2-40B4-BE49-F238E27FC236}">
                  <a16:creationId xmlns:a16="http://schemas.microsoft.com/office/drawing/2014/main" id="{D8B6CFD6-1A25-40E8-96DC-A25BA39A4CC9}"/>
                </a:ext>
              </a:extLst>
            </p:cNvPr>
            <p:cNvSpPr>
              <a:spLocks/>
            </p:cNvSpPr>
            <p:nvPr/>
          </p:nvSpPr>
          <p:spPr bwMode="auto">
            <a:xfrm>
              <a:off x="9122569" y="2929731"/>
              <a:ext cx="41275" cy="58738"/>
            </a:xfrm>
            <a:custGeom>
              <a:avLst/>
              <a:gdLst>
                <a:gd name="T0" fmla="*/ 49 w 76"/>
                <a:gd name="T1" fmla="*/ 0 h 111"/>
                <a:gd name="T2" fmla="*/ 2 w 76"/>
                <a:gd name="T3" fmla="*/ 45 h 111"/>
                <a:gd name="T4" fmla="*/ 0 w 76"/>
                <a:gd name="T5" fmla="*/ 96 h 111"/>
                <a:gd name="T6" fmla="*/ 12 w 76"/>
                <a:gd name="T7" fmla="*/ 111 h 111"/>
                <a:gd name="T8" fmla="*/ 76 w 76"/>
                <a:gd name="T9" fmla="*/ 56 h 111"/>
                <a:gd name="T10" fmla="*/ 71 w 76"/>
                <a:gd name="T11" fmla="*/ 2 h 111"/>
                <a:gd name="T12" fmla="*/ 49 w 76"/>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6" h="111">
                  <a:moveTo>
                    <a:pt x="49" y="0"/>
                  </a:moveTo>
                  <a:lnTo>
                    <a:pt x="2" y="45"/>
                  </a:lnTo>
                  <a:lnTo>
                    <a:pt x="0" y="96"/>
                  </a:lnTo>
                  <a:lnTo>
                    <a:pt x="12" y="111"/>
                  </a:lnTo>
                  <a:lnTo>
                    <a:pt x="76" y="56"/>
                  </a:lnTo>
                  <a:lnTo>
                    <a:pt x="71" y="2"/>
                  </a:lnTo>
                  <a:lnTo>
                    <a:pt x="4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117">
              <a:extLst>
                <a:ext uri="{FF2B5EF4-FFF2-40B4-BE49-F238E27FC236}">
                  <a16:creationId xmlns:a16="http://schemas.microsoft.com/office/drawing/2014/main" id="{24C6C5DD-9BD3-4381-B7DB-6F1F5D50D88E}"/>
                </a:ext>
              </a:extLst>
            </p:cNvPr>
            <p:cNvSpPr>
              <a:spLocks/>
            </p:cNvSpPr>
            <p:nvPr/>
          </p:nvSpPr>
          <p:spPr bwMode="auto">
            <a:xfrm>
              <a:off x="9070182" y="2659856"/>
              <a:ext cx="225425" cy="279400"/>
            </a:xfrm>
            <a:custGeom>
              <a:avLst/>
              <a:gdLst>
                <a:gd name="T0" fmla="*/ 83 w 427"/>
                <a:gd name="T1" fmla="*/ 404 h 528"/>
                <a:gd name="T2" fmla="*/ 0 w 427"/>
                <a:gd name="T3" fmla="*/ 499 h 528"/>
                <a:gd name="T4" fmla="*/ 14 w 427"/>
                <a:gd name="T5" fmla="*/ 523 h 528"/>
                <a:gd name="T6" fmla="*/ 56 w 427"/>
                <a:gd name="T7" fmla="*/ 528 h 528"/>
                <a:gd name="T8" fmla="*/ 132 w 427"/>
                <a:gd name="T9" fmla="*/ 468 h 528"/>
                <a:gd name="T10" fmla="*/ 187 w 427"/>
                <a:gd name="T11" fmla="*/ 459 h 528"/>
                <a:gd name="T12" fmla="*/ 236 w 427"/>
                <a:gd name="T13" fmla="*/ 515 h 528"/>
                <a:gd name="T14" fmla="*/ 273 w 427"/>
                <a:gd name="T15" fmla="*/ 502 h 528"/>
                <a:gd name="T16" fmla="*/ 288 w 427"/>
                <a:gd name="T17" fmla="*/ 446 h 528"/>
                <a:gd name="T18" fmla="*/ 358 w 427"/>
                <a:gd name="T19" fmla="*/ 444 h 528"/>
                <a:gd name="T20" fmla="*/ 427 w 427"/>
                <a:gd name="T21" fmla="*/ 362 h 528"/>
                <a:gd name="T22" fmla="*/ 392 w 427"/>
                <a:gd name="T23" fmla="*/ 225 h 528"/>
                <a:gd name="T24" fmla="*/ 375 w 427"/>
                <a:gd name="T25" fmla="*/ 153 h 528"/>
                <a:gd name="T26" fmla="*/ 411 w 427"/>
                <a:gd name="T27" fmla="*/ 123 h 528"/>
                <a:gd name="T28" fmla="*/ 329 w 427"/>
                <a:gd name="T29" fmla="*/ 0 h 528"/>
                <a:gd name="T30" fmla="*/ 308 w 427"/>
                <a:gd name="T31" fmla="*/ 1 h 528"/>
                <a:gd name="T32" fmla="*/ 264 w 427"/>
                <a:gd name="T33" fmla="*/ 51 h 528"/>
                <a:gd name="T34" fmla="*/ 264 w 427"/>
                <a:gd name="T35" fmla="*/ 92 h 528"/>
                <a:gd name="T36" fmla="*/ 283 w 427"/>
                <a:gd name="T37" fmla="*/ 114 h 528"/>
                <a:gd name="T38" fmla="*/ 289 w 427"/>
                <a:gd name="T39" fmla="*/ 224 h 528"/>
                <a:gd name="T40" fmla="*/ 240 w 427"/>
                <a:gd name="T41" fmla="*/ 286 h 528"/>
                <a:gd name="T42" fmla="*/ 210 w 427"/>
                <a:gd name="T43" fmla="*/ 269 h 528"/>
                <a:gd name="T44" fmla="*/ 187 w 427"/>
                <a:gd name="T45" fmla="*/ 320 h 528"/>
                <a:gd name="T46" fmla="*/ 182 w 427"/>
                <a:gd name="T47" fmla="*/ 367 h 528"/>
                <a:gd name="T48" fmla="*/ 200 w 427"/>
                <a:gd name="T49" fmla="*/ 396 h 528"/>
                <a:gd name="T50" fmla="*/ 188 w 427"/>
                <a:gd name="T51" fmla="*/ 417 h 528"/>
                <a:gd name="T52" fmla="*/ 150 w 427"/>
                <a:gd name="T53" fmla="*/ 386 h 528"/>
                <a:gd name="T54" fmla="*/ 124 w 427"/>
                <a:gd name="T55" fmla="*/ 386 h 528"/>
                <a:gd name="T56" fmla="*/ 102 w 427"/>
                <a:gd name="T57" fmla="*/ 399 h 528"/>
                <a:gd name="T58" fmla="*/ 83 w 427"/>
                <a:gd name="T59" fmla="*/ 404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7" h="528">
                  <a:moveTo>
                    <a:pt x="83" y="404"/>
                  </a:moveTo>
                  <a:lnTo>
                    <a:pt x="0" y="499"/>
                  </a:lnTo>
                  <a:lnTo>
                    <a:pt x="14" y="523"/>
                  </a:lnTo>
                  <a:lnTo>
                    <a:pt x="56" y="528"/>
                  </a:lnTo>
                  <a:lnTo>
                    <a:pt x="132" y="468"/>
                  </a:lnTo>
                  <a:lnTo>
                    <a:pt x="187" y="459"/>
                  </a:lnTo>
                  <a:lnTo>
                    <a:pt x="236" y="515"/>
                  </a:lnTo>
                  <a:lnTo>
                    <a:pt x="273" y="502"/>
                  </a:lnTo>
                  <a:lnTo>
                    <a:pt x="288" y="446"/>
                  </a:lnTo>
                  <a:lnTo>
                    <a:pt x="358" y="444"/>
                  </a:lnTo>
                  <a:lnTo>
                    <a:pt x="427" y="362"/>
                  </a:lnTo>
                  <a:lnTo>
                    <a:pt x="392" y="225"/>
                  </a:lnTo>
                  <a:lnTo>
                    <a:pt x="375" y="153"/>
                  </a:lnTo>
                  <a:lnTo>
                    <a:pt x="411" y="123"/>
                  </a:lnTo>
                  <a:lnTo>
                    <a:pt x="329" y="0"/>
                  </a:lnTo>
                  <a:lnTo>
                    <a:pt x="308" y="1"/>
                  </a:lnTo>
                  <a:lnTo>
                    <a:pt x="264" y="51"/>
                  </a:lnTo>
                  <a:lnTo>
                    <a:pt x="264" y="92"/>
                  </a:lnTo>
                  <a:lnTo>
                    <a:pt x="283" y="114"/>
                  </a:lnTo>
                  <a:lnTo>
                    <a:pt x="289" y="224"/>
                  </a:lnTo>
                  <a:lnTo>
                    <a:pt x="240" y="286"/>
                  </a:lnTo>
                  <a:lnTo>
                    <a:pt x="210" y="269"/>
                  </a:lnTo>
                  <a:lnTo>
                    <a:pt x="187" y="320"/>
                  </a:lnTo>
                  <a:lnTo>
                    <a:pt x="182" y="367"/>
                  </a:lnTo>
                  <a:lnTo>
                    <a:pt x="200" y="396"/>
                  </a:lnTo>
                  <a:lnTo>
                    <a:pt x="188" y="417"/>
                  </a:lnTo>
                  <a:lnTo>
                    <a:pt x="150" y="386"/>
                  </a:lnTo>
                  <a:lnTo>
                    <a:pt x="124" y="386"/>
                  </a:lnTo>
                  <a:lnTo>
                    <a:pt x="102" y="399"/>
                  </a:lnTo>
                  <a:lnTo>
                    <a:pt x="83" y="40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18">
              <a:extLst>
                <a:ext uri="{FF2B5EF4-FFF2-40B4-BE49-F238E27FC236}">
                  <a16:creationId xmlns:a16="http://schemas.microsoft.com/office/drawing/2014/main" id="{B0AD537F-3722-428B-8E99-49B4026A2FE4}"/>
                </a:ext>
              </a:extLst>
            </p:cNvPr>
            <p:cNvSpPr>
              <a:spLocks/>
            </p:cNvSpPr>
            <p:nvPr/>
          </p:nvSpPr>
          <p:spPr bwMode="auto">
            <a:xfrm>
              <a:off x="9165432" y="2478881"/>
              <a:ext cx="139700" cy="173038"/>
            </a:xfrm>
            <a:custGeom>
              <a:avLst/>
              <a:gdLst>
                <a:gd name="T0" fmla="*/ 44 w 264"/>
                <a:gd name="T1" fmla="*/ 0 h 327"/>
                <a:gd name="T2" fmla="*/ 18 w 264"/>
                <a:gd name="T3" fmla="*/ 23 h 327"/>
                <a:gd name="T4" fmla="*/ 31 w 264"/>
                <a:gd name="T5" fmla="*/ 73 h 327"/>
                <a:gd name="T6" fmla="*/ 55 w 264"/>
                <a:gd name="T7" fmla="*/ 96 h 327"/>
                <a:gd name="T8" fmla="*/ 53 w 264"/>
                <a:gd name="T9" fmla="*/ 171 h 327"/>
                <a:gd name="T10" fmla="*/ 23 w 264"/>
                <a:gd name="T11" fmla="*/ 183 h 327"/>
                <a:gd name="T12" fmla="*/ 0 w 264"/>
                <a:gd name="T13" fmla="*/ 234 h 327"/>
                <a:gd name="T14" fmla="*/ 68 w 264"/>
                <a:gd name="T15" fmla="*/ 327 h 327"/>
                <a:gd name="T16" fmla="*/ 111 w 264"/>
                <a:gd name="T17" fmla="*/ 311 h 327"/>
                <a:gd name="T18" fmla="*/ 120 w 264"/>
                <a:gd name="T19" fmla="*/ 289 h 327"/>
                <a:gd name="T20" fmla="*/ 73 w 264"/>
                <a:gd name="T21" fmla="*/ 245 h 327"/>
                <a:gd name="T22" fmla="*/ 102 w 264"/>
                <a:gd name="T23" fmla="*/ 208 h 327"/>
                <a:gd name="T24" fmla="*/ 133 w 264"/>
                <a:gd name="T25" fmla="*/ 213 h 327"/>
                <a:gd name="T26" fmla="*/ 157 w 264"/>
                <a:gd name="T27" fmla="*/ 239 h 327"/>
                <a:gd name="T28" fmla="*/ 159 w 264"/>
                <a:gd name="T29" fmla="*/ 184 h 327"/>
                <a:gd name="T30" fmla="*/ 226 w 264"/>
                <a:gd name="T31" fmla="*/ 130 h 327"/>
                <a:gd name="T32" fmla="*/ 264 w 264"/>
                <a:gd name="T33" fmla="*/ 120 h 327"/>
                <a:gd name="T34" fmla="*/ 233 w 264"/>
                <a:gd name="T35" fmla="*/ 68 h 327"/>
                <a:gd name="T36" fmla="*/ 218 w 264"/>
                <a:gd name="T37" fmla="*/ 44 h 327"/>
                <a:gd name="T38" fmla="*/ 194 w 264"/>
                <a:gd name="T39" fmla="*/ 61 h 327"/>
                <a:gd name="T40" fmla="*/ 172 w 264"/>
                <a:gd name="T41" fmla="*/ 87 h 327"/>
                <a:gd name="T42" fmla="*/ 127 w 264"/>
                <a:gd name="T43" fmla="*/ 77 h 327"/>
                <a:gd name="T44" fmla="*/ 79 w 264"/>
                <a:gd name="T45" fmla="*/ 45 h 327"/>
                <a:gd name="T46" fmla="*/ 44 w 264"/>
                <a:gd name="T47"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4" h="327">
                  <a:moveTo>
                    <a:pt x="44" y="0"/>
                  </a:moveTo>
                  <a:lnTo>
                    <a:pt x="18" y="23"/>
                  </a:lnTo>
                  <a:lnTo>
                    <a:pt x="31" y="73"/>
                  </a:lnTo>
                  <a:lnTo>
                    <a:pt x="55" y="96"/>
                  </a:lnTo>
                  <a:lnTo>
                    <a:pt x="53" y="171"/>
                  </a:lnTo>
                  <a:lnTo>
                    <a:pt x="23" y="183"/>
                  </a:lnTo>
                  <a:lnTo>
                    <a:pt x="0" y="234"/>
                  </a:lnTo>
                  <a:lnTo>
                    <a:pt x="68" y="327"/>
                  </a:lnTo>
                  <a:lnTo>
                    <a:pt x="111" y="311"/>
                  </a:lnTo>
                  <a:lnTo>
                    <a:pt x="120" y="289"/>
                  </a:lnTo>
                  <a:lnTo>
                    <a:pt x="73" y="245"/>
                  </a:lnTo>
                  <a:lnTo>
                    <a:pt x="102" y="208"/>
                  </a:lnTo>
                  <a:lnTo>
                    <a:pt x="133" y="213"/>
                  </a:lnTo>
                  <a:lnTo>
                    <a:pt x="157" y="239"/>
                  </a:lnTo>
                  <a:lnTo>
                    <a:pt x="159" y="184"/>
                  </a:lnTo>
                  <a:lnTo>
                    <a:pt x="226" y="130"/>
                  </a:lnTo>
                  <a:lnTo>
                    <a:pt x="264" y="120"/>
                  </a:lnTo>
                  <a:lnTo>
                    <a:pt x="233" y="68"/>
                  </a:lnTo>
                  <a:lnTo>
                    <a:pt x="218" y="44"/>
                  </a:lnTo>
                  <a:lnTo>
                    <a:pt x="194" y="61"/>
                  </a:lnTo>
                  <a:lnTo>
                    <a:pt x="172" y="87"/>
                  </a:lnTo>
                  <a:lnTo>
                    <a:pt x="127" y="77"/>
                  </a:lnTo>
                  <a:lnTo>
                    <a:pt x="79" y="45"/>
                  </a:lnTo>
                  <a:lnTo>
                    <a:pt x="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19">
              <a:extLst>
                <a:ext uri="{FF2B5EF4-FFF2-40B4-BE49-F238E27FC236}">
                  <a16:creationId xmlns:a16="http://schemas.microsoft.com/office/drawing/2014/main" id="{DE150054-F25E-4D9A-941B-B9D4D7BD26EA}"/>
                </a:ext>
              </a:extLst>
            </p:cNvPr>
            <p:cNvSpPr>
              <a:spLocks/>
            </p:cNvSpPr>
            <p:nvPr/>
          </p:nvSpPr>
          <p:spPr bwMode="auto">
            <a:xfrm>
              <a:off x="9295607" y="2451893"/>
              <a:ext cx="42863" cy="50800"/>
            </a:xfrm>
            <a:custGeom>
              <a:avLst/>
              <a:gdLst>
                <a:gd name="T0" fmla="*/ 47 w 81"/>
                <a:gd name="T1" fmla="*/ 0 h 95"/>
                <a:gd name="T2" fmla="*/ 0 w 81"/>
                <a:gd name="T3" fmla="*/ 64 h 95"/>
                <a:gd name="T4" fmla="*/ 3 w 81"/>
                <a:gd name="T5" fmla="*/ 95 h 95"/>
                <a:gd name="T6" fmla="*/ 27 w 81"/>
                <a:gd name="T7" fmla="*/ 85 h 95"/>
                <a:gd name="T8" fmla="*/ 81 w 81"/>
                <a:gd name="T9" fmla="*/ 18 h 95"/>
                <a:gd name="T10" fmla="*/ 47 w 81"/>
                <a:gd name="T11" fmla="*/ 0 h 95"/>
              </a:gdLst>
              <a:ahLst/>
              <a:cxnLst>
                <a:cxn ang="0">
                  <a:pos x="T0" y="T1"/>
                </a:cxn>
                <a:cxn ang="0">
                  <a:pos x="T2" y="T3"/>
                </a:cxn>
                <a:cxn ang="0">
                  <a:pos x="T4" y="T5"/>
                </a:cxn>
                <a:cxn ang="0">
                  <a:pos x="T6" y="T7"/>
                </a:cxn>
                <a:cxn ang="0">
                  <a:pos x="T8" y="T9"/>
                </a:cxn>
                <a:cxn ang="0">
                  <a:pos x="T10" y="T11"/>
                </a:cxn>
              </a:cxnLst>
              <a:rect l="0" t="0" r="r" b="b"/>
              <a:pathLst>
                <a:path w="81" h="95">
                  <a:moveTo>
                    <a:pt x="47" y="0"/>
                  </a:moveTo>
                  <a:lnTo>
                    <a:pt x="0" y="64"/>
                  </a:lnTo>
                  <a:lnTo>
                    <a:pt x="3" y="95"/>
                  </a:lnTo>
                  <a:lnTo>
                    <a:pt x="27" y="85"/>
                  </a:lnTo>
                  <a:lnTo>
                    <a:pt x="81" y="18"/>
                  </a:lnTo>
                  <a:lnTo>
                    <a:pt x="4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20">
              <a:extLst>
                <a:ext uri="{FF2B5EF4-FFF2-40B4-BE49-F238E27FC236}">
                  <a16:creationId xmlns:a16="http://schemas.microsoft.com/office/drawing/2014/main" id="{0F250538-36ED-45B4-A854-0C15EC9480DB}"/>
                </a:ext>
              </a:extLst>
            </p:cNvPr>
            <p:cNvSpPr>
              <a:spLocks/>
            </p:cNvSpPr>
            <p:nvPr/>
          </p:nvSpPr>
          <p:spPr bwMode="auto">
            <a:xfrm>
              <a:off x="9343232" y="2393156"/>
              <a:ext cx="30163" cy="49213"/>
            </a:xfrm>
            <a:custGeom>
              <a:avLst/>
              <a:gdLst>
                <a:gd name="T0" fmla="*/ 16 w 56"/>
                <a:gd name="T1" fmla="*/ 16 h 91"/>
                <a:gd name="T2" fmla="*/ 0 w 56"/>
                <a:gd name="T3" fmla="*/ 61 h 91"/>
                <a:gd name="T4" fmla="*/ 2 w 56"/>
                <a:gd name="T5" fmla="*/ 91 h 91"/>
                <a:gd name="T6" fmla="*/ 29 w 56"/>
                <a:gd name="T7" fmla="*/ 72 h 91"/>
                <a:gd name="T8" fmla="*/ 56 w 56"/>
                <a:gd name="T9" fmla="*/ 20 h 91"/>
                <a:gd name="T10" fmla="*/ 56 w 56"/>
                <a:gd name="T11" fmla="*/ 0 h 91"/>
                <a:gd name="T12" fmla="*/ 16 w 56"/>
                <a:gd name="T13" fmla="*/ 16 h 91"/>
              </a:gdLst>
              <a:ahLst/>
              <a:cxnLst>
                <a:cxn ang="0">
                  <a:pos x="T0" y="T1"/>
                </a:cxn>
                <a:cxn ang="0">
                  <a:pos x="T2" y="T3"/>
                </a:cxn>
                <a:cxn ang="0">
                  <a:pos x="T4" y="T5"/>
                </a:cxn>
                <a:cxn ang="0">
                  <a:pos x="T6" y="T7"/>
                </a:cxn>
                <a:cxn ang="0">
                  <a:pos x="T8" y="T9"/>
                </a:cxn>
                <a:cxn ang="0">
                  <a:pos x="T10" y="T11"/>
                </a:cxn>
                <a:cxn ang="0">
                  <a:pos x="T12" y="T13"/>
                </a:cxn>
              </a:cxnLst>
              <a:rect l="0" t="0" r="r" b="b"/>
              <a:pathLst>
                <a:path w="56" h="91">
                  <a:moveTo>
                    <a:pt x="16" y="16"/>
                  </a:moveTo>
                  <a:lnTo>
                    <a:pt x="0" y="61"/>
                  </a:lnTo>
                  <a:lnTo>
                    <a:pt x="2" y="91"/>
                  </a:lnTo>
                  <a:lnTo>
                    <a:pt x="29" y="72"/>
                  </a:lnTo>
                  <a:lnTo>
                    <a:pt x="56" y="20"/>
                  </a:lnTo>
                  <a:lnTo>
                    <a:pt x="56" y="0"/>
                  </a:lnTo>
                  <a:lnTo>
                    <a:pt x="1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121">
              <a:extLst>
                <a:ext uri="{FF2B5EF4-FFF2-40B4-BE49-F238E27FC236}">
                  <a16:creationId xmlns:a16="http://schemas.microsoft.com/office/drawing/2014/main" id="{94D14EBB-F080-43F5-AA8F-B95A285AB72C}"/>
                </a:ext>
              </a:extLst>
            </p:cNvPr>
            <p:cNvSpPr>
              <a:spLocks/>
            </p:cNvSpPr>
            <p:nvPr/>
          </p:nvSpPr>
          <p:spPr bwMode="auto">
            <a:xfrm>
              <a:off x="9390857" y="2194718"/>
              <a:ext cx="30163" cy="36513"/>
            </a:xfrm>
            <a:custGeom>
              <a:avLst/>
              <a:gdLst>
                <a:gd name="T0" fmla="*/ 21 w 55"/>
                <a:gd name="T1" fmla="*/ 0 h 68"/>
                <a:gd name="T2" fmla="*/ 0 w 55"/>
                <a:gd name="T3" fmla="*/ 26 h 68"/>
                <a:gd name="T4" fmla="*/ 2 w 55"/>
                <a:gd name="T5" fmla="*/ 68 h 68"/>
                <a:gd name="T6" fmla="*/ 22 w 55"/>
                <a:gd name="T7" fmla="*/ 66 h 68"/>
                <a:gd name="T8" fmla="*/ 55 w 55"/>
                <a:gd name="T9" fmla="*/ 8 h 68"/>
                <a:gd name="T10" fmla="*/ 21 w 55"/>
                <a:gd name="T11" fmla="*/ 0 h 68"/>
              </a:gdLst>
              <a:ahLst/>
              <a:cxnLst>
                <a:cxn ang="0">
                  <a:pos x="T0" y="T1"/>
                </a:cxn>
                <a:cxn ang="0">
                  <a:pos x="T2" y="T3"/>
                </a:cxn>
                <a:cxn ang="0">
                  <a:pos x="T4" y="T5"/>
                </a:cxn>
                <a:cxn ang="0">
                  <a:pos x="T6" y="T7"/>
                </a:cxn>
                <a:cxn ang="0">
                  <a:pos x="T8" y="T9"/>
                </a:cxn>
                <a:cxn ang="0">
                  <a:pos x="T10" y="T11"/>
                </a:cxn>
              </a:cxnLst>
              <a:rect l="0" t="0" r="r" b="b"/>
              <a:pathLst>
                <a:path w="55" h="68">
                  <a:moveTo>
                    <a:pt x="21" y="0"/>
                  </a:moveTo>
                  <a:lnTo>
                    <a:pt x="0" y="26"/>
                  </a:lnTo>
                  <a:lnTo>
                    <a:pt x="2" y="68"/>
                  </a:lnTo>
                  <a:lnTo>
                    <a:pt x="22" y="66"/>
                  </a:lnTo>
                  <a:lnTo>
                    <a:pt x="55" y="8"/>
                  </a:ln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22">
              <a:extLst>
                <a:ext uri="{FF2B5EF4-FFF2-40B4-BE49-F238E27FC236}">
                  <a16:creationId xmlns:a16="http://schemas.microsoft.com/office/drawing/2014/main" id="{2D7F4D13-9AD4-42B9-9B9D-0A25F4B541C1}"/>
                </a:ext>
              </a:extLst>
            </p:cNvPr>
            <p:cNvSpPr>
              <a:spLocks/>
            </p:cNvSpPr>
            <p:nvPr/>
          </p:nvSpPr>
          <p:spPr bwMode="auto">
            <a:xfrm>
              <a:off x="9382919" y="2247106"/>
              <a:ext cx="20638" cy="42863"/>
            </a:xfrm>
            <a:custGeom>
              <a:avLst/>
              <a:gdLst>
                <a:gd name="T0" fmla="*/ 0 w 39"/>
                <a:gd name="T1" fmla="*/ 1 h 82"/>
                <a:gd name="T2" fmla="*/ 0 w 39"/>
                <a:gd name="T3" fmla="*/ 74 h 82"/>
                <a:gd name="T4" fmla="*/ 22 w 39"/>
                <a:gd name="T5" fmla="*/ 82 h 82"/>
                <a:gd name="T6" fmla="*/ 39 w 39"/>
                <a:gd name="T7" fmla="*/ 56 h 82"/>
                <a:gd name="T8" fmla="*/ 39 w 39"/>
                <a:gd name="T9" fmla="*/ 0 h 82"/>
                <a:gd name="T10" fmla="*/ 0 w 39"/>
                <a:gd name="T11" fmla="*/ 1 h 82"/>
              </a:gdLst>
              <a:ahLst/>
              <a:cxnLst>
                <a:cxn ang="0">
                  <a:pos x="T0" y="T1"/>
                </a:cxn>
                <a:cxn ang="0">
                  <a:pos x="T2" y="T3"/>
                </a:cxn>
                <a:cxn ang="0">
                  <a:pos x="T4" y="T5"/>
                </a:cxn>
                <a:cxn ang="0">
                  <a:pos x="T6" y="T7"/>
                </a:cxn>
                <a:cxn ang="0">
                  <a:pos x="T8" y="T9"/>
                </a:cxn>
                <a:cxn ang="0">
                  <a:pos x="T10" y="T11"/>
                </a:cxn>
              </a:cxnLst>
              <a:rect l="0" t="0" r="r" b="b"/>
              <a:pathLst>
                <a:path w="39" h="82">
                  <a:moveTo>
                    <a:pt x="0" y="1"/>
                  </a:moveTo>
                  <a:lnTo>
                    <a:pt x="0" y="74"/>
                  </a:lnTo>
                  <a:lnTo>
                    <a:pt x="22" y="82"/>
                  </a:lnTo>
                  <a:lnTo>
                    <a:pt x="39" y="56"/>
                  </a:lnTo>
                  <a:lnTo>
                    <a:pt x="39" y="0"/>
                  </a:lnTo>
                  <a:lnTo>
                    <a:pt x="0" y="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23">
              <a:extLst>
                <a:ext uri="{FF2B5EF4-FFF2-40B4-BE49-F238E27FC236}">
                  <a16:creationId xmlns:a16="http://schemas.microsoft.com/office/drawing/2014/main" id="{0E8831C1-18AF-4021-9B14-C7DAE49755C4}"/>
                </a:ext>
              </a:extLst>
            </p:cNvPr>
            <p:cNvSpPr>
              <a:spLocks/>
            </p:cNvSpPr>
            <p:nvPr/>
          </p:nvSpPr>
          <p:spPr bwMode="auto">
            <a:xfrm>
              <a:off x="9027319" y="2108993"/>
              <a:ext cx="177800" cy="349250"/>
            </a:xfrm>
            <a:custGeom>
              <a:avLst/>
              <a:gdLst>
                <a:gd name="T0" fmla="*/ 2 w 338"/>
                <a:gd name="T1" fmla="*/ 0 h 659"/>
                <a:gd name="T2" fmla="*/ 0 w 338"/>
                <a:gd name="T3" fmla="*/ 106 h 659"/>
                <a:gd name="T4" fmla="*/ 133 w 338"/>
                <a:gd name="T5" fmla="*/ 311 h 659"/>
                <a:gd name="T6" fmla="*/ 181 w 338"/>
                <a:gd name="T7" fmla="*/ 489 h 659"/>
                <a:gd name="T8" fmla="*/ 264 w 338"/>
                <a:gd name="T9" fmla="*/ 647 h 659"/>
                <a:gd name="T10" fmla="*/ 296 w 338"/>
                <a:gd name="T11" fmla="*/ 659 h 659"/>
                <a:gd name="T12" fmla="*/ 325 w 338"/>
                <a:gd name="T13" fmla="*/ 636 h 659"/>
                <a:gd name="T14" fmla="*/ 338 w 338"/>
                <a:gd name="T15" fmla="*/ 597 h 659"/>
                <a:gd name="T16" fmla="*/ 218 w 338"/>
                <a:gd name="T17" fmla="*/ 467 h 659"/>
                <a:gd name="T18" fmla="*/ 221 w 338"/>
                <a:gd name="T19" fmla="*/ 399 h 659"/>
                <a:gd name="T20" fmla="*/ 248 w 338"/>
                <a:gd name="T21" fmla="*/ 388 h 659"/>
                <a:gd name="T22" fmla="*/ 254 w 338"/>
                <a:gd name="T23" fmla="*/ 348 h 659"/>
                <a:gd name="T24" fmla="*/ 20 w 338"/>
                <a:gd name="T25" fmla="*/ 16 h 659"/>
                <a:gd name="T26" fmla="*/ 2 w 338"/>
                <a:gd name="T27"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659">
                  <a:moveTo>
                    <a:pt x="2" y="0"/>
                  </a:moveTo>
                  <a:lnTo>
                    <a:pt x="0" y="106"/>
                  </a:lnTo>
                  <a:lnTo>
                    <a:pt x="133" y="311"/>
                  </a:lnTo>
                  <a:lnTo>
                    <a:pt x="181" y="489"/>
                  </a:lnTo>
                  <a:lnTo>
                    <a:pt x="264" y="647"/>
                  </a:lnTo>
                  <a:lnTo>
                    <a:pt x="296" y="659"/>
                  </a:lnTo>
                  <a:lnTo>
                    <a:pt x="325" y="636"/>
                  </a:lnTo>
                  <a:lnTo>
                    <a:pt x="338" y="597"/>
                  </a:lnTo>
                  <a:lnTo>
                    <a:pt x="218" y="467"/>
                  </a:lnTo>
                  <a:lnTo>
                    <a:pt x="221" y="399"/>
                  </a:lnTo>
                  <a:lnTo>
                    <a:pt x="248" y="388"/>
                  </a:lnTo>
                  <a:lnTo>
                    <a:pt x="254" y="348"/>
                  </a:lnTo>
                  <a:lnTo>
                    <a:pt x="20" y="16"/>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24">
              <a:extLst>
                <a:ext uri="{FF2B5EF4-FFF2-40B4-BE49-F238E27FC236}">
                  <a16:creationId xmlns:a16="http://schemas.microsoft.com/office/drawing/2014/main" id="{057C61CF-EC7D-4B57-A660-9C4EB6774B7A}"/>
                </a:ext>
              </a:extLst>
            </p:cNvPr>
            <p:cNvSpPr>
              <a:spLocks/>
            </p:cNvSpPr>
            <p:nvPr/>
          </p:nvSpPr>
          <p:spPr bwMode="auto">
            <a:xfrm>
              <a:off x="9498807" y="1935956"/>
              <a:ext cx="38100" cy="30163"/>
            </a:xfrm>
            <a:custGeom>
              <a:avLst/>
              <a:gdLst>
                <a:gd name="T0" fmla="*/ 33 w 72"/>
                <a:gd name="T1" fmla="*/ 0 h 59"/>
                <a:gd name="T2" fmla="*/ 0 w 72"/>
                <a:gd name="T3" fmla="*/ 3 h 59"/>
                <a:gd name="T4" fmla="*/ 19 w 72"/>
                <a:gd name="T5" fmla="*/ 31 h 59"/>
                <a:gd name="T6" fmla="*/ 60 w 72"/>
                <a:gd name="T7" fmla="*/ 59 h 59"/>
                <a:gd name="T8" fmla="*/ 72 w 72"/>
                <a:gd name="T9" fmla="*/ 46 h 59"/>
                <a:gd name="T10" fmla="*/ 33 w 72"/>
                <a:gd name="T11" fmla="*/ 0 h 59"/>
              </a:gdLst>
              <a:ahLst/>
              <a:cxnLst>
                <a:cxn ang="0">
                  <a:pos x="T0" y="T1"/>
                </a:cxn>
                <a:cxn ang="0">
                  <a:pos x="T2" y="T3"/>
                </a:cxn>
                <a:cxn ang="0">
                  <a:pos x="T4" y="T5"/>
                </a:cxn>
                <a:cxn ang="0">
                  <a:pos x="T6" y="T7"/>
                </a:cxn>
                <a:cxn ang="0">
                  <a:pos x="T8" y="T9"/>
                </a:cxn>
                <a:cxn ang="0">
                  <a:pos x="T10" y="T11"/>
                </a:cxn>
              </a:cxnLst>
              <a:rect l="0" t="0" r="r" b="b"/>
              <a:pathLst>
                <a:path w="72" h="59">
                  <a:moveTo>
                    <a:pt x="33" y="0"/>
                  </a:moveTo>
                  <a:lnTo>
                    <a:pt x="0" y="3"/>
                  </a:lnTo>
                  <a:lnTo>
                    <a:pt x="19" y="31"/>
                  </a:lnTo>
                  <a:lnTo>
                    <a:pt x="60" y="59"/>
                  </a:lnTo>
                  <a:lnTo>
                    <a:pt x="72" y="46"/>
                  </a:lnTo>
                  <a:lnTo>
                    <a:pt x="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25">
              <a:extLst>
                <a:ext uri="{FF2B5EF4-FFF2-40B4-BE49-F238E27FC236}">
                  <a16:creationId xmlns:a16="http://schemas.microsoft.com/office/drawing/2014/main" id="{3C01F949-C4BD-4110-8305-A16695D19603}"/>
                </a:ext>
              </a:extLst>
            </p:cNvPr>
            <p:cNvSpPr>
              <a:spLocks/>
            </p:cNvSpPr>
            <p:nvPr/>
          </p:nvSpPr>
          <p:spPr bwMode="auto">
            <a:xfrm>
              <a:off x="9551194" y="1945481"/>
              <a:ext cx="30163" cy="22225"/>
            </a:xfrm>
            <a:custGeom>
              <a:avLst/>
              <a:gdLst>
                <a:gd name="T0" fmla="*/ 0 w 59"/>
                <a:gd name="T1" fmla="*/ 0 h 42"/>
                <a:gd name="T2" fmla="*/ 4 w 59"/>
                <a:gd name="T3" fmla="*/ 28 h 42"/>
                <a:gd name="T4" fmla="*/ 54 w 59"/>
                <a:gd name="T5" fmla="*/ 42 h 42"/>
                <a:gd name="T6" fmla="*/ 59 w 59"/>
                <a:gd name="T7" fmla="*/ 23 h 42"/>
                <a:gd name="T8" fmla="*/ 0 w 59"/>
                <a:gd name="T9" fmla="*/ 0 h 42"/>
              </a:gdLst>
              <a:ahLst/>
              <a:cxnLst>
                <a:cxn ang="0">
                  <a:pos x="T0" y="T1"/>
                </a:cxn>
                <a:cxn ang="0">
                  <a:pos x="T2" y="T3"/>
                </a:cxn>
                <a:cxn ang="0">
                  <a:pos x="T4" y="T5"/>
                </a:cxn>
                <a:cxn ang="0">
                  <a:pos x="T6" y="T7"/>
                </a:cxn>
                <a:cxn ang="0">
                  <a:pos x="T8" y="T9"/>
                </a:cxn>
              </a:cxnLst>
              <a:rect l="0" t="0" r="r" b="b"/>
              <a:pathLst>
                <a:path w="59" h="42">
                  <a:moveTo>
                    <a:pt x="0" y="0"/>
                  </a:moveTo>
                  <a:lnTo>
                    <a:pt x="4" y="28"/>
                  </a:lnTo>
                  <a:lnTo>
                    <a:pt x="54" y="42"/>
                  </a:lnTo>
                  <a:lnTo>
                    <a:pt x="59" y="23"/>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26">
              <a:extLst>
                <a:ext uri="{FF2B5EF4-FFF2-40B4-BE49-F238E27FC236}">
                  <a16:creationId xmlns:a16="http://schemas.microsoft.com/office/drawing/2014/main" id="{A7F3D9C2-6E0C-4D80-AAE7-1825C4259330}"/>
                </a:ext>
              </a:extLst>
            </p:cNvPr>
            <p:cNvSpPr>
              <a:spLocks/>
            </p:cNvSpPr>
            <p:nvPr/>
          </p:nvSpPr>
          <p:spPr bwMode="auto">
            <a:xfrm>
              <a:off x="9697244" y="2002631"/>
              <a:ext cx="34925" cy="20638"/>
            </a:xfrm>
            <a:custGeom>
              <a:avLst/>
              <a:gdLst>
                <a:gd name="T0" fmla="*/ 0 w 64"/>
                <a:gd name="T1" fmla="*/ 0 h 39"/>
                <a:gd name="T2" fmla="*/ 21 w 64"/>
                <a:gd name="T3" fmla="*/ 39 h 39"/>
                <a:gd name="T4" fmla="*/ 56 w 64"/>
                <a:gd name="T5" fmla="*/ 37 h 39"/>
                <a:gd name="T6" fmla="*/ 64 w 64"/>
                <a:gd name="T7" fmla="*/ 10 h 39"/>
                <a:gd name="T8" fmla="*/ 0 w 64"/>
                <a:gd name="T9" fmla="*/ 0 h 39"/>
              </a:gdLst>
              <a:ahLst/>
              <a:cxnLst>
                <a:cxn ang="0">
                  <a:pos x="T0" y="T1"/>
                </a:cxn>
                <a:cxn ang="0">
                  <a:pos x="T2" y="T3"/>
                </a:cxn>
                <a:cxn ang="0">
                  <a:pos x="T4" y="T5"/>
                </a:cxn>
                <a:cxn ang="0">
                  <a:pos x="T6" y="T7"/>
                </a:cxn>
                <a:cxn ang="0">
                  <a:pos x="T8" y="T9"/>
                </a:cxn>
              </a:cxnLst>
              <a:rect l="0" t="0" r="r" b="b"/>
              <a:pathLst>
                <a:path w="64" h="39">
                  <a:moveTo>
                    <a:pt x="0" y="0"/>
                  </a:moveTo>
                  <a:lnTo>
                    <a:pt x="21" y="39"/>
                  </a:lnTo>
                  <a:lnTo>
                    <a:pt x="56" y="37"/>
                  </a:lnTo>
                  <a:lnTo>
                    <a:pt x="64" y="1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31">
              <a:extLst>
                <a:ext uri="{FF2B5EF4-FFF2-40B4-BE49-F238E27FC236}">
                  <a16:creationId xmlns:a16="http://schemas.microsoft.com/office/drawing/2014/main" id="{8857EDC1-1505-4371-B7EE-98C2E841D4B7}"/>
                </a:ext>
              </a:extLst>
            </p:cNvPr>
            <p:cNvSpPr>
              <a:spLocks/>
            </p:cNvSpPr>
            <p:nvPr/>
          </p:nvSpPr>
          <p:spPr bwMode="auto">
            <a:xfrm>
              <a:off x="9749632" y="1345406"/>
              <a:ext cx="68263" cy="47625"/>
            </a:xfrm>
            <a:custGeom>
              <a:avLst/>
              <a:gdLst>
                <a:gd name="T0" fmla="*/ 50 w 129"/>
                <a:gd name="T1" fmla="*/ 0 h 89"/>
                <a:gd name="T2" fmla="*/ 10 w 129"/>
                <a:gd name="T3" fmla="*/ 26 h 89"/>
                <a:gd name="T4" fmla="*/ 0 w 129"/>
                <a:gd name="T5" fmla="*/ 60 h 89"/>
                <a:gd name="T6" fmla="*/ 19 w 129"/>
                <a:gd name="T7" fmla="*/ 82 h 89"/>
                <a:gd name="T8" fmla="*/ 62 w 129"/>
                <a:gd name="T9" fmla="*/ 67 h 89"/>
                <a:gd name="T10" fmla="*/ 105 w 129"/>
                <a:gd name="T11" fmla="*/ 82 h 89"/>
                <a:gd name="T12" fmla="*/ 129 w 129"/>
                <a:gd name="T13" fmla="*/ 89 h 89"/>
                <a:gd name="T14" fmla="*/ 126 w 129"/>
                <a:gd name="T15" fmla="*/ 10 h 89"/>
                <a:gd name="T16" fmla="*/ 50 w 12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89">
                  <a:moveTo>
                    <a:pt x="50" y="0"/>
                  </a:moveTo>
                  <a:lnTo>
                    <a:pt x="10" y="26"/>
                  </a:lnTo>
                  <a:lnTo>
                    <a:pt x="0" y="60"/>
                  </a:lnTo>
                  <a:lnTo>
                    <a:pt x="19" y="82"/>
                  </a:lnTo>
                  <a:lnTo>
                    <a:pt x="62" y="67"/>
                  </a:lnTo>
                  <a:lnTo>
                    <a:pt x="105" y="82"/>
                  </a:lnTo>
                  <a:lnTo>
                    <a:pt x="129" y="89"/>
                  </a:lnTo>
                  <a:lnTo>
                    <a:pt x="126" y="10"/>
                  </a:lnTo>
                  <a:lnTo>
                    <a:pt x="5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136">
              <a:extLst>
                <a:ext uri="{FF2B5EF4-FFF2-40B4-BE49-F238E27FC236}">
                  <a16:creationId xmlns:a16="http://schemas.microsoft.com/office/drawing/2014/main" id="{01457424-E244-472E-811A-286D6FC7D7B0}"/>
                </a:ext>
              </a:extLst>
            </p:cNvPr>
            <p:cNvSpPr>
              <a:spLocks/>
            </p:cNvSpPr>
            <p:nvPr/>
          </p:nvSpPr>
          <p:spPr bwMode="auto">
            <a:xfrm>
              <a:off x="2239169" y="1997868"/>
              <a:ext cx="19050" cy="26988"/>
            </a:xfrm>
            <a:custGeom>
              <a:avLst/>
              <a:gdLst>
                <a:gd name="T0" fmla="*/ 3 w 38"/>
                <a:gd name="T1" fmla="*/ 0 h 52"/>
                <a:gd name="T2" fmla="*/ 0 w 38"/>
                <a:gd name="T3" fmla="*/ 52 h 52"/>
                <a:gd name="T4" fmla="*/ 38 w 38"/>
                <a:gd name="T5" fmla="*/ 43 h 52"/>
                <a:gd name="T6" fmla="*/ 38 w 38"/>
                <a:gd name="T7" fmla="*/ 20 h 52"/>
                <a:gd name="T8" fmla="*/ 3 w 38"/>
                <a:gd name="T9" fmla="*/ 0 h 52"/>
              </a:gdLst>
              <a:ahLst/>
              <a:cxnLst>
                <a:cxn ang="0">
                  <a:pos x="T0" y="T1"/>
                </a:cxn>
                <a:cxn ang="0">
                  <a:pos x="T2" y="T3"/>
                </a:cxn>
                <a:cxn ang="0">
                  <a:pos x="T4" y="T5"/>
                </a:cxn>
                <a:cxn ang="0">
                  <a:pos x="T6" y="T7"/>
                </a:cxn>
                <a:cxn ang="0">
                  <a:pos x="T8" y="T9"/>
                </a:cxn>
              </a:cxnLst>
              <a:rect l="0" t="0" r="r" b="b"/>
              <a:pathLst>
                <a:path w="38" h="52">
                  <a:moveTo>
                    <a:pt x="3" y="0"/>
                  </a:moveTo>
                  <a:lnTo>
                    <a:pt x="0" y="52"/>
                  </a:lnTo>
                  <a:lnTo>
                    <a:pt x="38" y="43"/>
                  </a:lnTo>
                  <a:lnTo>
                    <a:pt x="38" y="20"/>
                  </a:lnTo>
                  <a:lnTo>
                    <a:pt x="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37">
              <a:extLst>
                <a:ext uri="{FF2B5EF4-FFF2-40B4-BE49-F238E27FC236}">
                  <a16:creationId xmlns:a16="http://schemas.microsoft.com/office/drawing/2014/main" id="{79EE9564-D74A-48E7-9E67-D61E5D7256D2}"/>
                </a:ext>
              </a:extLst>
            </p:cNvPr>
            <p:cNvSpPr>
              <a:spLocks/>
            </p:cNvSpPr>
            <p:nvPr/>
          </p:nvSpPr>
          <p:spPr bwMode="auto">
            <a:xfrm>
              <a:off x="2170907" y="2008981"/>
              <a:ext cx="52388" cy="41275"/>
            </a:xfrm>
            <a:custGeom>
              <a:avLst/>
              <a:gdLst>
                <a:gd name="T0" fmla="*/ 74 w 98"/>
                <a:gd name="T1" fmla="*/ 0 h 78"/>
                <a:gd name="T2" fmla="*/ 0 w 98"/>
                <a:gd name="T3" fmla="*/ 37 h 78"/>
                <a:gd name="T4" fmla="*/ 12 w 98"/>
                <a:gd name="T5" fmla="*/ 78 h 78"/>
                <a:gd name="T6" fmla="*/ 41 w 98"/>
                <a:gd name="T7" fmla="*/ 54 h 78"/>
                <a:gd name="T8" fmla="*/ 98 w 98"/>
                <a:gd name="T9" fmla="*/ 29 h 78"/>
                <a:gd name="T10" fmla="*/ 74 w 98"/>
                <a:gd name="T11" fmla="*/ 0 h 78"/>
              </a:gdLst>
              <a:ahLst/>
              <a:cxnLst>
                <a:cxn ang="0">
                  <a:pos x="T0" y="T1"/>
                </a:cxn>
                <a:cxn ang="0">
                  <a:pos x="T2" y="T3"/>
                </a:cxn>
                <a:cxn ang="0">
                  <a:pos x="T4" y="T5"/>
                </a:cxn>
                <a:cxn ang="0">
                  <a:pos x="T6" y="T7"/>
                </a:cxn>
                <a:cxn ang="0">
                  <a:pos x="T8" y="T9"/>
                </a:cxn>
                <a:cxn ang="0">
                  <a:pos x="T10" y="T11"/>
                </a:cxn>
              </a:cxnLst>
              <a:rect l="0" t="0" r="r" b="b"/>
              <a:pathLst>
                <a:path w="98" h="78">
                  <a:moveTo>
                    <a:pt x="74" y="0"/>
                  </a:moveTo>
                  <a:lnTo>
                    <a:pt x="0" y="37"/>
                  </a:lnTo>
                  <a:lnTo>
                    <a:pt x="12" y="78"/>
                  </a:lnTo>
                  <a:lnTo>
                    <a:pt x="41" y="54"/>
                  </a:lnTo>
                  <a:lnTo>
                    <a:pt x="98" y="29"/>
                  </a:lnTo>
                  <a:lnTo>
                    <a:pt x="7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38">
              <a:extLst>
                <a:ext uri="{FF2B5EF4-FFF2-40B4-BE49-F238E27FC236}">
                  <a16:creationId xmlns:a16="http://schemas.microsoft.com/office/drawing/2014/main" id="{7406E5CF-C087-42E6-97DF-B0AC04303FF9}"/>
                </a:ext>
              </a:extLst>
            </p:cNvPr>
            <p:cNvSpPr>
              <a:spLocks/>
            </p:cNvSpPr>
            <p:nvPr/>
          </p:nvSpPr>
          <p:spPr bwMode="auto">
            <a:xfrm>
              <a:off x="2015332" y="2029618"/>
              <a:ext cx="31750" cy="34925"/>
            </a:xfrm>
            <a:custGeom>
              <a:avLst/>
              <a:gdLst>
                <a:gd name="T0" fmla="*/ 60 w 60"/>
                <a:gd name="T1" fmla="*/ 11 h 66"/>
                <a:gd name="T2" fmla="*/ 9 w 60"/>
                <a:gd name="T3" fmla="*/ 0 h 66"/>
                <a:gd name="T4" fmla="*/ 0 w 60"/>
                <a:gd name="T5" fmla="*/ 23 h 66"/>
                <a:gd name="T6" fmla="*/ 6 w 60"/>
                <a:gd name="T7" fmla="*/ 66 h 66"/>
                <a:gd name="T8" fmla="*/ 60 w 60"/>
                <a:gd name="T9" fmla="*/ 11 h 66"/>
              </a:gdLst>
              <a:ahLst/>
              <a:cxnLst>
                <a:cxn ang="0">
                  <a:pos x="T0" y="T1"/>
                </a:cxn>
                <a:cxn ang="0">
                  <a:pos x="T2" y="T3"/>
                </a:cxn>
                <a:cxn ang="0">
                  <a:pos x="T4" y="T5"/>
                </a:cxn>
                <a:cxn ang="0">
                  <a:pos x="T6" y="T7"/>
                </a:cxn>
                <a:cxn ang="0">
                  <a:pos x="T8" y="T9"/>
                </a:cxn>
              </a:cxnLst>
              <a:rect l="0" t="0" r="r" b="b"/>
              <a:pathLst>
                <a:path w="60" h="66">
                  <a:moveTo>
                    <a:pt x="60" y="11"/>
                  </a:moveTo>
                  <a:lnTo>
                    <a:pt x="9" y="0"/>
                  </a:lnTo>
                  <a:lnTo>
                    <a:pt x="0" y="23"/>
                  </a:lnTo>
                  <a:lnTo>
                    <a:pt x="6" y="66"/>
                  </a:lnTo>
                  <a:lnTo>
                    <a:pt x="60" y="1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139">
              <a:extLst>
                <a:ext uri="{FF2B5EF4-FFF2-40B4-BE49-F238E27FC236}">
                  <a16:creationId xmlns:a16="http://schemas.microsoft.com/office/drawing/2014/main" id="{5C693B80-868C-480A-85C7-C6117504B903}"/>
                </a:ext>
              </a:extLst>
            </p:cNvPr>
            <p:cNvSpPr>
              <a:spLocks/>
            </p:cNvSpPr>
            <p:nvPr/>
          </p:nvSpPr>
          <p:spPr bwMode="auto">
            <a:xfrm>
              <a:off x="1955007" y="2023268"/>
              <a:ext cx="34925" cy="33338"/>
            </a:xfrm>
            <a:custGeom>
              <a:avLst/>
              <a:gdLst>
                <a:gd name="T0" fmla="*/ 66 w 66"/>
                <a:gd name="T1" fmla="*/ 20 h 63"/>
                <a:gd name="T2" fmla="*/ 18 w 66"/>
                <a:gd name="T3" fmla="*/ 0 h 63"/>
                <a:gd name="T4" fmla="*/ 0 w 66"/>
                <a:gd name="T5" fmla="*/ 31 h 63"/>
                <a:gd name="T6" fmla="*/ 32 w 66"/>
                <a:gd name="T7" fmla="*/ 63 h 63"/>
                <a:gd name="T8" fmla="*/ 66 w 66"/>
                <a:gd name="T9" fmla="*/ 20 h 63"/>
              </a:gdLst>
              <a:ahLst/>
              <a:cxnLst>
                <a:cxn ang="0">
                  <a:pos x="T0" y="T1"/>
                </a:cxn>
                <a:cxn ang="0">
                  <a:pos x="T2" y="T3"/>
                </a:cxn>
                <a:cxn ang="0">
                  <a:pos x="T4" y="T5"/>
                </a:cxn>
                <a:cxn ang="0">
                  <a:pos x="T6" y="T7"/>
                </a:cxn>
                <a:cxn ang="0">
                  <a:pos x="T8" y="T9"/>
                </a:cxn>
              </a:cxnLst>
              <a:rect l="0" t="0" r="r" b="b"/>
              <a:pathLst>
                <a:path w="66" h="63">
                  <a:moveTo>
                    <a:pt x="66" y="20"/>
                  </a:moveTo>
                  <a:lnTo>
                    <a:pt x="18" y="0"/>
                  </a:lnTo>
                  <a:lnTo>
                    <a:pt x="0" y="31"/>
                  </a:lnTo>
                  <a:lnTo>
                    <a:pt x="32" y="63"/>
                  </a:lnTo>
                  <a:lnTo>
                    <a:pt x="66" y="2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140">
              <a:extLst>
                <a:ext uri="{FF2B5EF4-FFF2-40B4-BE49-F238E27FC236}">
                  <a16:creationId xmlns:a16="http://schemas.microsoft.com/office/drawing/2014/main" id="{E8CA4AA2-DE02-41B1-BC5D-D29F8614CBCE}"/>
                </a:ext>
              </a:extLst>
            </p:cNvPr>
            <p:cNvSpPr>
              <a:spLocks/>
            </p:cNvSpPr>
            <p:nvPr/>
          </p:nvSpPr>
          <p:spPr bwMode="auto">
            <a:xfrm>
              <a:off x="1877219" y="1993106"/>
              <a:ext cx="23813" cy="36513"/>
            </a:xfrm>
            <a:custGeom>
              <a:avLst/>
              <a:gdLst>
                <a:gd name="T0" fmla="*/ 46 w 46"/>
                <a:gd name="T1" fmla="*/ 31 h 68"/>
                <a:gd name="T2" fmla="*/ 23 w 46"/>
                <a:gd name="T3" fmla="*/ 0 h 68"/>
                <a:gd name="T4" fmla="*/ 0 w 46"/>
                <a:gd name="T5" fmla="*/ 8 h 68"/>
                <a:gd name="T6" fmla="*/ 0 w 46"/>
                <a:gd name="T7" fmla="*/ 51 h 68"/>
                <a:gd name="T8" fmla="*/ 27 w 46"/>
                <a:gd name="T9" fmla="*/ 68 h 68"/>
                <a:gd name="T10" fmla="*/ 46 w 46"/>
                <a:gd name="T11" fmla="*/ 31 h 68"/>
              </a:gdLst>
              <a:ahLst/>
              <a:cxnLst>
                <a:cxn ang="0">
                  <a:pos x="T0" y="T1"/>
                </a:cxn>
                <a:cxn ang="0">
                  <a:pos x="T2" y="T3"/>
                </a:cxn>
                <a:cxn ang="0">
                  <a:pos x="T4" y="T5"/>
                </a:cxn>
                <a:cxn ang="0">
                  <a:pos x="T6" y="T7"/>
                </a:cxn>
                <a:cxn ang="0">
                  <a:pos x="T8" y="T9"/>
                </a:cxn>
                <a:cxn ang="0">
                  <a:pos x="T10" y="T11"/>
                </a:cxn>
              </a:cxnLst>
              <a:rect l="0" t="0" r="r" b="b"/>
              <a:pathLst>
                <a:path w="46" h="68">
                  <a:moveTo>
                    <a:pt x="46" y="31"/>
                  </a:moveTo>
                  <a:lnTo>
                    <a:pt x="23" y="0"/>
                  </a:lnTo>
                  <a:lnTo>
                    <a:pt x="0" y="8"/>
                  </a:lnTo>
                  <a:lnTo>
                    <a:pt x="0" y="51"/>
                  </a:lnTo>
                  <a:lnTo>
                    <a:pt x="27" y="68"/>
                  </a:lnTo>
                  <a:lnTo>
                    <a:pt x="46" y="3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141">
              <a:extLst>
                <a:ext uri="{FF2B5EF4-FFF2-40B4-BE49-F238E27FC236}">
                  <a16:creationId xmlns:a16="http://schemas.microsoft.com/office/drawing/2014/main" id="{0249694B-6B05-4B64-A879-0788DF569D9A}"/>
                </a:ext>
              </a:extLst>
            </p:cNvPr>
            <p:cNvSpPr>
              <a:spLocks/>
            </p:cNvSpPr>
            <p:nvPr/>
          </p:nvSpPr>
          <p:spPr bwMode="auto">
            <a:xfrm>
              <a:off x="1804194" y="1901031"/>
              <a:ext cx="14288" cy="23813"/>
            </a:xfrm>
            <a:custGeom>
              <a:avLst/>
              <a:gdLst>
                <a:gd name="T0" fmla="*/ 0 w 28"/>
                <a:gd name="T1" fmla="*/ 0 h 43"/>
                <a:gd name="T2" fmla="*/ 28 w 28"/>
                <a:gd name="T3" fmla="*/ 21 h 43"/>
                <a:gd name="T4" fmla="*/ 20 w 28"/>
                <a:gd name="T5" fmla="*/ 43 h 43"/>
                <a:gd name="T6" fmla="*/ 0 w 28"/>
                <a:gd name="T7" fmla="*/ 43 h 43"/>
                <a:gd name="T8" fmla="*/ 0 w 28"/>
                <a:gd name="T9" fmla="*/ 0 h 43"/>
              </a:gdLst>
              <a:ahLst/>
              <a:cxnLst>
                <a:cxn ang="0">
                  <a:pos x="T0" y="T1"/>
                </a:cxn>
                <a:cxn ang="0">
                  <a:pos x="T2" y="T3"/>
                </a:cxn>
                <a:cxn ang="0">
                  <a:pos x="T4" y="T5"/>
                </a:cxn>
                <a:cxn ang="0">
                  <a:pos x="T6" y="T7"/>
                </a:cxn>
                <a:cxn ang="0">
                  <a:pos x="T8" y="T9"/>
                </a:cxn>
              </a:cxnLst>
              <a:rect l="0" t="0" r="r" b="b"/>
              <a:pathLst>
                <a:path w="28" h="43">
                  <a:moveTo>
                    <a:pt x="0" y="0"/>
                  </a:moveTo>
                  <a:lnTo>
                    <a:pt x="28" y="21"/>
                  </a:lnTo>
                  <a:lnTo>
                    <a:pt x="20" y="43"/>
                  </a:lnTo>
                  <a:lnTo>
                    <a:pt x="0" y="43"/>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142">
              <a:extLst>
                <a:ext uri="{FF2B5EF4-FFF2-40B4-BE49-F238E27FC236}">
                  <a16:creationId xmlns:a16="http://schemas.microsoft.com/office/drawing/2014/main" id="{0301ECA6-0337-4610-92FC-D6CE6DF846BF}"/>
                </a:ext>
              </a:extLst>
            </p:cNvPr>
            <p:cNvSpPr>
              <a:spLocks/>
            </p:cNvSpPr>
            <p:nvPr/>
          </p:nvSpPr>
          <p:spPr bwMode="auto">
            <a:xfrm>
              <a:off x="7433469" y="5525293"/>
              <a:ext cx="65088" cy="52388"/>
            </a:xfrm>
            <a:custGeom>
              <a:avLst/>
              <a:gdLst>
                <a:gd name="T0" fmla="*/ 2 w 124"/>
                <a:gd name="T1" fmla="*/ 0 h 98"/>
                <a:gd name="T2" fmla="*/ 0 w 124"/>
                <a:gd name="T3" fmla="*/ 75 h 98"/>
                <a:gd name="T4" fmla="*/ 101 w 124"/>
                <a:gd name="T5" fmla="*/ 98 h 98"/>
                <a:gd name="T6" fmla="*/ 124 w 124"/>
                <a:gd name="T7" fmla="*/ 38 h 98"/>
                <a:gd name="T8" fmla="*/ 88 w 124"/>
                <a:gd name="T9" fmla="*/ 48 h 98"/>
                <a:gd name="T10" fmla="*/ 41 w 124"/>
                <a:gd name="T11" fmla="*/ 58 h 98"/>
                <a:gd name="T12" fmla="*/ 28 w 124"/>
                <a:gd name="T13" fmla="*/ 4 h 98"/>
                <a:gd name="T14" fmla="*/ 2 w 124"/>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98">
                  <a:moveTo>
                    <a:pt x="2" y="0"/>
                  </a:moveTo>
                  <a:lnTo>
                    <a:pt x="0" y="75"/>
                  </a:lnTo>
                  <a:lnTo>
                    <a:pt x="101" y="98"/>
                  </a:lnTo>
                  <a:lnTo>
                    <a:pt x="124" y="38"/>
                  </a:lnTo>
                  <a:lnTo>
                    <a:pt x="88" y="48"/>
                  </a:lnTo>
                  <a:lnTo>
                    <a:pt x="41" y="58"/>
                  </a:lnTo>
                  <a:lnTo>
                    <a:pt x="28" y="4"/>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43">
              <a:extLst>
                <a:ext uri="{FF2B5EF4-FFF2-40B4-BE49-F238E27FC236}">
                  <a16:creationId xmlns:a16="http://schemas.microsoft.com/office/drawing/2014/main" id="{DE5D6A4F-7226-4879-AE95-CA44B448CC25}"/>
                </a:ext>
              </a:extLst>
            </p:cNvPr>
            <p:cNvSpPr>
              <a:spLocks/>
            </p:cNvSpPr>
            <p:nvPr/>
          </p:nvSpPr>
          <p:spPr bwMode="auto">
            <a:xfrm>
              <a:off x="7331869" y="4614068"/>
              <a:ext cx="31750" cy="38100"/>
            </a:xfrm>
            <a:custGeom>
              <a:avLst/>
              <a:gdLst>
                <a:gd name="T0" fmla="*/ 26 w 60"/>
                <a:gd name="T1" fmla="*/ 0 h 70"/>
                <a:gd name="T2" fmla="*/ 0 w 60"/>
                <a:gd name="T3" fmla="*/ 33 h 70"/>
                <a:gd name="T4" fmla="*/ 5 w 60"/>
                <a:gd name="T5" fmla="*/ 70 h 70"/>
                <a:gd name="T6" fmla="*/ 60 w 60"/>
                <a:gd name="T7" fmla="*/ 25 h 70"/>
                <a:gd name="T8" fmla="*/ 26 w 60"/>
                <a:gd name="T9" fmla="*/ 0 h 70"/>
              </a:gdLst>
              <a:ahLst/>
              <a:cxnLst>
                <a:cxn ang="0">
                  <a:pos x="T0" y="T1"/>
                </a:cxn>
                <a:cxn ang="0">
                  <a:pos x="T2" y="T3"/>
                </a:cxn>
                <a:cxn ang="0">
                  <a:pos x="T4" y="T5"/>
                </a:cxn>
                <a:cxn ang="0">
                  <a:pos x="T6" y="T7"/>
                </a:cxn>
                <a:cxn ang="0">
                  <a:pos x="T8" y="T9"/>
                </a:cxn>
              </a:cxnLst>
              <a:rect l="0" t="0" r="r" b="b"/>
              <a:pathLst>
                <a:path w="60" h="70">
                  <a:moveTo>
                    <a:pt x="26" y="0"/>
                  </a:moveTo>
                  <a:lnTo>
                    <a:pt x="0" y="33"/>
                  </a:lnTo>
                  <a:lnTo>
                    <a:pt x="5" y="70"/>
                  </a:lnTo>
                  <a:lnTo>
                    <a:pt x="60" y="25"/>
                  </a:lnTo>
                  <a:lnTo>
                    <a:pt x="2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44">
              <a:extLst>
                <a:ext uri="{FF2B5EF4-FFF2-40B4-BE49-F238E27FC236}">
                  <a16:creationId xmlns:a16="http://schemas.microsoft.com/office/drawing/2014/main" id="{CAD7E644-D50A-42E0-A605-AF9EBEBB8C9B}"/>
                </a:ext>
              </a:extLst>
            </p:cNvPr>
            <p:cNvSpPr>
              <a:spLocks/>
            </p:cNvSpPr>
            <p:nvPr/>
          </p:nvSpPr>
          <p:spPr bwMode="auto">
            <a:xfrm>
              <a:off x="7273132" y="4645818"/>
              <a:ext cx="33338" cy="20638"/>
            </a:xfrm>
            <a:custGeom>
              <a:avLst/>
              <a:gdLst>
                <a:gd name="T0" fmla="*/ 42 w 65"/>
                <a:gd name="T1" fmla="*/ 0 h 41"/>
                <a:gd name="T2" fmla="*/ 2 w 65"/>
                <a:gd name="T3" fmla="*/ 2 h 41"/>
                <a:gd name="T4" fmla="*/ 0 w 65"/>
                <a:gd name="T5" fmla="*/ 36 h 41"/>
                <a:gd name="T6" fmla="*/ 26 w 65"/>
                <a:gd name="T7" fmla="*/ 41 h 41"/>
                <a:gd name="T8" fmla="*/ 65 w 65"/>
                <a:gd name="T9" fmla="*/ 23 h 41"/>
                <a:gd name="T10" fmla="*/ 42 w 65"/>
                <a:gd name="T11" fmla="*/ 0 h 41"/>
              </a:gdLst>
              <a:ahLst/>
              <a:cxnLst>
                <a:cxn ang="0">
                  <a:pos x="T0" y="T1"/>
                </a:cxn>
                <a:cxn ang="0">
                  <a:pos x="T2" y="T3"/>
                </a:cxn>
                <a:cxn ang="0">
                  <a:pos x="T4" y="T5"/>
                </a:cxn>
                <a:cxn ang="0">
                  <a:pos x="T6" y="T7"/>
                </a:cxn>
                <a:cxn ang="0">
                  <a:pos x="T8" y="T9"/>
                </a:cxn>
                <a:cxn ang="0">
                  <a:pos x="T10" y="T11"/>
                </a:cxn>
              </a:cxnLst>
              <a:rect l="0" t="0" r="r" b="b"/>
              <a:pathLst>
                <a:path w="65" h="41">
                  <a:moveTo>
                    <a:pt x="42" y="0"/>
                  </a:moveTo>
                  <a:lnTo>
                    <a:pt x="2" y="2"/>
                  </a:lnTo>
                  <a:lnTo>
                    <a:pt x="0" y="36"/>
                  </a:lnTo>
                  <a:lnTo>
                    <a:pt x="26" y="41"/>
                  </a:lnTo>
                  <a:lnTo>
                    <a:pt x="65" y="23"/>
                  </a:lnTo>
                  <a:lnTo>
                    <a:pt x="4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145">
              <a:extLst>
                <a:ext uri="{FF2B5EF4-FFF2-40B4-BE49-F238E27FC236}">
                  <a16:creationId xmlns:a16="http://schemas.microsoft.com/office/drawing/2014/main" id="{007832BC-7617-4DEB-8BB5-D44174E80380}"/>
                </a:ext>
              </a:extLst>
            </p:cNvPr>
            <p:cNvSpPr>
              <a:spLocks/>
            </p:cNvSpPr>
            <p:nvPr/>
          </p:nvSpPr>
          <p:spPr bwMode="auto">
            <a:xfrm>
              <a:off x="6990557" y="4374356"/>
              <a:ext cx="204788" cy="377825"/>
            </a:xfrm>
            <a:custGeom>
              <a:avLst/>
              <a:gdLst>
                <a:gd name="T0" fmla="*/ 315 w 386"/>
                <a:gd name="T1" fmla="*/ 6 h 713"/>
                <a:gd name="T2" fmla="*/ 278 w 386"/>
                <a:gd name="T3" fmla="*/ 92 h 713"/>
                <a:gd name="T4" fmla="*/ 217 w 386"/>
                <a:gd name="T5" fmla="*/ 203 h 713"/>
                <a:gd name="T6" fmla="*/ 107 w 386"/>
                <a:gd name="T7" fmla="*/ 210 h 713"/>
                <a:gd name="T8" fmla="*/ 60 w 386"/>
                <a:gd name="T9" fmla="*/ 266 h 713"/>
                <a:gd name="T10" fmla="*/ 67 w 386"/>
                <a:gd name="T11" fmla="*/ 435 h 713"/>
                <a:gd name="T12" fmla="*/ 0 w 386"/>
                <a:gd name="T13" fmla="*/ 513 h 713"/>
                <a:gd name="T14" fmla="*/ 7 w 386"/>
                <a:gd name="T15" fmla="*/ 647 h 713"/>
                <a:gd name="T16" fmla="*/ 65 w 386"/>
                <a:gd name="T17" fmla="*/ 713 h 713"/>
                <a:gd name="T18" fmla="*/ 133 w 386"/>
                <a:gd name="T19" fmla="*/ 705 h 713"/>
                <a:gd name="T20" fmla="*/ 201 w 386"/>
                <a:gd name="T21" fmla="*/ 655 h 713"/>
                <a:gd name="T22" fmla="*/ 185 w 386"/>
                <a:gd name="T23" fmla="*/ 576 h 713"/>
                <a:gd name="T24" fmla="*/ 341 w 386"/>
                <a:gd name="T25" fmla="*/ 305 h 713"/>
                <a:gd name="T26" fmla="*/ 310 w 386"/>
                <a:gd name="T27" fmla="*/ 271 h 713"/>
                <a:gd name="T28" fmla="*/ 341 w 386"/>
                <a:gd name="T29" fmla="*/ 205 h 713"/>
                <a:gd name="T30" fmla="*/ 376 w 386"/>
                <a:gd name="T31" fmla="*/ 216 h 713"/>
                <a:gd name="T32" fmla="*/ 386 w 386"/>
                <a:gd name="T33" fmla="*/ 190 h 713"/>
                <a:gd name="T34" fmla="*/ 355 w 386"/>
                <a:gd name="T35" fmla="*/ 56 h 713"/>
                <a:gd name="T36" fmla="*/ 336 w 386"/>
                <a:gd name="T37" fmla="*/ 0 h 713"/>
                <a:gd name="T38" fmla="*/ 315 w 386"/>
                <a:gd name="T39" fmla="*/ 6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6" h="713">
                  <a:moveTo>
                    <a:pt x="315" y="6"/>
                  </a:moveTo>
                  <a:lnTo>
                    <a:pt x="278" y="92"/>
                  </a:lnTo>
                  <a:lnTo>
                    <a:pt x="217" y="203"/>
                  </a:lnTo>
                  <a:lnTo>
                    <a:pt x="107" y="210"/>
                  </a:lnTo>
                  <a:lnTo>
                    <a:pt x="60" y="266"/>
                  </a:lnTo>
                  <a:lnTo>
                    <a:pt x="67" y="435"/>
                  </a:lnTo>
                  <a:lnTo>
                    <a:pt x="0" y="513"/>
                  </a:lnTo>
                  <a:lnTo>
                    <a:pt x="7" y="647"/>
                  </a:lnTo>
                  <a:lnTo>
                    <a:pt x="65" y="713"/>
                  </a:lnTo>
                  <a:lnTo>
                    <a:pt x="133" y="705"/>
                  </a:lnTo>
                  <a:lnTo>
                    <a:pt x="201" y="655"/>
                  </a:lnTo>
                  <a:lnTo>
                    <a:pt x="185" y="576"/>
                  </a:lnTo>
                  <a:lnTo>
                    <a:pt x="341" y="305"/>
                  </a:lnTo>
                  <a:lnTo>
                    <a:pt x="310" y="271"/>
                  </a:lnTo>
                  <a:lnTo>
                    <a:pt x="341" y="205"/>
                  </a:lnTo>
                  <a:lnTo>
                    <a:pt x="376" y="216"/>
                  </a:lnTo>
                  <a:lnTo>
                    <a:pt x="386" y="190"/>
                  </a:lnTo>
                  <a:lnTo>
                    <a:pt x="355" y="56"/>
                  </a:lnTo>
                  <a:lnTo>
                    <a:pt x="336" y="0"/>
                  </a:lnTo>
                  <a:lnTo>
                    <a:pt x="315" y="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146">
              <a:extLst>
                <a:ext uri="{FF2B5EF4-FFF2-40B4-BE49-F238E27FC236}">
                  <a16:creationId xmlns:a16="http://schemas.microsoft.com/office/drawing/2014/main" id="{9D820331-0806-46EE-8934-148809B56F40}"/>
                </a:ext>
              </a:extLst>
            </p:cNvPr>
            <p:cNvSpPr>
              <a:spLocks/>
            </p:cNvSpPr>
            <p:nvPr/>
          </p:nvSpPr>
          <p:spPr bwMode="auto">
            <a:xfrm>
              <a:off x="7025482" y="4361656"/>
              <a:ext cx="28575" cy="17463"/>
            </a:xfrm>
            <a:custGeom>
              <a:avLst/>
              <a:gdLst>
                <a:gd name="T0" fmla="*/ 0 w 55"/>
                <a:gd name="T1" fmla="*/ 2 h 33"/>
                <a:gd name="T2" fmla="*/ 7 w 55"/>
                <a:gd name="T3" fmla="*/ 28 h 33"/>
                <a:gd name="T4" fmla="*/ 42 w 55"/>
                <a:gd name="T5" fmla="*/ 33 h 33"/>
                <a:gd name="T6" fmla="*/ 55 w 55"/>
                <a:gd name="T7" fmla="*/ 0 h 33"/>
                <a:gd name="T8" fmla="*/ 0 w 55"/>
                <a:gd name="T9" fmla="*/ 2 h 33"/>
              </a:gdLst>
              <a:ahLst/>
              <a:cxnLst>
                <a:cxn ang="0">
                  <a:pos x="T0" y="T1"/>
                </a:cxn>
                <a:cxn ang="0">
                  <a:pos x="T2" y="T3"/>
                </a:cxn>
                <a:cxn ang="0">
                  <a:pos x="T4" y="T5"/>
                </a:cxn>
                <a:cxn ang="0">
                  <a:pos x="T6" y="T7"/>
                </a:cxn>
                <a:cxn ang="0">
                  <a:pos x="T8" y="T9"/>
                </a:cxn>
              </a:cxnLst>
              <a:rect l="0" t="0" r="r" b="b"/>
              <a:pathLst>
                <a:path w="55" h="33">
                  <a:moveTo>
                    <a:pt x="0" y="2"/>
                  </a:moveTo>
                  <a:lnTo>
                    <a:pt x="7" y="28"/>
                  </a:lnTo>
                  <a:lnTo>
                    <a:pt x="42" y="33"/>
                  </a:lnTo>
                  <a:lnTo>
                    <a:pt x="55"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147">
              <a:extLst>
                <a:ext uri="{FF2B5EF4-FFF2-40B4-BE49-F238E27FC236}">
                  <a16:creationId xmlns:a16="http://schemas.microsoft.com/office/drawing/2014/main" id="{D36E4025-6227-40C8-A71D-3A859488708F}"/>
                </a:ext>
              </a:extLst>
            </p:cNvPr>
            <p:cNvSpPr>
              <a:spLocks/>
            </p:cNvSpPr>
            <p:nvPr/>
          </p:nvSpPr>
          <p:spPr bwMode="auto">
            <a:xfrm>
              <a:off x="7050882" y="4385468"/>
              <a:ext cx="23813" cy="20638"/>
            </a:xfrm>
            <a:custGeom>
              <a:avLst/>
              <a:gdLst>
                <a:gd name="T0" fmla="*/ 0 w 45"/>
                <a:gd name="T1" fmla="*/ 8 h 37"/>
                <a:gd name="T2" fmla="*/ 13 w 45"/>
                <a:gd name="T3" fmla="*/ 37 h 37"/>
                <a:gd name="T4" fmla="*/ 35 w 45"/>
                <a:gd name="T5" fmla="*/ 37 h 37"/>
                <a:gd name="T6" fmla="*/ 45 w 45"/>
                <a:gd name="T7" fmla="*/ 0 h 37"/>
                <a:gd name="T8" fmla="*/ 0 w 45"/>
                <a:gd name="T9" fmla="*/ 8 h 37"/>
              </a:gdLst>
              <a:ahLst/>
              <a:cxnLst>
                <a:cxn ang="0">
                  <a:pos x="T0" y="T1"/>
                </a:cxn>
                <a:cxn ang="0">
                  <a:pos x="T2" y="T3"/>
                </a:cxn>
                <a:cxn ang="0">
                  <a:pos x="T4" y="T5"/>
                </a:cxn>
                <a:cxn ang="0">
                  <a:pos x="T6" y="T7"/>
                </a:cxn>
                <a:cxn ang="0">
                  <a:pos x="T8" y="T9"/>
                </a:cxn>
              </a:cxnLst>
              <a:rect l="0" t="0" r="r" b="b"/>
              <a:pathLst>
                <a:path w="45" h="37">
                  <a:moveTo>
                    <a:pt x="0" y="8"/>
                  </a:moveTo>
                  <a:lnTo>
                    <a:pt x="13" y="37"/>
                  </a:lnTo>
                  <a:lnTo>
                    <a:pt x="35" y="37"/>
                  </a:lnTo>
                  <a:lnTo>
                    <a:pt x="45" y="0"/>
                  </a:ln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148">
              <a:extLst>
                <a:ext uri="{FF2B5EF4-FFF2-40B4-BE49-F238E27FC236}">
                  <a16:creationId xmlns:a16="http://schemas.microsoft.com/office/drawing/2014/main" id="{D0EFED32-3F06-41BD-B65D-CB4A99502472}"/>
                </a:ext>
              </a:extLst>
            </p:cNvPr>
            <p:cNvSpPr>
              <a:spLocks/>
            </p:cNvSpPr>
            <p:nvPr/>
          </p:nvSpPr>
          <p:spPr bwMode="auto">
            <a:xfrm>
              <a:off x="7242969" y="4245768"/>
              <a:ext cx="26988" cy="23813"/>
            </a:xfrm>
            <a:custGeom>
              <a:avLst/>
              <a:gdLst>
                <a:gd name="T0" fmla="*/ 11 w 49"/>
                <a:gd name="T1" fmla="*/ 0 h 45"/>
                <a:gd name="T2" fmla="*/ 0 w 49"/>
                <a:gd name="T3" fmla="*/ 21 h 45"/>
                <a:gd name="T4" fmla="*/ 29 w 49"/>
                <a:gd name="T5" fmla="*/ 45 h 45"/>
                <a:gd name="T6" fmla="*/ 49 w 49"/>
                <a:gd name="T7" fmla="*/ 21 h 45"/>
                <a:gd name="T8" fmla="*/ 11 w 49"/>
                <a:gd name="T9" fmla="*/ 0 h 45"/>
              </a:gdLst>
              <a:ahLst/>
              <a:cxnLst>
                <a:cxn ang="0">
                  <a:pos x="T0" y="T1"/>
                </a:cxn>
                <a:cxn ang="0">
                  <a:pos x="T2" y="T3"/>
                </a:cxn>
                <a:cxn ang="0">
                  <a:pos x="T4" y="T5"/>
                </a:cxn>
                <a:cxn ang="0">
                  <a:pos x="T6" y="T7"/>
                </a:cxn>
                <a:cxn ang="0">
                  <a:pos x="T8" y="T9"/>
                </a:cxn>
              </a:cxnLst>
              <a:rect l="0" t="0" r="r" b="b"/>
              <a:pathLst>
                <a:path w="49" h="45">
                  <a:moveTo>
                    <a:pt x="11" y="0"/>
                  </a:moveTo>
                  <a:lnTo>
                    <a:pt x="0" y="21"/>
                  </a:lnTo>
                  <a:lnTo>
                    <a:pt x="29" y="45"/>
                  </a:lnTo>
                  <a:lnTo>
                    <a:pt x="49" y="21"/>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149">
              <a:extLst>
                <a:ext uri="{FF2B5EF4-FFF2-40B4-BE49-F238E27FC236}">
                  <a16:creationId xmlns:a16="http://schemas.microsoft.com/office/drawing/2014/main" id="{27E90863-2EE7-4A66-90FD-C8105A81AE2E}"/>
                </a:ext>
              </a:extLst>
            </p:cNvPr>
            <p:cNvSpPr>
              <a:spLocks/>
            </p:cNvSpPr>
            <p:nvPr/>
          </p:nvSpPr>
          <p:spPr bwMode="auto">
            <a:xfrm>
              <a:off x="7309644" y="4161631"/>
              <a:ext cx="28575" cy="31750"/>
            </a:xfrm>
            <a:custGeom>
              <a:avLst/>
              <a:gdLst>
                <a:gd name="T0" fmla="*/ 32 w 55"/>
                <a:gd name="T1" fmla="*/ 0 h 58"/>
                <a:gd name="T2" fmla="*/ 0 w 55"/>
                <a:gd name="T3" fmla="*/ 21 h 58"/>
                <a:gd name="T4" fmla="*/ 24 w 55"/>
                <a:gd name="T5" fmla="*/ 58 h 58"/>
                <a:gd name="T6" fmla="*/ 55 w 55"/>
                <a:gd name="T7" fmla="*/ 58 h 58"/>
                <a:gd name="T8" fmla="*/ 32 w 55"/>
                <a:gd name="T9" fmla="*/ 0 h 58"/>
              </a:gdLst>
              <a:ahLst/>
              <a:cxnLst>
                <a:cxn ang="0">
                  <a:pos x="T0" y="T1"/>
                </a:cxn>
                <a:cxn ang="0">
                  <a:pos x="T2" y="T3"/>
                </a:cxn>
                <a:cxn ang="0">
                  <a:pos x="T4" y="T5"/>
                </a:cxn>
                <a:cxn ang="0">
                  <a:pos x="T6" y="T7"/>
                </a:cxn>
                <a:cxn ang="0">
                  <a:pos x="T8" y="T9"/>
                </a:cxn>
              </a:cxnLst>
              <a:rect l="0" t="0" r="r" b="b"/>
              <a:pathLst>
                <a:path w="55" h="58">
                  <a:moveTo>
                    <a:pt x="32" y="0"/>
                  </a:moveTo>
                  <a:lnTo>
                    <a:pt x="0" y="21"/>
                  </a:lnTo>
                  <a:lnTo>
                    <a:pt x="24" y="58"/>
                  </a:lnTo>
                  <a:lnTo>
                    <a:pt x="55" y="58"/>
                  </a:lnTo>
                  <a:lnTo>
                    <a:pt x="3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50">
              <a:extLst>
                <a:ext uri="{FF2B5EF4-FFF2-40B4-BE49-F238E27FC236}">
                  <a16:creationId xmlns:a16="http://schemas.microsoft.com/office/drawing/2014/main" id="{1E48B6AA-08A3-4AA3-B5A9-DF150841C130}"/>
                </a:ext>
              </a:extLst>
            </p:cNvPr>
            <p:cNvSpPr>
              <a:spLocks/>
            </p:cNvSpPr>
            <p:nvPr/>
          </p:nvSpPr>
          <p:spPr bwMode="auto">
            <a:xfrm>
              <a:off x="7322344" y="4210843"/>
              <a:ext cx="23813" cy="28575"/>
            </a:xfrm>
            <a:custGeom>
              <a:avLst/>
              <a:gdLst>
                <a:gd name="T0" fmla="*/ 21 w 46"/>
                <a:gd name="T1" fmla="*/ 0 h 53"/>
                <a:gd name="T2" fmla="*/ 0 w 46"/>
                <a:gd name="T3" fmla="*/ 24 h 53"/>
                <a:gd name="T4" fmla="*/ 15 w 46"/>
                <a:gd name="T5" fmla="*/ 48 h 53"/>
                <a:gd name="T6" fmla="*/ 44 w 46"/>
                <a:gd name="T7" fmla="*/ 53 h 53"/>
                <a:gd name="T8" fmla="*/ 46 w 46"/>
                <a:gd name="T9" fmla="*/ 3 h 53"/>
                <a:gd name="T10" fmla="*/ 21 w 46"/>
                <a:gd name="T11" fmla="*/ 0 h 53"/>
              </a:gdLst>
              <a:ahLst/>
              <a:cxnLst>
                <a:cxn ang="0">
                  <a:pos x="T0" y="T1"/>
                </a:cxn>
                <a:cxn ang="0">
                  <a:pos x="T2" y="T3"/>
                </a:cxn>
                <a:cxn ang="0">
                  <a:pos x="T4" y="T5"/>
                </a:cxn>
                <a:cxn ang="0">
                  <a:pos x="T6" y="T7"/>
                </a:cxn>
                <a:cxn ang="0">
                  <a:pos x="T8" y="T9"/>
                </a:cxn>
                <a:cxn ang="0">
                  <a:pos x="T10" y="T11"/>
                </a:cxn>
              </a:cxnLst>
              <a:rect l="0" t="0" r="r" b="b"/>
              <a:pathLst>
                <a:path w="46" h="53">
                  <a:moveTo>
                    <a:pt x="21" y="0"/>
                  </a:moveTo>
                  <a:lnTo>
                    <a:pt x="0" y="24"/>
                  </a:lnTo>
                  <a:lnTo>
                    <a:pt x="15" y="48"/>
                  </a:lnTo>
                  <a:lnTo>
                    <a:pt x="44" y="53"/>
                  </a:lnTo>
                  <a:lnTo>
                    <a:pt x="46" y="3"/>
                  </a:ln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151">
              <a:extLst>
                <a:ext uri="{FF2B5EF4-FFF2-40B4-BE49-F238E27FC236}">
                  <a16:creationId xmlns:a16="http://schemas.microsoft.com/office/drawing/2014/main" id="{BEF02C28-17B6-4F2F-9671-3EC8AF41EA2A}"/>
                </a:ext>
              </a:extLst>
            </p:cNvPr>
            <p:cNvSpPr>
              <a:spLocks/>
            </p:cNvSpPr>
            <p:nvPr/>
          </p:nvSpPr>
          <p:spPr bwMode="auto">
            <a:xfrm>
              <a:off x="7738269" y="3906043"/>
              <a:ext cx="20638" cy="28575"/>
            </a:xfrm>
            <a:custGeom>
              <a:avLst/>
              <a:gdLst>
                <a:gd name="T0" fmla="*/ 0 w 39"/>
                <a:gd name="T1" fmla="*/ 0 h 55"/>
                <a:gd name="T2" fmla="*/ 5 w 39"/>
                <a:gd name="T3" fmla="*/ 44 h 55"/>
                <a:gd name="T4" fmla="*/ 34 w 39"/>
                <a:gd name="T5" fmla="*/ 55 h 55"/>
                <a:gd name="T6" fmla="*/ 39 w 39"/>
                <a:gd name="T7" fmla="*/ 15 h 55"/>
                <a:gd name="T8" fmla="*/ 0 w 39"/>
                <a:gd name="T9" fmla="*/ 0 h 55"/>
              </a:gdLst>
              <a:ahLst/>
              <a:cxnLst>
                <a:cxn ang="0">
                  <a:pos x="T0" y="T1"/>
                </a:cxn>
                <a:cxn ang="0">
                  <a:pos x="T2" y="T3"/>
                </a:cxn>
                <a:cxn ang="0">
                  <a:pos x="T4" y="T5"/>
                </a:cxn>
                <a:cxn ang="0">
                  <a:pos x="T6" y="T7"/>
                </a:cxn>
                <a:cxn ang="0">
                  <a:pos x="T8" y="T9"/>
                </a:cxn>
              </a:cxnLst>
              <a:rect l="0" t="0" r="r" b="b"/>
              <a:pathLst>
                <a:path w="39" h="55">
                  <a:moveTo>
                    <a:pt x="0" y="0"/>
                  </a:moveTo>
                  <a:lnTo>
                    <a:pt x="5" y="44"/>
                  </a:lnTo>
                  <a:lnTo>
                    <a:pt x="34" y="55"/>
                  </a:lnTo>
                  <a:lnTo>
                    <a:pt x="39"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52">
              <a:extLst>
                <a:ext uri="{FF2B5EF4-FFF2-40B4-BE49-F238E27FC236}">
                  <a16:creationId xmlns:a16="http://schemas.microsoft.com/office/drawing/2014/main" id="{A138455F-A27E-4F10-9D08-B413D2C08CD8}"/>
                </a:ext>
              </a:extLst>
            </p:cNvPr>
            <p:cNvSpPr>
              <a:spLocks/>
            </p:cNvSpPr>
            <p:nvPr/>
          </p:nvSpPr>
          <p:spPr bwMode="auto">
            <a:xfrm>
              <a:off x="7757319" y="3955256"/>
              <a:ext cx="20638" cy="34925"/>
            </a:xfrm>
            <a:custGeom>
              <a:avLst/>
              <a:gdLst>
                <a:gd name="T0" fmla="*/ 3 w 39"/>
                <a:gd name="T1" fmla="*/ 0 h 65"/>
                <a:gd name="T2" fmla="*/ 0 w 39"/>
                <a:gd name="T3" fmla="*/ 55 h 65"/>
                <a:gd name="T4" fmla="*/ 21 w 39"/>
                <a:gd name="T5" fmla="*/ 65 h 65"/>
                <a:gd name="T6" fmla="*/ 39 w 39"/>
                <a:gd name="T7" fmla="*/ 29 h 65"/>
                <a:gd name="T8" fmla="*/ 3 w 39"/>
                <a:gd name="T9" fmla="*/ 0 h 65"/>
              </a:gdLst>
              <a:ahLst/>
              <a:cxnLst>
                <a:cxn ang="0">
                  <a:pos x="T0" y="T1"/>
                </a:cxn>
                <a:cxn ang="0">
                  <a:pos x="T2" y="T3"/>
                </a:cxn>
                <a:cxn ang="0">
                  <a:pos x="T4" y="T5"/>
                </a:cxn>
                <a:cxn ang="0">
                  <a:pos x="T6" y="T7"/>
                </a:cxn>
                <a:cxn ang="0">
                  <a:pos x="T8" y="T9"/>
                </a:cxn>
              </a:cxnLst>
              <a:rect l="0" t="0" r="r" b="b"/>
              <a:pathLst>
                <a:path w="39" h="65">
                  <a:moveTo>
                    <a:pt x="3" y="0"/>
                  </a:moveTo>
                  <a:lnTo>
                    <a:pt x="0" y="55"/>
                  </a:lnTo>
                  <a:lnTo>
                    <a:pt x="21" y="65"/>
                  </a:lnTo>
                  <a:lnTo>
                    <a:pt x="39" y="29"/>
                  </a:lnTo>
                  <a:lnTo>
                    <a:pt x="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53">
              <a:extLst>
                <a:ext uri="{FF2B5EF4-FFF2-40B4-BE49-F238E27FC236}">
                  <a16:creationId xmlns:a16="http://schemas.microsoft.com/office/drawing/2014/main" id="{E588EA5F-90B8-4637-9100-1431C9D54029}"/>
                </a:ext>
              </a:extLst>
            </p:cNvPr>
            <p:cNvSpPr>
              <a:spLocks/>
            </p:cNvSpPr>
            <p:nvPr/>
          </p:nvSpPr>
          <p:spPr bwMode="auto">
            <a:xfrm>
              <a:off x="7750969" y="4012406"/>
              <a:ext cx="25400" cy="19050"/>
            </a:xfrm>
            <a:custGeom>
              <a:avLst/>
              <a:gdLst>
                <a:gd name="T0" fmla="*/ 19 w 47"/>
                <a:gd name="T1" fmla="*/ 0 h 36"/>
                <a:gd name="T2" fmla="*/ 0 w 47"/>
                <a:gd name="T3" fmla="*/ 18 h 36"/>
                <a:gd name="T4" fmla="*/ 22 w 47"/>
                <a:gd name="T5" fmla="*/ 36 h 36"/>
                <a:gd name="T6" fmla="*/ 47 w 47"/>
                <a:gd name="T7" fmla="*/ 18 h 36"/>
                <a:gd name="T8" fmla="*/ 19 w 47"/>
                <a:gd name="T9" fmla="*/ 0 h 36"/>
              </a:gdLst>
              <a:ahLst/>
              <a:cxnLst>
                <a:cxn ang="0">
                  <a:pos x="T0" y="T1"/>
                </a:cxn>
                <a:cxn ang="0">
                  <a:pos x="T2" y="T3"/>
                </a:cxn>
                <a:cxn ang="0">
                  <a:pos x="T4" y="T5"/>
                </a:cxn>
                <a:cxn ang="0">
                  <a:pos x="T6" y="T7"/>
                </a:cxn>
                <a:cxn ang="0">
                  <a:pos x="T8" y="T9"/>
                </a:cxn>
              </a:cxnLst>
              <a:rect l="0" t="0" r="r" b="b"/>
              <a:pathLst>
                <a:path w="47" h="36">
                  <a:moveTo>
                    <a:pt x="19" y="0"/>
                  </a:moveTo>
                  <a:lnTo>
                    <a:pt x="0" y="18"/>
                  </a:lnTo>
                  <a:lnTo>
                    <a:pt x="22" y="36"/>
                  </a:lnTo>
                  <a:lnTo>
                    <a:pt x="47" y="18"/>
                  </a:lnTo>
                  <a:lnTo>
                    <a:pt x="1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54">
              <a:extLst>
                <a:ext uri="{FF2B5EF4-FFF2-40B4-BE49-F238E27FC236}">
                  <a16:creationId xmlns:a16="http://schemas.microsoft.com/office/drawing/2014/main" id="{7A0764E0-3F97-4199-893E-458D12CE6F00}"/>
                </a:ext>
              </a:extLst>
            </p:cNvPr>
            <p:cNvSpPr>
              <a:spLocks/>
            </p:cNvSpPr>
            <p:nvPr/>
          </p:nvSpPr>
          <p:spPr bwMode="auto">
            <a:xfrm>
              <a:off x="5155407" y="2964656"/>
              <a:ext cx="23813" cy="25400"/>
            </a:xfrm>
            <a:custGeom>
              <a:avLst/>
              <a:gdLst>
                <a:gd name="T0" fmla="*/ 24 w 47"/>
                <a:gd name="T1" fmla="*/ 0 h 48"/>
                <a:gd name="T2" fmla="*/ 0 w 47"/>
                <a:gd name="T3" fmla="*/ 24 h 48"/>
                <a:gd name="T4" fmla="*/ 42 w 47"/>
                <a:gd name="T5" fmla="*/ 48 h 48"/>
                <a:gd name="T6" fmla="*/ 47 w 47"/>
                <a:gd name="T7" fmla="*/ 15 h 48"/>
                <a:gd name="T8" fmla="*/ 24 w 47"/>
                <a:gd name="T9" fmla="*/ 0 h 48"/>
              </a:gdLst>
              <a:ahLst/>
              <a:cxnLst>
                <a:cxn ang="0">
                  <a:pos x="T0" y="T1"/>
                </a:cxn>
                <a:cxn ang="0">
                  <a:pos x="T2" y="T3"/>
                </a:cxn>
                <a:cxn ang="0">
                  <a:pos x="T4" y="T5"/>
                </a:cxn>
                <a:cxn ang="0">
                  <a:pos x="T6" y="T7"/>
                </a:cxn>
                <a:cxn ang="0">
                  <a:pos x="T8" y="T9"/>
                </a:cxn>
              </a:cxnLst>
              <a:rect l="0" t="0" r="r" b="b"/>
              <a:pathLst>
                <a:path w="47" h="48">
                  <a:moveTo>
                    <a:pt x="24" y="0"/>
                  </a:moveTo>
                  <a:lnTo>
                    <a:pt x="0" y="24"/>
                  </a:lnTo>
                  <a:lnTo>
                    <a:pt x="42" y="48"/>
                  </a:lnTo>
                  <a:lnTo>
                    <a:pt x="47" y="15"/>
                  </a:lnTo>
                  <a:lnTo>
                    <a:pt x="2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155">
              <a:extLst>
                <a:ext uri="{FF2B5EF4-FFF2-40B4-BE49-F238E27FC236}">
                  <a16:creationId xmlns:a16="http://schemas.microsoft.com/office/drawing/2014/main" id="{66937606-A25C-43AB-8480-E6A5CB7BDA34}"/>
                </a:ext>
              </a:extLst>
            </p:cNvPr>
            <p:cNvSpPr>
              <a:spLocks/>
            </p:cNvSpPr>
            <p:nvPr/>
          </p:nvSpPr>
          <p:spPr bwMode="auto">
            <a:xfrm>
              <a:off x="5218907" y="2956718"/>
              <a:ext cx="31750" cy="20638"/>
            </a:xfrm>
            <a:custGeom>
              <a:avLst/>
              <a:gdLst>
                <a:gd name="T0" fmla="*/ 28 w 61"/>
                <a:gd name="T1" fmla="*/ 0 h 38"/>
                <a:gd name="T2" fmla="*/ 0 w 61"/>
                <a:gd name="T3" fmla="*/ 19 h 38"/>
                <a:gd name="T4" fmla="*/ 23 w 61"/>
                <a:gd name="T5" fmla="*/ 38 h 38"/>
                <a:gd name="T6" fmla="*/ 61 w 61"/>
                <a:gd name="T7" fmla="*/ 29 h 38"/>
                <a:gd name="T8" fmla="*/ 28 w 61"/>
                <a:gd name="T9" fmla="*/ 0 h 38"/>
              </a:gdLst>
              <a:ahLst/>
              <a:cxnLst>
                <a:cxn ang="0">
                  <a:pos x="T0" y="T1"/>
                </a:cxn>
                <a:cxn ang="0">
                  <a:pos x="T2" y="T3"/>
                </a:cxn>
                <a:cxn ang="0">
                  <a:pos x="T4" y="T5"/>
                </a:cxn>
                <a:cxn ang="0">
                  <a:pos x="T6" y="T7"/>
                </a:cxn>
                <a:cxn ang="0">
                  <a:pos x="T8" y="T9"/>
                </a:cxn>
              </a:cxnLst>
              <a:rect l="0" t="0" r="r" b="b"/>
              <a:pathLst>
                <a:path w="61" h="38">
                  <a:moveTo>
                    <a:pt x="28" y="0"/>
                  </a:moveTo>
                  <a:lnTo>
                    <a:pt x="0" y="19"/>
                  </a:lnTo>
                  <a:lnTo>
                    <a:pt x="23" y="38"/>
                  </a:lnTo>
                  <a:lnTo>
                    <a:pt x="61" y="29"/>
                  </a:lnTo>
                  <a:lnTo>
                    <a:pt x="2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156">
              <a:extLst>
                <a:ext uri="{FF2B5EF4-FFF2-40B4-BE49-F238E27FC236}">
                  <a16:creationId xmlns:a16="http://schemas.microsoft.com/office/drawing/2014/main" id="{0E0FB539-F60D-4197-A1A3-4C3607926976}"/>
                </a:ext>
              </a:extLst>
            </p:cNvPr>
            <p:cNvSpPr>
              <a:spLocks/>
            </p:cNvSpPr>
            <p:nvPr/>
          </p:nvSpPr>
          <p:spPr bwMode="auto">
            <a:xfrm>
              <a:off x="5236369" y="2991643"/>
              <a:ext cx="22225" cy="33338"/>
            </a:xfrm>
            <a:custGeom>
              <a:avLst/>
              <a:gdLst>
                <a:gd name="T0" fmla="*/ 14 w 41"/>
                <a:gd name="T1" fmla="*/ 0 h 61"/>
                <a:gd name="T2" fmla="*/ 0 w 41"/>
                <a:gd name="T3" fmla="*/ 38 h 61"/>
                <a:gd name="T4" fmla="*/ 18 w 41"/>
                <a:gd name="T5" fmla="*/ 61 h 61"/>
                <a:gd name="T6" fmla="*/ 41 w 41"/>
                <a:gd name="T7" fmla="*/ 43 h 61"/>
                <a:gd name="T8" fmla="*/ 14 w 41"/>
                <a:gd name="T9" fmla="*/ 0 h 61"/>
              </a:gdLst>
              <a:ahLst/>
              <a:cxnLst>
                <a:cxn ang="0">
                  <a:pos x="T0" y="T1"/>
                </a:cxn>
                <a:cxn ang="0">
                  <a:pos x="T2" y="T3"/>
                </a:cxn>
                <a:cxn ang="0">
                  <a:pos x="T4" y="T5"/>
                </a:cxn>
                <a:cxn ang="0">
                  <a:pos x="T6" y="T7"/>
                </a:cxn>
                <a:cxn ang="0">
                  <a:pos x="T8" y="T9"/>
                </a:cxn>
              </a:cxnLst>
              <a:rect l="0" t="0" r="r" b="b"/>
              <a:pathLst>
                <a:path w="41" h="61">
                  <a:moveTo>
                    <a:pt x="14" y="0"/>
                  </a:moveTo>
                  <a:lnTo>
                    <a:pt x="0" y="38"/>
                  </a:lnTo>
                  <a:lnTo>
                    <a:pt x="18" y="61"/>
                  </a:lnTo>
                  <a:lnTo>
                    <a:pt x="41" y="43"/>
                  </a:lnTo>
                  <a:lnTo>
                    <a:pt x="1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157">
              <a:extLst>
                <a:ext uri="{FF2B5EF4-FFF2-40B4-BE49-F238E27FC236}">
                  <a16:creationId xmlns:a16="http://schemas.microsoft.com/office/drawing/2014/main" id="{0AC6A827-B8A4-48C6-820A-C318CEA467E8}"/>
                </a:ext>
              </a:extLst>
            </p:cNvPr>
            <p:cNvSpPr>
              <a:spLocks/>
            </p:cNvSpPr>
            <p:nvPr/>
          </p:nvSpPr>
          <p:spPr bwMode="auto">
            <a:xfrm>
              <a:off x="5298282" y="3031331"/>
              <a:ext cx="26988" cy="20638"/>
            </a:xfrm>
            <a:custGeom>
              <a:avLst/>
              <a:gdLst>
                <a:gd name="T0" fmla="*/ 9 w 51"/>
                <a:gd name="T1" fmla="*/ 0 h 38"/>
                <a:gd name="T2" fmla="*/ 0 w 51"/>
                <a:gd name="T3" fmla="*/ 24 h 38"/>
                <a:gd name="T4" fmla="*/ 13 w 51"/>
                <a:gd name="T5" fmla="*/ 38 h 38"/>
                <a:gd name="T6" fmla="*/ 51 w 51"/>
                <a:gd name="T7" fmla="*/ 14 h 38"/>
                <a:gd name="T8" fmla="*/ 9 w 51"/>
                <a:gd name="T9" fmla="*/ 0 h 38"/>
              </a:gdLst>
              <a:ahLst/>
              <a:cxnLst>
                <a:cxn ang="0">
                  <a:pos x="T0" y="T1"/>
                </a:cxn>
                <a:cxn ang="0">
                  <a:pos x="T2" y="T3"/>
                </a:cxn>
                <a:cxn ang="0">
                  <a:pos x="T4" y="T5"/>
                </a:cxn>
                <a:cxn ang="0">
                  <a:pos x="T6" y="T7"/>
                </a:cxn>
                <a:cxn ang="0">
                  <a:pos x="T8" y="T9"/>
                </a:cxn>
              </a:cxnLst>
              <a:rect l="0" t="0" r="r" b="b"/>
              <a:pathLst>
                <a:path w="51" h="38">
                  <a:moveTo>
                    <a:pt x="9" y="0"/>
                  </a:moveTo>
                  <a:lnTo>
                    <a:pt x="0" y="24"/>
                  </a:lnTo>
                  <a:lnTo>
                    <a:pt x="13" y="38"/>
                  </a:lnTo>
                  <a:lnTo>
                    <a:pt x="51" y="14"/>
                  </a:lnTo>
                  <a:lnTo>
                    <a:pt x="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158">
              <a:extLst>
                <a:ext uri="{FF2B5EF4-FFF2-40B4-BE49-F238E27FC236}">
                  <a16:creationId xmlns:a16="http://schemas.microsoft.com/office/drawing/2014/main" id="{ADBCEB68-D89F-4AA0-B577-67D07D05438C}"/>
                </a:ext>
              </a:extLst>
            </p:cNvPr>
            <p:cNvSpPr>
              <a:spLocks/>
            </p:cNvSpPr>
            <p:nvPr/>
          </p:nvSpPr>
          <p:spPr bwMode="auto">
            <a:xfrm>
              <a:off x="5479257" y="3140868"/>
              <a:ext cx="25400" cy="25400"/>
            </a:xfrm>
            <a:custGeom>
              <a:avLst/>
              <a:gdLst>
                <a:gd name="T0" fmla="*/ 20 w 47"/>
                <a:gd name="T1" fmla="*/ 0 h 47"/>
                <a:gd name="T2" fmla="*/ 0 w 47"/>
                <a:gd name="T3" fmla="*/ 24 h 47"/>
                <a:gd name="T4" fmla="*/ 20 w 47"/>
                <a:gd name="T5" fmla="*/ 47 h 47"/>
                <a:gd name="T6" fmla="*/ 47 w 47"/>
                <a:gd name="T7" fmla="*/ 33 h 47"/>
                <a:gd name="T8" fmla="*/ 20 w 47"/>
                <a:gd name="T9" fmla="*/ 0 h 47"/>
              </a:gdLst>
              <a:ahLst/>
              <a:cxnLst>
                <a:cxn ang="0">
                  <a:pos x="T0" y="T1"/>
                </a:cxn>
                <a:cxn ang="0">
                  <a:pos x="T2" y="T3"/>
                </a:cxn>
                <a:cxn ang="0">
                  <a:pos x="T4" y="T5"/>
                </a:cxn>
                <a:cxn ang="0">
                  <a:pos x="T6" y="T7"/>
                </a:cxn>
                <a:cxn ang="0">
                  <a:pos x="T8" y="T9"/>
                </a:cxn>
              </a:cxnLst>
              <a:rect l="0" t="0" r="r" b="b"/>
              <a:pathLst>
                <a:path w="47" h="47">
                  <a:moveTo>
                    <a:pt x="20" y="0"/>
                  </a:moveTo>
                  <a:lnTo>
                    <a:pt x="0" y="24"/>
                  </a:lnTo>
                  <a:lnTo>
                    <a:pt x="20" y="47"/>
                  </a:lnTo>
                  <a:lnTo>
                    <a:pt x="47" y="33"/>
                  </a:lnTo>
                  <a:lnTo>
                    <a:pt x="2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59">
              <a:extLst>
                <a:ext uri="{FF2B5EF4-FFF2-40B4-BE49-F238E27FC236}">
                  <a16:creationId xmlns:a16="http://schemas.microsoft.com/office/drawing/2014/main" id="{92BC7F8C-5169-489A-8BF1-7640D197CBDA}"/>
                </a:ext>
              </a:extLst>
            </p:cNvPr>
            <p:cNvSpPr>
              <a:spLocks/>
            </p:cNvSpPr>
            <p:nvPr/>
          </p:nvSpPr>
          <p:spPr bwMode="auto">
            <a:xfrm>
              <a:off x="5541169" y="3298031"/>
              <a:ext cx="15875" cy="15875"/>
            </a:xfrm>
            <a:custGeom>
              <a:avLst/>
              <a:gdLst>
                <a:gd name="T0" fmla="*/ 29 w 29"/>
                <a:gd name="T1" fmla="*/ 0 h 31"/>
                <a:gd name="T2" fmla="*/ 0 w 29"/>
                <a:gd name="T3" fmla="*/ 17 h 31"/>
                <a:gd name="T4" fmla="*/ 13 w 29"/>
                <a:gd name="T5" fmla="*/ 31 h 31"/>
                <a:gd name="T6" fmla="*/ 29 w 29"/>
                <a:gd name="T7" fmla="*/ 0 h 31"/>
              </a:gdLst>
              <a:ahLst/>
              <a:cxnLst>
                <a:cxn ang="0">
                  <a:pos x="T0" y="T1"/>
                </a:cxn>
                <a:cxn ang="0">
                  <a:pos x="T2" y="T3"/>
                </a:cxn>
                <a:cxn ang="0">
                  <a:pos x="T4" y="T5"/>
                </a:cxn>
                <a:cxn ang="0">
                  <a:pos x="T6" y="T7"/>
                </a:cxn>
              </a:cxnLst>
              <a:rect l="0" t="0" r="r" b="b"/>
              <a:pathLst>
                <a:path w="29" h="31">
                  <a:moveTo>
                    <a:pt x="29" y="0"/>
                  </a:moveTo>
                  <a:lnTo>
                    <a:pt x="0" y="17"/>
                  </a:lnTo>
                  <a:lnTo>
                    <a:pt x="13" y="31"/>
                  </a:lnTo>
                  <a:lnTo>
                    <a:pt x="2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160">
              <a:extLst>
                <a:ext uri="{FF2B5EF4-FFF2-40B4-BE49-F238E27FC236}">
                  <a16:creationId xmlns:a16="http://schemas.microsoft.com/office/drawing/2014/main" id="{9A14C711-EBC2-4F41-89D0-9604DF6639E5}"/>
                </a:ext>
              </a:extLst>
            </p:cNvPr>
            <p:cNvSpPr>
              <a:spLocks/>
            </p:cNvSpPr>
            <p:nvPr/>
          </p:nvSpPr>
          <p:spPr bwMode="auto">
            <a:xfrm>
              <a:off x="5482432" y="3299618"/>
              <a:ext cx="23813" cy="19050"/>
            </a:xfrm>
            <a:custGeom>
              <a:avLst/>
              <a:gdLst>
                <a:gd name="T0" fmla="*/ 38 w 47"/>
                <a:gd name="T1" fmla="*/ 0 h 37"/>
                <a:gd name="T2" fmla="*/ 0 w 47"/>
                <a:gd name="T3" fmla="*/ 9 h 37"/>
                <a:gd name="T4" fmla="*/ 19 w 47"/>
                <a:gd name="T5" fmla="*/ 37 h 37"/>
                <a:gd name="T6" fmla="*/ 47 w 47"/>
                <a:gd name="T7" fmla="*/ 37 h 37"/>
                <a:gd name="T8" fmla="*/ 38 w 47"/>
                <a:gd name="T9" fmla="*/ 0 h 37"/>
              </a:gdLst>
              <a:ahLst/>
              <a:cxnLst>
                <a:cxn ang="0">
                  <a:pos x="T0" y="T1"/>
                </a:cxn>
                <a:cxn ang="0">
                  <a:pos x="T2" y="T3"/>
                </a:cxn>
                <a:cxn ang="0">
                  <a:pos x="T4" y="T5"/>
                </a:cxn>
                <a:cxn ang="0">
                  <a:pos x="T6" y="T7"/>
                </a:cxn>
                <a:cxn ang="0">
                  <a:pos x="T8" y="T9"/>
                </a:cxn>
              </a:cxnLst>
              <a:rect l="0" t="0" r="r" b="b"/>
              <a:pathLst>
                <a:path w="47" h="37">
                  <a:moveTo>
                    <a:pt x="38" y="0"/>
                  </a:moveTo>
                  <a:lnTo>
                    <a:pt x="0" y="9"/>
                  </a:lnTo>
                  <a:lnTo>
                    <a:pt x="19" y="37"/>
                  </a:lnTo>
                  <a:lnTo>
                    <a:pt x="47" y="37"/>
                  </a:ln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161">
              <a:extLst>
                <a:ext uri="{FF2B5EF4-FFF2-40B4-BE49-F238E27FC236}">
                  <a16:creationId xmlns:a16="http://schemas.microsoft.com/office/drawing/2014/main" id="{68A8655A-0FD3-42F6-8297-C5867C7478D2}"/>
                </a:ext>
              </a:extLst>
            </p:cNvPr>
            <p:cNvSpPr>
              <a:spLocks/>
            </p:cNvSpPr>
            <p:nvPr/>
          </p:nvSpPr>
          <p:spPr bwMode="auto">
            <a:xfrm>
              <a:off x="5442744" y="3283743"/>
              <a:ext cx="26988" cy="28575"/>
            </a:xfrm>
            <a:custGeom>
              <a:avLst/>
              <a:gdLst>
                <a:gd name="T0" fmla="*/ 24 w 52"/>
                <a:gd name="T1" fmla="*/ 0 h 52"/>
                <a:gd name="T2" fmla="*/ 0 w 52"/>
                <a:gd name="T3" fmla="*/ 24 h 52"/>
                <a:gd name="T4" fmla="*/ 34 w 52"/>
                <a:gd name="T5" fmla="*/ 52 h 52"/>
                <a:gd name="T6" fmla="*/ 52 w 52"/>
                <a:gd name="T7" fmla="*/ 9 h 52"/>
                <a:gd name="T8" fmla="*/ 24 w 52"/>
                <a:gd name="T9" fmla="*/ 0 h 52"/>
              </a:gdLst>
              <a:ahLst/>
              <a:cxnLst>
                <a:cxn ang="0">
                  <a:pos x="T0" y="T1"/>
                </a:cxn>
                <a:cxn ang="0">
                  <a:pos x="T2" y="T3"/>
                </a:cxn>
                <a:cxn ang="0">
                  <a:pos x="T4" y="T5"/>
                </a:cxn>
                <a:cxn ang="0">
                  <a:pos x="T6" y="T7"/>
                </a:cxn>
                <a:cxn ang="0">
                  <a:pos x="T8" y="T9"/>
                </a:cxn>
              </a:cxnLst>
              <a:rect l="0" t="0" r="r" b="b"/>
              <a:pathLst>
                <a:path w="52" h="52">
                  <a:moveTo>
                    <a:pt x="24" y="0"/>
                  </a:moveTo>
                  <a:lnTo>
                    <a:pt x="0" y="24"/>
                  </a:lnTo>
                  <a:lnTo>
                    <a:pt x="34" y="52"/>
                  </a:lnTo>
                  <a:lnTo>
                    <a:pt x="52" y="9"/>
                  </a:lnTo>
                  <a:lnTo>
                    <a:pt x="2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4" name="Freeform 162">
              <a:extLst>
                <a:ext uri="{FF2B5EF4-FFF2-40B4-BE49-F238E27FC236}">
                  <a16:creationId xmlns:a16="http://schemas.microsoft.com/office/drawing/2014/main" id="{1730082B-EA45-44C4-913D-6D671B5334DB}"/>
                </a:ext>
              </a:extLst>
            </p:cNvPr>
            <p:cNvSpPr>
              <a:spLocks/>
            </p:cNvSpPr>
            <p:nvPr/>
          </p:nvSpPr>
          <p:spPr bwMode="auto">
            <a:xfrm>
              <a:off x="5285582" y="3631406"/>
              <a:ext cx="26988" cy="20638"/>
            </a:xfrm>
            <a:custGeom>
              <a:avLst/>
              <a:gdLst>
                <a:gd name="T0" fmla="*/ 32 w 51"/>
                <a:gd name="T1" fmla="*/ 0 h 38"/>
                <a:gd name="T2" fmla="*/ 0 w 51"/>
                <a:gd name="T3" fmla="*/ 18 h 38"/>
                <a:gd name="T4" fmla="*/ 23 w 51"/>
                <a:gd name="T5" fmla="*/ 38 h 38"/>
                <a:gd name="T6" fmla="*/ 51 w 51"/>
                <a:gd name="T7" fmla="*/ 23 h 38"/>
                <a:gd name="T8" fmla="*/ 32 w 51"/>
                <a:gd name="T9" fmla="*/ 0 h 38"/>
              </a:gdLst>
              <a:ahLst/>
              <a:cxnLst>
                <a:cxn ang="0">
                  <a:pos x="T0" y="T1"/>
                </a:cxn>
                <a:cxn ang="0">
                  <a:pos x="T2" y="T3"/>
                </a:cxn>
                <a:cxn ang="0">
                  <a:pos x="T4" y="T5"/>
                </a:cxn>
                <a:cxn ang="0">
                  <a:pos x="T6" y="T7"/>
                </a:cxn>
                <a:cxn ang="0">
                  <a:pos x="T8" y="T9"/>
                </a:cxn>
              </a:cxnLst>
              <a:rect l="0" t="0" r="r" b="b"/>
              <a:pathLst>
                <a:path w="51" h="38">
                  <a:moveTo>
                    <a:pt x="32" y="0"/>
                  </a:moveTo>
                  <a:lnTo>
                    <a:pt x="0" y="18"/>
                  </a:lnTo>
                  <a:lnTo>
                    <a:pt x="23" y="38"/>
                  </a:lnTo>
                  <a:lnTo>
                    <a:pt x="51" y="23"/>
                  </a:lnTo>
                  <a:lnTo>
                    <a:pt x="3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5" name="Freeform 163">
              <a:extLst>
                <a:ext uri="{FF2B5EF4-FFF2-40B4-BE49-F238E27FC236}">
                  <a16:creationId xmlns:a16="http://schemas.microsoft.com/office/drawing/2014/main" id="{E5E720C0-2CC2-4E7A-8DA7-D5FF42DCD7E4}"/>
                </a:ext>
              </a:extLst>
            </p:cNvPr>
            <p:cNvSpPr>
              <a:spLocks/>
            </p:cNvSpPr>
            <p:nvPr/>
          </p:nvSpPr>
          <p:spPr bwMode="auto">
            <a:xfrm>
              <a:off x="5333207" y="3652043"/>
              <a:ext cx="26988" cy="23813"/>
            </a:xfrm>
            <a:custGeom>
              <a:avLst/>
              <a:gdLst>
                <a:gd name="T0" fmla="*/ 22 w 52"/>
                <a:gd name="T1" fmla="*/ 0 h 46"/>
                <a:gd name="T2" fmla="*/ 0 w 52"/>
                <a:gd name="T3" fmla="*/ 18 h 46"/>
                <a:gd name="T4" fmla="*/ 15 w 52"/>
                <a:gd name="T5" fmla="*/ 46 h 46"/>
                <a:gd name="T6" fmla="*/ 52 w 52"/>
                <a:gd name="T7" fmla="*/ 30 h 46"/>
                <a:gd name="T8" fmla="*/ 22 w 52"/>
                <a:gd name="T9" fmla="*/ 0 h 46"/>
              </a:gdLst>
              <a:ahLst/>
              <a:cxnLst>
                <a:cxn ang="0">
                  <a:pos x="T0" y="T1"/>
                </a:cxn>
                <a:cxn ang="0">
                  <a:pos x="T2" y="T3"/>
                </a:cxn>
                <a:cxn ang="0">
                  <a:pos x="T4" y="T5"/>
                </a:cxn>
                <a:cxn ang="0">
                  <a:pos x="T6" y="T7"/>
                </a:cxn>
                <a:cxn ang="0">
                  <a:pos x="T8" y="T9"/>
                </a:cxn>
              </a:cxnLst>
              <a:rect l="0" t="0" r="r" b="b"/>
              <a:pathLst>
                <a:path w="52" h="46">
                  <a:moveTo>
                    <a:pt x="22" y="0"/>
                  </a:moveTo>
                  <a:lnTo>
                    <a:pt x="0" y="18"/>
                  </a:lnTo>
                  <a:lnTo>
                    <a:pt x="15" y="46"/>
                  </a:lnTo>
                  <a:lnTo>
                    <a:pt x="52" y="30"/>
                  </a:lnTo>
                  <a:lnTo>
                    <a:pt x="2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164">
              <a:extLst>
                <a:ext uri="{FF2B5EF4-FFF2-40B4-BE49-F238E27FC236}">
                  <a16:creationId xmlns:a16="http://schemas.microsoft.com/office/drawing/2014/main" id="{9ECA17B5-30A7-4A8E-A167-E47065F32285}"/>
                </a:ext>
              </a:extLst>
            </p:cNvPr>
            <p:cNvSpPr>
              <a:spLocks/>
            </p:cNvSpPr>
            <p:nvPr/>
          </p:nvSpPr>
          <p:spPr bwMode="auto">
            <a:xfrm>
              <a:off x="5306219" y="3679031"/>
              <a:ext cx="26988" cy="30163"/>
            </a:xfrm>
            <a:custGeom>
              <a:avLst/>
              <a:gdLst>
                <a:gd name="T0" fmla="*/ 28 w 52"/>
                <a:gd name="T1" fmla="*/ 0 h 56"/>
                <a:gd name="T2" fmla="*/ 0 w 52"/>
                <a:gd name="T3" fmla="*/ 17 h 56"/>
                <a:gd name="T4" fmla="*/ 30 w 52"/>
                <a:gd name="T5" fmla="*/ 56 h 56"/>
                <a:gd name="T6" fmla="*/ 52 w 52"/>
                <a:gd name="T7" fmla="*/ 44 h 56"/>
                <a:gd name="T8" fmla="*/ 28 w 52"/>
                <a:gd name="T9" fmla="*/ 0 h 56"/>
              </a:gdLst>
              <a:ahLst/>
              <a:cxnLst>
                <a:cxn ang="0">
                  <a:pos x="T0" y="T1"/>
                </a:cxn>
                <a:cxn ang="0">
                  <a:pos x="T2" y="T3"/>
                </a:cxn>
                <a:cxn ang="0">
                  <a:pos x="T4" y="T5"/>
                </a:cxn>
                <a:cxn ang="0">
                  <a:pos x="T6" y="T7"/>
                </a:cxn>
                <a:cxn ang="0">
                  <a:pos x="T8" y="T9"/>
                </a:cxn>
              </a:cxnLst>
              <a:rect l="0" t="0" r="r" b="b"/>
              <a:pathLst>
                <a:path w="52" h="56">
                  <a:moveTo>
                    <a:pt x="28" y="0"/>
                  </a:moveTo>
                  <a:lnTo>
                    <a:pt x="0" y="17"/>
                  </a:lnTo>
                  <a:lnTo>
                    <a:pt x="30" y="56"/>
                  </a:lnTo>
                  <a:lnTo>
                    <a:pt x="52" y="44"/>
                  </a:lnTo>
                  <a:lnTo>
                    <a:pt x="2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171">
              <a:extLst>
                <a:ext uri="{FF2B5EF4-FFF2-40B4-BE49-F238E27FC236}">
                  <a16:creationId xmlns:a16="http://schemas.microsoft.com/office/drawing/2014/main" id="{37F30071-A4DE-47AD-AEF9-62BCDBCFA9BA}"/>
                </a:ext>
              </a:extLst>
            </p:cNvPr>
            <p:cNvSpPr>
              <a:spLocks/>
            </p:cNvSpPr>
            <p:nvPr/>
          </p:nvSpPr>
          <p:spPr bwMode="auto">
            <a:xfrm>
              <a:off x="4283869" y="3566318"/>
              <a:ext cx="20638" cy="17463"/>
            </a:xfrm>
            <a:custGeom>
              <a:avLst/>
              <a:gdLst>
                <a:gd name="T0" fmla="*/ 25 w 40"/>
                <a:gd name="T1" fmla="*/ 0 h 34"/>
                <a:gd name="T2" fmla="*/ 0 w 40"/>
                <a:gd name="T3" fmla="*/ 10 h 34"/>
                <a:gd name="T4" fmla="*/ 9 w 40"/>
                <a:gd name="T5" fmla="*/ 34 h 34"/>
                <a:gd name="T6" fmla="*/ 40 w 40"/>
                <a:gd name="T7" fmla="*/ 13 h 34"/>
                <a:gd name="T8" fmla="*/ 34 w 40"/>
                <a:gd name="T9" fmla="*/ 7 h 34"/>
                <a:gd name="T10" fmla="*/ 25 w 40"/>
                <a:gd name="T11" fmla="*/ 0 h 34"/>
              </a:gdLst>
              <a:ahLst/>
              <a:cxnLst>
                <a:cxn ang="0">
                  <a:pos x="T0" y="T1"/>
                </a:cxn>
                <a:cxn ang="0">
                  <a:pos x="T2" y="T3"/>
                </a:cxn>
                <a:cxn ang="0">
                  <a:pos x="T4" y="T5"/>
                </a:cxn>
                <a:cxn ang="0">
                  <a:pos x="T6" y="T7"/>
                </a:cxn>
                <a:cxn ang="0">
                  <a:pos x="T8" y="T9"/>
                </a:cxn>
                <a:cxn ang="0">
                  <a:pos x="T10" y="T11"/>
                </a:cxn>
              </a:cxnLst>
              <a:rect l="0" t="0" r="r" b="b"/>
              <a:pathLst>
                <a:path w="40" h="34">
                  <a:moveTo>
                    <a:pt x="25" y="0"/>
                  </a:moveTo>
                  <a:lnTo>
                    <a:pt x="0" y="10"/>
                  </a:lnTo>
                  <a:lnTo>
                    <a:pt x="9" y="34"/>
                  </a:lnTo>
                  <a:lnTo>
                    <a:pt x="40" y="13"/>
                  </a:lnTo>
                  <a:lnTo>
                    <a:pt x="34" y="7"/>
                  </a:lnTo>
                  <a:lnTo>
                    <a:pt x="2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172">
              <a:extLst>
                <a:ext uri="{FF2B5EF4-FFF2-40B4-BE49-F238E27FC236}">
                  <a16:creationId xmlns:a16="http://schemas.microsoft.com/office/drawing/2014/main" id="{CC94560A-D10E-44B1-8F0B-63825E2FCF39}"/>
                </a:ext>
              </a:extLst>
            </p:cNvPr>
            <p:cNvSpPr>
              <a:spLocks/>
            </p:cNvSpPr>
            <p:nvPr/>
          </p:nvSpPr>
          <p:spPr bwMode="auto">
            <a:xfrm>
              <a:off x="4310857" y="3580606"/>
              <a:ext cx="22225" cy="30163"/>
            </a:xfrm>
            <a:custGeom>
              <a:avLst/>
              <a:gdLst>
                <a:gd name="T0" fmla="*/ 15 w 40"/>
                <a:gd name="T1" fmla="*/ 0 h 57"/>
                <a:gd name="T2" fmla="*/ 0 w 40"/>
                <a:gd name="T3" fmla="*/ 32 h 57"/>
                <a:gd name="T4" fmla="*/ 18 w 40"/>
                <a:gd name="T5" fmla="*/ 57 h 57"/>
                <a:gd name="T6" fmla="*/ 40 w 40"/>
                <a:gd name="T7" fmla="*/ 36 h 57"/>
                <a:gd name="T8" fmla="*/ 15 w 40"/>
                <a:gd name="T9" fmla="*/ 0 h 57"/>
              </a:gdLst>
              <a:ahLst/>
              <a:cxnLst>
                <a:cxn ang="0">
                  <a:pos x="T0" y="T1"/>
                </a:cxn>
                <a:cxn ang="0">
                  <a:pos x="T2" y="T3"/>
                </a:cxn>
                <a:cxn ang="0">
                  <a:pos x="T4" y="T5"/>
                </a:cxn>
                <a:cxn ang="0">
                  <a:pos x="T6" y="T7"/>
                </a:cxn>
                <a:cxn ang="0">
                  <a:pos x="T8" y="T9"/>
                </a:cxn>
              </a:cxnLst>
              <a:rect l="0" t="0" r="r" b="b"/>
              <a:pathLst>
                <a:path w="40" h="57">
                  <a:moveTo>
                    <a:pt x="15" y="0"/>
                  </a:moveTo>
                  <a:lnTo>
                    <a:pt x="0" y="32"/>
                  </a:lnTo>
                  <a:lnTo>
                    <a:pt x="18" y="57"/>
                  </a:lnTo>
                  <a:lnTo>
                    <a:pt x="40" y="36"/>
                  </a:lnTo>
                  <a:lnTo>
                    <a:pt x="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173">
              <a:extLst>
                <a:ext uri="{FF2B5EF4-FFF2-40B4-BE49-F238E27FC236}">
                  <a16:creationId xmlns:a16="http://schemas.microsoft.com/office/drawing/2014/main" id="{9D21EA6C-406F-45E9-A609-244437C22C1B}"/>
                </a:ext>
              </a:extLst>
            </p:cNvPr>
            <p:cNvSpPr>
              <a:spLocks/>
            </p:cNvSpPr>
            <p:nvPr/>
          </p:nvSpPr>
          <p:spPr bwMode="auto">
            <a:xfrm>
              <a:off x="4337844" y="3626643"/>
              <a:ext cx="19050" cy="23813"/>
            </a:xfrm>
            <a:custGeom>
              <a:avLst/>
              <a:gdLst>
                <a:gd name="T0" fmla="*/ 18 w 38"/>
                <a:gd name="T1" fmla="*/ 0 h 45"/>
                <a:gd name="T2" fmla="*/ 0 w 38"/>
                <a:gd name="T3" fmla="*/ 17 h 45"/>
                <a:gd name="T4" fmla="*/ 13 w 38"/>
                <a:gd name="T5" fmla="*/ 45 h 45"/>
                <a:gd name="T6" fmla="*/ 38 w 38"/>
                <a:gd name="T7" fmla="*/ 37 h 45"/>
                <a:gd name="T8" fmla="*/ 18 w 38"/>
                <a:gd name="T9" fmla="*/ 0 h 45"/>
              </a:gdLst>
              <a:ahLst/>
              <a:cxnLst>
                <a:cxn ang="0">
                  <a:pos x="T0" y="T1"/>
                </a:cxn>
                <a:cxn ang="0">
                  <a:pos x="T2" y="T3"/>
                </a:cxn>
                <a:cxn ang="0">
                  <a:pos x="T4" y="T5"/>
                </a:cxn>
                <a:cxn ang="0">
                  <a:pos x="T6" y="T7"/>
                </a:cxn>
                <a:cxn ang="0">
                  <a:pos x="T8" y="T9"/>
                </a:cxn>
              </a:cxnLst>
              <a:rect l="0" t="0" r="r" b="b"/>
              <a:pathLst>
                <a:path w="38" h="45">
                  <a:moveTo>
                    <a:pt x="18" y="0"/>
                  </a:moveTo>
                  <a:lnTo>
                    <a:pt x="0" y="17"/>
                  </a:lnTo>
                  <a:lnTo>
                    <a:pt x="13" y="45"/>
                  </a:lnTo>
                  <a:lnTo>
                    <a:pt x="38" y="37"/>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0" name="Freeform 174">
              <a:extLst>
                <a:ext uri="{FF2B5EF4-FFF2-40B4-BE49-F238E27FC236}">
                  <a16:creationId xmlns:a16="http://schemas.microsoft.com/office/drawing/2014/main" id="{4F7F1B80-B3C6-4E67-BADD-1EF2C47CE837}"/>
                </a:ext>
              </a:extLst>
            </p:cNvPr>
            <p:cNvSpPr>
              <a:spLocks/>
            </p:cNvSpPr>
            <p:nvPr/>
          </p:nvSpPr>
          <p:spPr bwMode="auto">
            <a:xfrm>
              <a:off x="4339432" y="3663156"/>
              <a:ext cx="23813" cy="25400"/>
            </a:xfrm>
            <a:custGeom>
              <a:avLst/>
              <a:gdLst>
                <a:gd name="T0" fmla="*/ 12 w 45"/>
                <a:gd name="T1" fmla="*/ 0 h 47"/>
                <a:gd name="T2" fmla="*/ 0 w 45"/>
                <a:gd name="T3" fmla="*/ 25 h 47"/>
                <a:gd name="T4" fmla="*/ 20 w 45"/>
                <a:gd name="T5" fmla="*/ 47 h 47"/>
                <a:gd name="T6" fmla="*/ 45 w 45"/>
                <a:gd name="T7" fmla="*/ 34 h 47"/>
                <a:gd name="T8" fmla="*/ 12 w 45"/>
                <a:gd name="T9" fmla="*/ 0 h 47"/>
              </a:gdLst>
              <a:ahLst/>
              <a:cxnLst>
                <a:cxn ang="0">
                  <a:pos x="T0" y="T1"/>
                </a:cxn>
                <a:cxn ang="0">
                  <a:pos x="T2" y="T3"/>
                </a:cxn>
                <a:cxn ang="0">
                  <a:pos x="T4" y="T5"/>
                </a:cxn>
                <a:cxn ang="0">
                  <a:pos x="T6" y="T7"/>
                </a:cxn>
                <a:cxn ang="0">
                  <a:pos x="T8" y="T9"/>
                </a:cxn>
              </a:cxnLst>
              <a:rect l="0" t="0" r="r" b="b"/>
              <a:pathLst>
                <a:path w="45" h="47">
                  <a:moveTo>
                    <a:pt x="12" y="0"/>
                  </a:moveTo>
                  <a:lnTo>
                    <a:pt x="0" y="25"/>
                  </a:lnTo>
                  <a:lnTo>
                    <a:pt x="20" y="47"/>
                  </a:lnTo>
                  <a:lnTo>
                    <a:pt x="45" y="34"/>
                  </a:lnTo>
                  <a:lnTo>
                    <a:pt x="1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175">
              <a:extLst>
                <a:ext uri="{FF2B5EF4-FFF2-40B4-BE49-F238E27FC236}">
                  <a16:creationId xmlns:a16="http://schemas.microsoft.com/office/drawing/2014/main" id="{C61B9D2D-67CD-4F31-A5E5-F52FA25EEACC}"/>
                </a:ext>
              </a:extLst>
            </p:cNvPr>
            <p:cNvSpPr>
              <a:spLocks/>
            </p:cNvSpPr>
            <p:nvPr/>
          </p:nvSpPr>
          <p:spPr bwMode="auto">
            <a:xfrm>
              <a:off x="4334669" y="3698081"/>
              <a:ext cx="23813" cy="23813"/>
            </a:xfrm>
            <a:custGeom>
              <a:avLst/>
              <a:gdLst>
                <a:gd name="T0" fmla="*/ 22 w 44"/>
                <a:gd name="T1" fmla="*/ 0 h 46"/>
                <a:gd name="T2" fmla="*/ 0 w 44"/>
                <a:gd name="T3" fmla="*/ 15 h 46"/>
                <a:gd name="T4" fmla="*/ 17 w 44"/>
                <a:gd name="T5" fmla="*/ 46 h 46"/>
                <a:gd name="T6" fmla="*/ 44 w 44"/>
                <a:gd name="T7" fmla="*/ 30 h 46"/>
                <a:gd name="T8" fmla="*/ 22 w 44"/>
                <a:gd name="T9" fmla="*/ 0 h 46"/>
              </a:gdLst>
              <a:ahLst/>
              <a:cxnLst>
                <a:cxn ang="0">
                  <a:pos x="T0" y="T1"/>
                </a:cxn>
                <a:cxn ang="0">
                  <a:pos x="T2" y="T3"/>
                </a:cxn>
                <a:cxn ang="0">
                  <a:pos x="T4" y="T5"/>
                </a:cxn>
                <a:cxn ang="0">
                  <a:pos x="T6" y="T7"/>
                </a:cxn>
                <a:cxn ang="0">
                  <a:pos x="T8" y="T9"/>
                </a:cxn>
              </a:cxnLst>
              <a:rect l="0" t="0" r="r" b="b"/>
              <a:pathLst>
                <a:path w="44" h="46">
                  <a:moveTo>
                    <a:pt x="22" y="0"/>
                  </a:moveTo>
                  <a:lnTo>
                    <a:pt x="0" y="15"/>
                  </a:lnTo>
                  <a:lnTo>
                    <a:pt x="17" y="46"/>
                  </a:lnTo>
                  <a:lnTo>
                    <a:pt x="44" y="30"/>
                  </a:lnTo>
                  <a:lnTo>
                    <a:pt x="2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176">
              <a:extLst>
                <a:ext uri="{FF2B5EF4-FFF2-40B4-BE49-F238E27FC236}">
                  <a16:creationId xmlns:a16="http://schemas.microsoft.com/office/drawing/2014/main" id="{89F1AAC1-36D3-4126-BA15-F5B0DA0E0286}"/>
                </a:ext>
              </a:extLst>
            </p:cNvPr>
            <p:cNvSpPr>
              <a:spLocks/>
            </p:cNvSpPr>
            <p:nvPr/>
          </p:nvSpPr>
          <p:spPr bwMode="auto">
            <a:xfrm>
              <a:off x="4321969" y="3728243"/>
              <a:ext cx="22225" cy="17463"/>
            </a:xfrm>
            <a:custGeom>
              <a:avLst/>
              <a:gdLst>
                <a:gd name="T0" fmla="*/ 19 w 40"/>
                <a:gd name="T1" fmla="*/ 0 h 32"/>
                <a:gd name="T2" fmla="*/ 0 w 40"/>
                <a:gd name="T3" fmla="*/ 20 h 32"/>
                <a:gd name="T4" fmla="*/ 7 w 40"/>
                <a:gd name="T5" fmla="*/ 32 h 32"/>
                <a:gd name="T6" fmla="*/ 32 w 40"/>
                <a:gd name="T7" fmla="*/ 32 h 32"/>
                <a:gd name="T8" fmla="*/ 40 w 40"/>
                <a:gd name="T9" fmla="*/ 12 h 32"/>
                <a:gd name="T10" fmla="*/ 19 w 40"/>
                <a:gd name="T11" fmla="*/ 0 h 32"/>
              </a:gdLst>
              <a:ahLst/>
              <a:cxnLst>
                <a:cxn ang="0">
                  <a:pos x="T0" y="T1"/>
                </a:cxn>
                <a:cxn ang="0">
                  <a:pos x="T2" y="T3"/>
                </a:cxn>
                <a:cxn ang="0">
                  <a:pos x="T4" y="T5"/>
                </a:cxn>
                <a:cxn ang="0">
                  <a:pos x="T6" y="T7"/>
                </a:cxn>
                <a:cxn ang="0">
                  <a:pos x="T8" y="T9"/>
                </a:cxn>
                <a:cxn ang="0">
                  <a:pos x="T10" y="T11"/>
                </a:cxn>
              </a:cxnLst>
              <a:rect l="0" t="0" r="r" b="b"/>
              <a:pathLst>
                <a:path w="40" h="32">
                  <a:moveTo>
                    <a:pt x="19" y="0"/>
                  </a:moveTo>
                  <a:lnTo>
                    <a:pt x="0" y="20"/>
                  </a:lnTo>
                  <a:lnTo>
                    <a:pt x="7" y="32"/>
                  </a:lnTo>
                  <a:lnTo>
                    <a:pt x="32" y="32"/>
                  </a:lnTo>
                  <a:lnTo>
                    <a:pt x="40" y="12"/>
                  </a:lnTo>
                  <a:lnTo>
                    <a:pt x="1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177">
              <a:extLst>
                <a:ext uri="{FF2B5EF4-FFF2-40B4-BE49-F238E27FC236}">
                  <a16:creationId xmlns:a16="http://schemas.microsoft.com/office/drawing/2014/main" id="{0AB04D1D-FF8D-4DBF-9E56-E5B3CE58A0B6}"/>
                </a:ext>
              </a:extLst>
            </p:cNvPr>
            <p:cNvSpPr>
              <a:spLocks/>
            </p:cNvSpPr>
            <p:nvPr/>
          </p:nvSpPr>
          <p:spPr bwMode="auto">
            <a:xfrm>
              <a:off x="4328319" y="3759993"/>
              <a:ext cx="31750" cy="41275"/>
            </a:xfrm>
            <a:custGeom>
              <a:avLst/>
              <a:gdLst>
                <a:gd name="T0" fmla="*/ 39 w 61"/>
                <a:gd name="T1" fmla="*/ 0 h 77"/>
                <a:gd name="T2" fmla="*/ 21 w 61"/>
                <a:gd name="T3" fmla="*/ 17 h 77"/>
                <a:gd name="T4" fmla="*/ 0 w 61"/>
                <a:gd name="T5" fmla="*/ 20 h 77"/>
                <a:gd name="T6" fmla="*/ 0 w 61"/>
                <a:gd name="T7" fmla="*/ 44 h 77"/>
                <a:gd name="T8" fmla="*/ 37 w 61"/>
                <a:gd name="T9" fmla="*/ 77 h 77"/>
                <a:gd name="T10" fmla="*/ 52 w 61"/>
                <a:gd name="T11" fmla="*/ 53 h 77"/>
                <a:gd name="T12" fmla="*/ 61 w 61"/>
                <a:gd name="T13" fmla="*/ 25 h 77"/>
                <a:gd name="T14" fmla="*/ 58 w 61"/>
                <a:gd name="T15" fmla="*/ 3 h 77"/>
                <a:gd name="T16" fmla="*/ 39 w 61"/>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77">
                  <a:moveTo>
                    <a:pt x="39" y="0"/>
                  </a:moveTo>
                  <a:lnTo>
                    <a:pt x="21" y="17"/>
                  </a:lnTo>
                  <a:lnTo>
                    <a:pt x="0" y="20"/>
                  </a:lnTo>
                  <a:lnTo>
                    <a:pt x="0" y="44"/>
                  </a:lnTo>
                  <a:lnTo>
                    <a:pt x="37" y="77"/>
                  </a:lnTo>
                  <a:lnTo>
                    <a:pt x="52" y="53"/>
                  </a:lnTo>
                  <a:lnTo>
                    <a:pt x="61" y="25"/>
                  </a:lnTo>
                  <a:lnTo>
                    <a:pt x="58" y="3"/>
                  </a:ln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178">
              <a:extLst>
                <a:ext uri="{FF2B5EF4-FFF2-40B4-BE49-F238E27FC236}">
                  <a16:creationId xmlns:a16="http://schemas.microsoft.com/office/drawing/2014/main" id="{7AA180F4-E780-426D-8038-9F486CA0551E}"/>
                </a:ext>
              </a:extLst>
            </p:cNvPr>
            <p:cNvSpPr>
              <a:spLocks/>
            </p:cNvSpPr>
            <p:nvPr/>
          </p:nvSpPr>
          <p:spPr bwMode="auto">
            <a:xfrm>
              <a:off x="4202907" y="3537743"/>
              <a:ext cx="44450" cy="26988"/>
            </a:xfrm>
            <a:custGeom>
              <a:avLst/>
              <a:gdLst>
                <a:gd name="T0" fmla="*/ 82 w 82"/>
                <a:gd name="T1" fmla="*/ 16 h 53"/>
                <a:gd name="T2" fmla="*/ 36 w 82"/>
                <a:gd name="T3" fmla="*/ 0 h 53"/>
                <a:gd name="T4" fmla="*/ 0 w 82"/>
                <a:gd name="T5" fmla="*/ 23 h 53"/>
                <a:gd name="T6" fmla="*/ 18 w 82"/>
                <a:gd name="T7" fmla="*/ 44 h 53"/>
                <a:gd name="T8" fmla="*/ 80 w 82"/>
                <a:gd name="T9" fmla="*/ 53 h 53"/>
                <a:gd name="T10" fmla="*/ 82 w 82"/>
                <a:gd name="T11" fmla="*/ 16 h 53"/>
              </a:gdLst>
              <a:ahLst/>
              <a:cxnLst>
                <a:cxn ang="0">
                  <a:pos x="T0" y="T1"/>
                </a:cxn>
                <a:cxn ang="0">
                  <a:pos x="T2" y="T3"/>
                </a:cxn>
                <a:cxn ang="0">
                  <a:pos x="T4" y="T5"/>
                </a:cxn>
                <a:cxn ang="0">
                  <a:pos x="T6" y="T7"/>
                </a:cxn>
                <a:cxn ang="0">
                  <a:pos x="T8" y="T9"/>
                </a:cxn>
                <a:cxn ang="0">
                  <a:pos x="T10" y="T11"/>
                </a:cxn>
              </a:cxnLst>
              <a:rect l="0" t="0" r="r" b="b"/>
              <a:pathLst>
                <a:path w="82" h="53">
                  <a:moveTo>
                    <a:pt x="82" y="16"/>
                  </a:moveTo>
                  <a:lnTo>
                    <a:pt x="36" y="0"/>
                  </a:lnTo>
                  <a:lnTo>
                    <a:pt x="0" y="23"/>
                  </a:lnTo>
                  <a:lnTo>
                    <a:pt x="18" y="44"/>
                  </a:lnTo>
                  <a:lnTo>
                    <a:pt x="80" y="53"/>
                  </a:lnTo>
                  <a:lnTo>
                    <a:pt x="82"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5" name="Freeform 179">
              <a:extLst>
                <a:ext uri="{FF2B5EF4-FFF2-40B4-BE49-F238E27FC236}">
                  <a16:creationId xmlns:a16="http://schemas.microsoft.com/office/drawing/2014/main" id="{655D973E-DBAE-4121-868C-40C3F2454064}"/>
                </a:ext>
              </a:extLst>
            </p:cNvPr>
            <p:cNvSpPr>
              <a:spLocks/>
            </p:cNvSpPr>
            <p:nvPr/>
          </p:nvSpPr>
          <p:spPr bwMode="auto">
            <a:xfrm>
              <a:off x="4029869" y="3493293"/>
              <a:ext cx="144463" cy="77788"/>
            </a:xfrm>
            <a:custGeom>
              <a:avLst/>
              <a:gdLst>
                <a:gd name="T0" fmla="*/ 63 w 273"/>
                <a:gd name="T1" fmla="*/ 0 h 145"/>
                <a:gd name="T2" fmla="*/ 35 w 273"/>
                <a:gd name="T3" fmla="*/ 30 h 145"/>
                <a:gd name="T4" fmla="*/ 67 w 273"/>
                <a:gd name="T5" fmla="*/ 43 h 145"/>
                <a:gd name="T6" fmla="*/ 72 w 273"/>
                <a:gd name="T7" fmla="*/ 83 h 145"/>
                <a:gd name="T8" fmla="*/ 0 w 273"/>
                <a:gd name="T9" fmla="*/ 91 h 145"/>
                <a:gd name="T10" fmla="*/ 7 w 273"/>
                <a:gd name="T11" fmla="*/ 129 h 145"/>
                <a:gd name="T12" fmla="*/ 28 w 273"/>
                <a:gd name="T13" fmla="*/ 131 h 145"/>
                <a:gd name="T14" fmla="*/ 41 w 273"/>
                <a:gd name="T15" fmla="*/ 113 h 145"/>
                <a:gd name="T16" fmla="*/ 125 w 273"/>
                <a:gd name="T17" fmla="*/ 116 h 145"/>
                <a:gd name="T18" fmla="*/ 140 w 273"/>
                <a:gd name="T19" fmla="*/ 145 h 145"/>
                <a:gd name="T20" fmla="*/ 159 w 273"/>
                <a:gd name="T21" fmla="*/ 122 h 145"/>
                <a:gd name="T22" fmla="*/ 216 w 273"/>
                <a:gd name="T23" fmla="*/ 107 h 145"/>
                <a:gd name="T24" fmla="*/ 267 w 273"/>
                <a:gd name="T25" fmla="*/ 117 h 145"/>
                <a:gd name="T26" fmla="*/ 273 w 273"/>
                <a:gd name="T27" fmla="*/ 87 h 145"/>
                <a:gd name="T28" fmla="*/ 183 w 273"/>
                <a:gd name="T29" fmla="*/ 28 h 145"/>
                <a:gd name="T30" fmla="*/ 124 w 273"/>
                <a:gd name="T31" fmla="*/ 6 h 145"/>
                <a:gd name="T32" fmla="*/ 63 w 273"/>
                <a:gd name="T3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3" h="145">
                  <a:moveTo>
                    <a:pt x="63" y="0"/>
                  </a:moveTo>
                  <a:lnTo>
                    <a:pt x="35" y="30"/>
                  </a:lnTo>
                  <a:lnTo>
                    <a:pt x="67" y="43"/>
                  </a:lnTo>
                  <a:lnTo>
                    <a:pt x="72" y="83"/>
                  </a:lnTo>
                  <a:lnTo>
                    <a:pt x="0" y="91"/>
                  </a:lnTo>
                  <a:lnTo>
                    <a:pt x="7" y="129"/>
                  </a:lnTo>
                  <a:lnTo>
                    <a:pt x="28" y="131"/>
                  </a:lnTo>
                  <a:lnTo>
                    <a:pt x="41" y="113"/>
                  </a:lnTo>
                  <a:lnTo>
                    <a:pt x="125" y="116"/>
                  </a:lnTo>
                  <a:lnTo>
                    <a:pt x="140" y="145"/>
                  </a:lnTo>
                  <a:lnTo>
                    <a:pt x="159" y="122"/>
                  </a:lnTo>
                  <a:lnTo>
                    <a:pt x="216" y="107"/>
                  </a:lnTo>
                  <a:lnTo>
                    <a:pt x="267" y="117"/>
                  </a:lnTo>
                  <a:lnTo>
                    <a:pt x="273" y="87"/>
                  </a:lnTo>
                  <a:lnTo>
                    <a:pt x="183" y="28"/>
                  </a:lnTo>
                  <a:lnTo>
                    <a:pt x="124" y="6"/>
                  </a:lnTo>
                  <a:lnTo>
                    <a:pt x="6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180">
              <a:extLst>
                <a:ext uri="{FF2B5EF4-FFF2-40B4-BE49-F238E27FC236}">
                  <a16:creationId xmlns:a16="http://schemas.microsoft.com/office/drawing/2014/main" id="{22FC9661-B6E8-4018-9DBD-3D4C4A1B66BD}"/>
                </a:ext>
              </a:extLst>
            </p:cNvPr>
            <p:cNvSpPr>
              <a:spLocks/>
            </p:cNvSpPr>
            <p:nvPr/>
          </p:nvSpPr>
          <p:spPr bwMode="auto">
            <a:xfrm>
              <a:off x="4096544" y="3501231"/>
              <a:ext cx="77788" cy="68263"/>
            </a:xfrm>
            <a:custGeom>
              <a:avLst/>
              <a:gdLst>
                <a:gd name="T0" fmla="*/ 148 w 148"/>
                <a:gd name="T1" fmla="*/ 74 h 131"/>
                <a:gd name="T2" fmla="*/ 58 w 148"/>
                <a:gd name="T3" fmla="*/ 15 h 131"/>
                <a:gd name="T4" fmla="*/ 14 w 148"/>
                <a:gd name="T5" fmla="*/ 0 h 131"/>
                <a:gd name="T6" fmla="*/ 0 w 148"/>
                <a:gd name="T7" fmla="*/ 103 h 131"/>
                <a:gd name="T8" fmla="*/ 15 w 148"/>
                <a:gd name="T9" fmla="*/ 131 h 131"/>
                <a:gd name="T10" fmla="*/ 34 w 148"/>
                <a:gd name="T11" fmla="*/ 109 h 131"/>
                <a:gd name="T12" fmla="*/ 92 w 148"/>
                <a:gd name="T13" fmla="*/ 94 h 131"/>
                <a:gd name="T14" fmla="*/ 142 w 148"/>
                <a:gd name="T15" fmla="*/ 104 h 131"/>
                <a:gd name="T16" fmla="*/ 148 w 148"/>
                <a:gd name="T17"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31">
                  <a:moveTo>
                    <a:pt x="148" y="74"/>
                  </a:moveTo>
                  <a:lnTo>
                    <a:pt x="58" y="15"/>
                  </a:lnTo>
                  <a:lnTo>
                    <a:pt x="14" y="0"/>
                  </a:lnTo>
                  <a:lnTo>
                    <a:pt x="0" y="103"/>
                  </a:lnTo>
                  <a:lnTo>
                    <a:pt x="15" y="131"/>
                  </a:lnTo>
                  <a:lnTo>
                    <a:pt x="34" y="109"/>
                  </a:lnTo>
                  <a:lnTo>
                    <a:pt x="92" y="94"/>
                  </a:lnTo>
                  <a:lnTo>
                    <a:pt x="142" y="104"/>
                  </a:lnTo>
                  <a:lnTo>
                    <a:pt x="148" y="7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181">
              <a:extLst>
                <a:ext uri="{FF2B5EF4-FFF2-40B4-BE49-F238E27FC236}">
                  <a16:creationId xmlns:a16="http://schemas.microsoft.com/office/drawing/2014/main" id="{EB4C71AF-5CA5-427C-A4CC-BEAEEF5DC459}"/>
                </a:ext>
              </a:extLst>
            </p:cNvPr>
            <p:cNvSpPr>
              <a:spLocks/>
            </p:cNvSpPr>
            <p:nvPr/>
          </p:nvSpPr>
          <p:spPr bwMode="auto">
            <a:xfrm>
              <a:off x="4029869" y="3493293"/>
              <a:ext cx="65088" cy="69850"/>
            </a:xfrm>
            <a:custGeom>
              <a:avLst/>
              <a:gdLst>
                <a:gd name="T0" fmla="*/ 63 w 122"/>
                <a:gd name="T1" fmla="*/ 0 h 131"/>
                <a:gd name="T2" fmla="*/ 122 w 122"/>
                <a:gd name="T3" fmla="*/ 6 h 131"/>
                <a:gd name="T4" fmla="*/ 115 w 122"/>
                <a:gd name="T5" fmla="*/ 78 h 131"/>
                <a:gd name="T6" fmla="*/ 109 w 122"/>
                <a:gd name="T7" fmla="*/ 117 h 131"/>
                <a:gd name="T8" fmla="*/ 41 w 122"/>
                <a:gd name="T9" fmla="*/ 113 h 131"/>
                <a:gd name="T10" fmla="*/ 28 w 122"/>
                <a:gd name="T11" fmla="*/ 131 h 131"/>
                <a:gd name="T12" fmla="*/ 7 w 122"/>
                <a:gd name="T13" fmla="*/ 130 h 131"/>
                <a:gd name="T14" fmla="*/ 0 w 122"/>
                <a:gd name="T15" fmla="*/ 91 h 131"/>
                <a:gd name="T16" fmla="*/ 72 w 122"/>
                <a:gd name="T17" fmla="*/ 84 h 131"/>
                <a:gd name="T18" fmla="*/ 68 w 122"/>
                <a:gd name="T19" fmla="*/ 43 h 131"/>
                <a:gd name="T20" fmla="*/ 35 w 122"/>
                <a:gd name="T21" fmla="*/ 30 h 131"/>
                <a:gd name="T22" fmla="*/ 63 w 122"/>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131">
                  <a:moveTo>
                    <a:pt x="63" y="0"/>
                  </a:moveTo>
                  <a:lnTo>
                    <a:pt x="122" y="6"/>
                  </a:lnTo>
                  <a:lnTo>
                    <a:pt x="115" y="78"/>
                  </a:lnTo>
                  <a:lnTo>
                    <a:pt x="109" y="117"/>
                  </a:lnTo>
                  <a:lnTo>
                    <a:pt x="41" y="113"/>
                  </a:lnTo>
                  <a:lnTo>
                    <a:pt x="28" y="131"/>
                  </a:lnTo>
                  <a:lnTo>
                    <a:pt x="7" y="130"/>
                  </a:lnTo>
                  <a:lnTo>
                    <a:pt x="0" y="91"/>
                  </a:lnTo>
                  <a:lnTo>
                    <a:pt x="72" y="84"/>
                  </a:lnTo>
                  <a:lnTo>
                    <a:pt x="68" y="43"/>
                  </a:lnTo>
                  <a:lnTo>
                    <a:pt x="35" y="30"/>
                  </a:lnTo>
                  <a:lnTo>
                    <a:pt x="6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182">
              <a:extLst>
                <a:ext uri="{FF2B5EF4-FFF2-40B4-BE49-F238E27FC236}">
                  <a16:creationId xmlns:a16="http://schemas.microsoft.com/office/drawing/2014/main" id="{BD4369C0-1CE4-49F3-AEED-21EABE298813}"/>
                </a:ext>
              </a:extLst>
            </p:cNvPr>
            <p:cNvSpPr>
              <a:spLocks/>
            </p:cNvSpPr>
            <p:nvPr/>
          </p:nvSpPr>
          <p:spPr bwMode="auto">
            <a:xfrm>
              <a:off x="4533107" y="5601493"/>
              <a:ext cx="47625" cy="34925"/>
            </a:xfrm>
            <a:custGeom>
              <a:avLst/>
              <a:gdLst>
                <a:gd name="T0" fmla="*/ 89 w 89"/>
                <a:gd name="T1" fmla="*/ 5 h 65"/>
                <a:gd name="T2" fmla="*/ 45 w 89"/>
                <a:gd name="T3" fmla="*/ 0 h 65"/>
                <a:gd name="T4" fmla="*/ 0 w 89"/>
                <a:gd name="T5" fmla="*/ 30 h 65"/>
                <a:gd name="T6" fmla="*/ 32 w 89"/>
                <a:gd name="T7" fmla="*/ 65 h 65"/>
                <a:gd name="T8" fmla="*/ 89 w 89"/>
                <a:gd name="T9" fmla="*/ 5 h 65"/>
              </a:gdLst>
              <a:ahLst/>
              <a:cxnLst>
                <a:cxn ang="0">
                  <a:pos x="T0" y="T1"/>
                </a:cxn>
                <a:cxn ang="0">
                  <a:pos x="T2" y="T3"/>
                </a:cxn>
                <a:cxn ang="0">
                  <a:pos x="T4" y="T5"/>
                </a:cxn>
                <a:cxn ang="0">
                  <a:pos x="T6" y="T7"/>
                </a:cxn>
                <a:cxn ang="0">
                  <a:pos x="T8" y="T9"/>
                </a:cxn>
              </a:cxnLst>
              <a:rect l="0" t="0" r="r" b="b"/>
              <a:pathLst>
                <a:path w="89" h="65">
                  <a:moveTo>
                    <a:pt x="89" y="5"/>
                  </a:moveTo>
                  <a:lnTo>
                    <a:pt x="45" y="0"/>
                  </a:lnTo>
                  <a:lnTo>
                    <a:pt x="0" y="30"/>
                  </a:lnTo>
                  <a:lnTo>
                    <a:pt x="32" y="65"/>
                  </a:lnTo>
                  <a:lnTo>
                    <a:pt x="89" y="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183">
              <a:extLst>
                <a:ext uri="{FF2B5EF4-FFF2-40B4-BE49-F238E27FC236}">
                  <a16:creationId xmlns:a16="http://schemas.microsoft.com/office/drawing/2014/main" id="{BFD91B49-D940-47FE-B523-604EDC8169E8}"/>
                </a:ext>
              </a:extLst>
            </p:cNvPr>
            <p:cNvSpPr>
              <a:spLocks/>
            </p:cNvSpPr>
            <p:nvPr/>
          </p:nvSpPr>
          <p:spPr bwMode="auto">
            <a:xfrm>
              <a:off x="4574382" y="5591968"/>
              <a:ext cx="55563" cy="52388"/>
            </a:xfrm>
            <a:custGeom>
              <a:avLst/>
              <a:gdLst>
                <a:gd name="T0" fmla="*/ 58 w 105"/>
                <a:gd name="T1" fmla="*/ 0 h 98"/>
                <a:gd name="T2" fmla="*/ 43 w 105"/>
                <a:gd name="T3" fmla="*/ 48 h 98"/>
                <a:gd name="T4" fmla="*/ 0 w 105"/>
                <a:gd name="T5" fmla="*/ 86 h 98"/>
                <a:gd name="T6" fmla="*/ 3 w 105"/>
                <a:gd name="T7" fmla="*/ 98 h 98"/>
                <a:gd name="T8" fmla="*/ 75 w 105"/>
                <a:gd name="T9" fmla="*/ 70 h 98"/>
                <a:gd name="T10" fmla="*/ 105 w 105"/>
                <a:gd name="T11" fmla="*/ 33 h 98"/>
                <a:gd name="T12" fmla="*/ 58 w 105"/>
                <a:gd name="T13" fmla="*/ 0 h 98"/>
              </a:gdLst>
              <a:ahLst/>
              <a:cxnLst>
                <a:cxn ang="0">
                  <a:pos x="T0" y="T1"/>
                </a:cxn>
                <a:cxn ang="0">
                  <a:pos x="T2" y="T3"/>
                </a:cxn>
                <a:cxn ang="0">
                  <a:pos x="T4" y="T5"/>
                </a:cxn>
                <a:cxn ang="0">
                  <a:pos x="T6" y="T7"/>
                </a:cxn>
                <a:cxn ang="0">
                  <a:pos x="T8" y="T9"/>
                </a:cxn>
                <a:cxn ang="0">
                  <a:pos x="T10" y="T11"/>
                </a:cxn>
                <a:cxn ang="0">
                  <a:pos x="T12" y="T13"/>
                </a:cxn>
              </a:cxnLst>
              <a:rect l="0" t="0" r="r" b="b"/>
              <a:pathLst>
                <a:path w="105" h="98">
                  <a:moveTo>
                    <a:pt x="58" y="0"/>
                  </a:moveTo>
                  <a:lnTo>
                    <a:pt x="43" y="48"/>
                  </a:lnTo>
                  <a:lnTo>
                    <a:pt x="0" y="86"/>
                  </a:lnTo>
                  <a:lnTo>
                    <a:pt x="3" y="98"/>
                  </a:lnTo>
                  <a:lnTo>
                    <a:pt x="75" y="70"/>
                  </a:lnTo>
                  <a:lnTo>
                    <a:pt x="105" y="33"/>
                  </a:lnTo>
                  <a:lnTo>
                    <a:pt x="5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184">
              <a:extLst>
                <a:ext uri="{FF2B5EF4-FFF2-40B4-BE49-F238E27FC236}">
                  <a16:creationId xmlns:a16="http://schemas.microsoft.com/office/drawing/2014/main" id="{2616432A-64D9-4751-AD7F-8461AAD5DD4F}"/>
                </a:ext>
              </a:extLst>
            </p:cNvPr>
            <p:cNvSpPr>
              <a:spLocks/>
            </p:cNvSpPr>
            <p:nvPr/>
          </p:nvSpPr>
          <p:spPr bwMode="auto">
            <a:xfrm>
              <a:off x="5410994" y="2051843"/>
              <a:ext cx="209550" cy="134938"/>
            </a:xfrm>
            <a:custGeom>
              <a:avLst/>
              <a:gdLst>
                <a:gd name="T0" fmla="*/ 118 w 397"/>
                <a:gd name="T1" fmla="*/ 19 h 256"/>
                <a:gd name="T2" fmla="*/ 85 w 397"/>
                <a:gd name="T3" fmla="*/ 0 h 256"/>
                <a:gd name="T4" fmla="*/ 39 w 397"/>
                <a:gd name="T5" fmla="*/ 28 h 256"/>
                <a:gd name="T6" fmla="*/ 0 w 397"/>
                <a:gd name="T7" fmla="*/ 65 h 256"/>
                <a:gd name="T8" fmla="*/ 1 w 397"/>
                <a:gd name="T9" fmla="*/ 85 h 256"/>
                <a:gd name="T10" fmla="*/ 52 w 397"/>
                <a:gd name="T11" fmla="*/ 91 h 256"/>
                <a:gd name="T12" fmla="*/ 49 w 397"/>
                <a:gd name="T13" fmla="*/ 126 h 256"/>
                <a:gd name="T14" fmla="*/ 31 w 397"/>
                <a:gd name="T15" fmla="*/ 145 h 256"/>
                <a:gd name="T16" fmla="*/ 35 w 397"/>
                <a:gd name="T17" fmla="*/ 156 h 256"/>
                <a:gd name="T18" fmla="*/ 86 w 397"/>
                <a:gd name="T19" fmla="*/ 160 h 256"/>
                <a:gd name="T20" fmla="*/ 86 w 397"/>
                <a:gd name="T21" fmla="*/ 218 h 256"/>
                <a:gd name="T22" fmla="*/ 158 w 397"/>
                <a:gd name="T23" fmla="*/ 230 h 256"/>
                <a:gd name="T24" fmla="*/ 201 w 397"/>
                <a:gd name="T25" fmla="*/ 254 h 256"/>
                <a:gd name="T26" fmla="*/ 249 w 397"/>
                <a:gd name="T27" fmla="*/ 256 h 256"/>
                <a:gd name="T28" fmla="*/ 332 w 397"/>
                <a:gd name="T29" fmla="*/ 216 h 256"/>
                <a:gd name="T30" fmla="*/ 396 w 397"/>
                <a:gd name="T31" fmla="*/ 131 h 256"/>
                <a:gd name="T32" fmla="*/ 397 w 397"/>
                <a:gd name="T33" fmla="*/ 74 h 256"/>
                <a:gd name="T34" fmla="*/ 359 w 397"/>
                <a:gd name="T35" fmla="*/ 41 h 256"/>
                <a:gd name="T36" fmla="*/ 326 w 397"/>
                <a:gd name="T37" fmla="*/ 14 h 256"/>
                <a:gd name="T38" fmla="*/ 311 w 397"/>
                <a:gd name="T39" fmla="*/ 24 h 256"/>
                <a:gd name="T40" fmla="*/ 289 w 397"/>
                <a:gd name="T41" fmla="*/ 52 h 256"/>
                <a:gd name="T42" fmla="*/ 263 w 397"/>
                <a:gd name="T43" fmla="*/ 49 h 256"/>
                <a:gd name="T44" fmla="*/ 239 w 397"/>
                <a:gd name="T45" fmla="*/ 22 h 256"/>
                <a:gd name="T46" fmla="*/ 206 w 397"/>
                <a:gd name="T47" fmla="*/ 25 h 256"/>
                <a:gd name="T48" fmla="*/ 159 w 397"/>
                <a:gd name="T49" fmla="*/ 64 h 256"/>
                <a:gd name="T50" fmla="*/ 130 w 397"/>
                <a:gd name="T51" fmla="*/ 95 h 256"/>
                <a:gd name="T52" fmla="*/ 114 w 397"/>
                <a:gd name="T53" fmla="*/ 81 h 256"/>
                <a:gd name="T54" fmla="*/ 113 w 397"/>
                <a:gd name="T55" fmla="*/ 47 h 256"/>
                <a:gd name="T56" fmla="*/ 129 w 397"/>
                <a:gd name="T57" fmla="*/ 36 h 256"/>
                <a:gd name="T58" fmla="*/ 118 w 397"/>
                <a:gd name="T59" fmla="*/ 1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7" h="256">
                  <a:moveTo>
                    <a:pt x="118" y="19"/>
                  </a:moveTo>
                  <a:lnTo>
                    <a:pt x="85" y="0"/>
                  </a:lnTo>
                  <a:lnTo>
                    <a:pt x="39" y="28"/>
                  </a:lnTo>
                  <a:lnTo>
                    <a:pt x="0" y="65"/>
                  </a:lnTo>
                  <a:lnTo>
                    <a:pt x="1" y="85"/>
                  </a:lnTo>
                  <a:lnTo>
                    <a:pt x="52" y="91"/>
                  </a:lnTo>
                  <a:lnTo>
                    <a:pt x="49" y="126"/>
                  </a:lnTo>
                  <a:lnTo>
                    <a:pt x="31" y="145"/>
                  </a:lnTo>
                  <a:lnTo>
                    <a:pt x="35" y="156"/>
                  </a:lnTo>
                  <a:lnTo>
                    <a:pt x="86" y="160"/>
                  </a:lnTo>
                  <a:lnTo>
                    <a:pt x="86" y="218"/>
                  </a:lnTo>
                  <a:lnTo>
                    <a:pt x="158" y="230"/>
                  </a:lnTo>
                  <a:lnTo>
                    <a:pt x="201" y="254"/>
                  </a:lnTo>
                  <a:lnTo>
                    <a:pt x="249" y="256"/>
                  </a:lnTo>
                  <a:lnTo>
                    <a:pt x="332" y="216"/>
                  </a:lnTo>
                  <a:lnTo>
                    <a:pt x="396" y="131"/>
                  </a:lnTo>
                  <a:lnTo>
                    <a:pt x="397" y="74"/>
                  </a:lnTo>
                  <a:lnTo>
                    <a:pt x="359" y="41"/>
                  </a:lnTo>
                  <a:lnTo>
                    <a:pt x="326" y="14"/>
                  </a:lnTo>
                  <a:lnTo>
                    <a:pt x="311" y="24"/>
                  </a:lnTo>
                  <a:lnTo>
                    <a:pt x="289" y="52"/>
                  </a:lnTo>
                  <a:lnTo>
                    <a:pt x="263" y="49"/>
                  </a:lnTo>
                  <a:lnTo>
                    <a:pt x="239" y="22"/>
                  </a:lnTo>
                  <a:lnTo>
                    <a:pt x="206" y="25"/>
                  </a:lnTo>
                  <a:lnTo>
                    <a:pt x="159" y="64"/>
                  </a:lnTo>
                  <a:lnTo>
                    <a:pt x="130" y="95"/>
                  </a:lnTo>
                  <a:lnTo>
                    <a:pt x="114" y="81"/>
                  </a:lnTo>
                  <a:lnTo>
                    <a:pt x="113" y="47"/>
                  </a:lnTo>
                  <a:lnTo>
                    <a:pt x="129" y="36"/>
                  </a:lnTo>
                  <a:lnTo>
                    <a:pt x="118" y="1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1" name="Freeform 185">
              <a:extLst>
                <a:ext uri="{FF2B5EF4-FFF2-40B4-BE49-F238E27FC236}">
                  <a16:creationId xmlns:a16="http://schemas.microsoft.com/office/drawing/2014/main" id="{408FEEC4-5113-436A-B514-DCCCDE5CCA08}"/>
                </a:ext>
              </a:extLst>
            </p:cNvPr>
            <p:cNvSpPr>
              <a:spLocks/>
            </p:cNvSpPr>
            <p:nvPr/>
          </p:nvSpPr>
          <p:spPr bwMode="auto">
            <a:xfrm>
              <a:off x="6096794" y="1472406"/>
              <a:ext cx="157163" cy="142875"/>
            </a:xfrm>
            <a:custGeom>
              <a:avLst/>
              <a:gdLst>
                <a:gd name="T0" fmla="*/ 225 w 299"/>
                <a:gd name="T1" fmla="*/ 29 h 271"/>
                <a:gd name="T2" fmla="*/ 196 w 299"/>
                <a:gd name="T3" fmla="*/ 0 h 271"/>
                <a:gd name="T4" fmla="*/ 133 w 299"/>
                <a:gd name="T5" fmla="*/ 31 h 271"/>
                <a:gd name="T6" fmla="*/ 19 w 299"/>
                <a:gd name="T7" fmla="*/ 31 h 271"/>
                <a:gd name="T8" fmla="*/ 0 w 299"/>
                <a:gd name="T9" fmla="*/ 98 h 271"/>
                <a:gd name="T10" fmla="*/ 65 w 299"/>
                <a:gd name="T11" fmla="*/ 155 h 271"/>
                <a:gd name="T12" fmla="*/ 93 w 299"/>
                <a:gd name="T13" fmla="*/ 151 h 271"/>
                <a:gd name="T14" fmla="*/ 133 w 299"/>
                <a:gd name="T15" fmla="*/ 81 h 271"/>
                <a:gd name="T16" fmla="*/ 168 w 299"/>
                <a:gd name="T17" fmla="*/ 106 h 271"/>
                <a:gd name="T18" fmla="*/ 144 w 299"/>
                <a:gd name="T19" fmla="*/ 155 h 271"/>
                <a:gd name="T20" fmla="*/ 131 w 299"/>
                <a:gd name="T21" fmla="*/ 227 h 271"/>
                <a:gd name="T22" fmla="*/ 160 w 299"/>
                <a:gd name="T23" fmla="*/ 271 h 271"/>
                <a:gd name="T24" fmla="*/ 221 w 299"/>
                <a:gd name="T25" fmla="*/ 169 h 271"/>
                <a:gd name="T26" fmla="*/ 299 w 299"/>
                <a:gd name="T27" fmla="*/ 73 h 271"/>
                <a:gd name="T28" fmla="*/ 268 w 299"/>
                <a:gd name="T29" fmla="*/ 47 h 271"/>
                <a:gd name="T30" fmla="*/ 225 w 299"/>
                <a:gd name="T31" fmla="*/ 2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9" h="271">
                  <a:moveTo>
                    <a:pt x="225" y="29"/>
                  </a:moveTo>
                  <a:lnTo>
                    <a:pt x="196" y="0"/>
                  </a:lnTo>
                  <a:lnTo>
                    <a:pt x="133" y="31"/>
                  </a:lnTo>
                  <a:lnTo>
                    <a:pt x="19" y="31"/>
                  </a:lnTo>
                  <a:lnTo>
                    <a:pt x="0" y="98"/>
                  </a:lnTo>
                  <a:lnTo>
                    <a:pt x="65" y="155"/>
                  </a:lnTo>
                  <a:lnTo>
                    <a:pt x="93" y="151"/>
                  </a:lnTo>
                  <a:lnTo>
                    <a:pt x="133" y="81"/>
                  </a:lnTo>
                  <a:lnTo>
                    <a:pt x="168" y="106"/>
                  </a:lnTo>
                  <a:lnTo>
                    <a:pt x="144" y="155"/>
                  </a:lnTo>
                  <a:lnTo>
                    <a:pt x="131" y="227"/>
                  </a:lnTo>
                  <a:lnTo>
                    <a:pt x="160" y="271"/>
                  </a:lnTo>
                  <a:lnTo>
                    <a:pt x="221" y="169"/>
                  </a:lnTo>
                  <a:lnTo>
                    <a:pt x="299" y="73"/>
                  </a:lnTo>
                  <a:lnTo>
                    <a:pt x="268" y="47"/>
                  </a:lnTo>
                  <a:lnTo>
                    <a:pt x="225" y="2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186">
              <a:extLst>
                <a:ext uri="{FF2B5EF4-FFF2-40B4-BE49-F238E27FC236}">
                  <a16:creationId xmlns:a16="http://schemas.microsoft.com/office/drawing/2014/main" id="{AC2B7AB0-B309-42C2-B98E-20B38176148A}"/>
                </a:ext>
              </a:extLst>
            </p:cNvPr>
            <p:cNvSpPr>
              <a:spLocks/>
            </p:cNvSpPr>
            <p:nvPr/>
          </p:nvSpPr>
          <p:spPr bwMode="auto">
            <a:xfrm>
              <a:off x="6206332" y="1421606"/>
              <a:ext cx="160338" cy="84138"/>
            </a:xfrm>
            <a:custGeom>
              <a:avLst/>
              <a:gdLst>
                <a:gd name="T0" fmla="*/ 49 w 302"/>
                <a:gd name="T1" fmla="*/ 2 h 160"/>
                <a:gd name="T2" fmla="*/ 0 w 302"/>
                <a:gd name="T3" fmla="*/ 49 h 160"/>
                <a:gd name="T4" fmla="*/ 30 w 302"/>
                <a:gd name="T5" fmla="*/ 95 h 160"/>
                <a:gd name="T6" fmla="*/ 84 w 302"/>
                <a:gd name="T7" fmla="*/ 95 h 160"/>
                <a:gd name="T8" fmla="*/ 106 w 302"/>
                <a:gd name="T9" fmla="*/ 126 h 160"/>
                <a:gd name="T10" fmla="*/ 173 w 302"/>
                <a:gd name="T11" fmla="*/ 160 h 160"/>
                <a:gd name="T12" fmla="*/ 249 w 302"/>
                <a:gd name="T13" fmla="*/ 116 h 160"/>
                <a:gd name="T14" fmla="*/ 302 w 302"/>
                <a:gd name="T15" fmla="*/ 71 h 160"/>
                <a:gd name="T16" fmla="*/ 284 w 302"/>
                <a:gd name="T17" fmla="*/ 34 h 160"/>
                <a:gd name="T18" fmla="*/ 232 w 302"/>
                <a:gd name="T19" fmla="*/ 4 h 160"/>
                <a:gd name="T20" fmla="*/ 193 w 302"/>
                <a:gd name="T21" fmla="*/ 38 h 160"/>
                <a:gd name="T22" fmla="*/ 167 w 302"/>
                <a:gd name="T23" fmla="*/ 6 h 160"/>
                <a:gd name="T24" fmla="*/ 147 w 302"/>
                <a:gd name="T25" fmla="*/ 8 h 160"/>
                <a:gd name="T26" fmla="*/ 120 w 302"/>
                <a:gd name="T27" fmla="*/ 65 h 160"/>
                <a:gd name="T28" fmla="*/ 82 w 302"/>
                <a:gd name="T29" fmla="*/ 26 h 160"/>
                <a:gd name="T30" fmla="*/ 78 w 302"/>
                <a:gd name="T31" fmla="*/ 0 h 160"/>
                <a:gd name="T32" fmla="*/ 49 w 302"/>
                <a:gd name="T33" fmla="*/ 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 h="160">
                  <a:moveTo>
                    <a:pt x="49" y="2"/>
                  </a:moveTo>
                  <a:lnTo>
                    <a:pt x="0" y="49"/>
                  </a:lnTo>
                  <a:lnTo>
                    <a:pt x="30" y="95"/>
                  </a:lnTo>
                  <a:lnTo>
                    <a:pt x="84" y="95"/>
                  </a:lnTo>
                  <a:lnTo>
                    <a:pt x="106" y="126"/>
                  </a:lnTo>
                  <a:lnTo>
                    <a:pt x="173" y="160"/>
                  </a:lnTo>
                  <a:lnTo>
                    <a:pt x="249" y="116"/>
                  </a:lnTo>
                  <a:lnTo>
                    <a:pt x="302" y="71"/>
                  </a:lnTo>
                  <a:lnTo>
                    <a:pt x="284" y="34"/>
                  </a:lnTo>
                  <a:lnTo>
                    <a:pt x="232" y="4"/>
                  </a:lnTo>
                  <a:lnTo>
                    <a:pt x="193" y="38"/>
                  </a:lnTo>
                  <a:lnTo>
                    <a:pt x="167" y="6"/>
                  </a:lnTo>
                  <a:lnTo>
                    <a:pt x="147" y="8"/>
                  </a:lnTo>
                  <a:lnTo>
                    <a:pt x="120" y="65"/>
                  </a:lnTo>
                  <a:lnTo>
                    <a:pt x="82" y="26"/>
                  </a:lnTo>
                  <a:lnTo>
                    <a:pt x="78" y="0"/>
                  </a:lnTo>
                  <a:lnTo>
                    <a:pt x="49" y="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187">
              <a:extLst>
                <a:ext uri="{FF2B5EF4-FFF2-40B4-BE49-F238E27FC236}">
                  <a16:creationId xmlns:a16="http://schemas.microsoft.com/office/drawing/2014/main" id="{DAEFDABE-59F8-4E6F-BDBC-AF2A62247875}"/>
                </a:ext>
              </a:extLst>
            </p:cNvPr>
            <p:cNvSpPr>
              <a:spLocks/>
            </p:cNvSpPr>
            <p:nvPr/>
          </p:nvSpPr>
          <p:spPr bwMode="auto">
            <a:xfrm>
              <a:off x="6253957" y="1532731"/>
              <a:ext cx="66675" cy="53975"/>
            </a:xfrm>
            <a:custGeom>
              <a:avLst/>
              <a:gdLst>
                <a:gd name="T0" fmla="*/ 75 w 126"/>
                <a:gd name="T1" fmla="*/ 0 h 102"/>
                <a:gd name="T2" fmla="*/ 34 w 126"/>
                <a:gd name="T3" fmla="*/ 37 h 102"/>
                <a:gd name="T4" fmla="*/ 0 w 126"/>
                <a:gd name="T5" fmla="*/ 63 h 102"/>
                <a:gd name="T6" fmla="*/ 16 w 126"/>
                <a:gd name="T7" fmla="*/ 91 h 102"/>
                <a:gd name="T8" fmla="*/ 49 w 126"/>
                <a:gd name="T9" fmla="*/ 102 h 102"/>
                <a:gd name="T10" fmla="*/ 101 w 126"/>
                <a:gd name="T11" fmla="*/ 77 h 102"/>
                <a:gd name="T12" fmla="*/ 126 w 126"/>
                <a:gd name="T13" fmla="*/ 47 h 102"/>
                <a:gd name="T14" fmla="*/ 103 w 126"/>
                <a:gd name="T15" fmla="*/ 10 h 102"/>
                <a:gd name="T16" fmla="*/ 75 w 126"/>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02">
                  <a:moveTo>
                    <a:pt x="75" y="0"/>
                  </a:moveTo>
                  <a:lnTo>
                    <a:pt x="34" y="37"/>
                  </a:lnTo>
                  <a:lnTo>
                    <a:pt x="0" y="63"/>
                  </a:lnTo>
                  <a:lnTo>
                    <a:pt x="16" y="91"/>
                  </a:lnTo>
                  <a:lnTo>
                    <a:pt x="49" y="102"/>
                  </a:lnTo>
                  <a:lnTo>
                    <a:pt x="101" y="77"/>
                  </a:lnTo>
                  <a:lnTo>
                    <a:pt x="126" y="47"/>
                  </a:lnTo>
                  <a:lnTo>
                    <a:pt x="103" y="10"/>
                  </a:lnTo>
                  <a:lnTo>
                    <a:pt x="7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4" name="Freeform 188">
              <a:extLst>
                <a:ext uri="{FF2B5EF4-FFF2-40B4-BE49-F238E27FC236}">
                  <a16:creationId xmlns:a16="http://schemas.microsoft.com/office/drawing/2014/main" id="{4D196FBA-EB4C-4DBA-ADEA-B3AC1228BF14}"/>
                </a:ext>
              </a:extLst>
            </p:cNvPr>
            <p:cNvSpPr>
              <a:spLocks/>
            </p:cNvSpPr>
            <p:nvPr/>
          </p:nvSpPr>
          <p:spPr bwMode="auto">
            <a:xfrm>
              <a:off x="6696869" y="1350168"/>
              <a:ext cx="73025" cy="65088"/>
            </a:xfrm>
            <a:custGeom>
              <a:avLst/>
              <a:gdLst>
                <a:gd name="T0" fmla="*/ 110 w 139"/>
                <a:gd name="T1" fmla="*/ 0 h 125"/>
                <a:gd name="T2" fmla="*/ 139 w 139"/>
                <a:gd name="T3" fmla="*/ 12 h 125"/>
                <a:gd name="T4" fmla="*/ 118 w 139"/>
                <a:gd name="T5" fmla="*/ 48 h 125"/>
                <a:gd name="T6" fmla="*/ 118 w 139"/>
                <a:gd name="T7" fmla="*/ 98 h 125"/>
                <a:gd name="T8" fmla="*/ 74 w 139"/>
                <a:gd name="T9" fmla="*/ 125 h 125"/>
                <a:gd name="T10" fmla="*/ 27 w 139"/>
                <a:gd name="T11" fmla="*/ 125 h 125"/>
                <a:gd name="T12" fmla="*/ 0 w 139"/>
                <a:gd name="T13" fmla="*/ 92 h 125"/>
                <a:gd name="T14" fmla="*/ 3 w 139"/>
                <a:gd name="T15" fmla="*/ 57 h 125"/>
                <a:gd name="T16" fmla="*/ 25 w 139"/>
                <a:gd name="T17" fmla="*/ 29 h 125"/>
                <a:gd name="T18" fmla="*/ 65 w 139"/>
                <a:gd name="T19" fmla="*/ 29 h 125"/>
                <a:gd name="T20" fmla="*/ 110 w 139"/>
                <a:gd name="T2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125">
                  <a:moveTo>
                    <a:pt x="110" y="0"/>
                  </a:moveTo>
                  <a:lnTo>
                    <a:pt x="139" y="12"/>
                  </a:lnTo>
                  <a:lnTo>
                    <a:pt x="118" y="48"/>
                  </a:lnTo>
                  <a:lnTo>
                    <a:pt x="118" y="98"/>
                  </a:lnTo>
                  <a:lnTo>
                    <a:pt x="74" y="125"/>
                  </a:lnTo>
                  <a:lnTo>
                    <a:pt x="27" y="125"/>
                  </a:lnTo>
                  <a:lnTo>
                    <a:pt x="0" y="92"/>
                  </a:lnTo>
                  <a:lnTo>
                    <a:pt x="3" y="57"/>
                  </a:lnTo>
                  <a:lnTo>
                    <a:pt x="25" y="29"/>
                  </a:lnTo>
                  <a:lnTo>
                    <a:pt x="65" y="29"/>
                  </a:lnTo>
                  <a:lnTo>
                    <a:pt x="11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189">
              <a:extLst>
                <a:ext uri="{FF2B5EF4-FFF2-40B4-BE49-F238E27FC236}">
                  <a16:creationId xmlns:a16="http://schemas.microsoft.com/office/drawing/2014/main" id="{84400B84-E944-4272-A594-3676A93D5133}"/>
                </a:ext>
              </a:extLst>
            </p:cNvPr>
            <p:cNvSpPr>
              <a:spLocks/>
            </p:cNvSpPr>
            <p:nvPr/>
          </p:nvSpPr>
          <p:spPr bwMode="auto">
            <a:xfrm>
              <a:off x="6814344" y="1324768"/>
              <a:ext cx="55563" cy="38100"/>
            </a:xfrm>
            <a:custGeom>
              <a:avLst/>
              <a:gdLst>
                <a:gd name="T0" fmla="*/ 0 w 107"/>
                <a:gd name="T1" fmla="*/ 15 h 74"/>
                <a:gd name="T2" fmla="*/ 0 w 107"/>
                <a:gd name="T3" fmla="*/ 51 h 74"/>
                <a:gd name="T4" fmla="*/ 30 w 107"/>
                <a:gd name="T5" fmla="*/ 74 h 74"/>
                <a:gd name="T6" fmla="*/ 71 w 107"/>
                <a:gd name="T7" fmla="*/ 72 h 74"/>
                <a:gd name="T8" fmla="*/ 107 w 107"/>
                <a:gd name="T9" fmla="*/ 39 h 74"/>
                <a:gd name="T10" fmla="*/ 107 w 107"/>
                <a:gd name="T11" fmla="*/ 15 h 74"/>
                <a:gd name="T12" fmla="*/ 75 w 107"/>
                <a:gd name="T13" fmla="*/ 15 h 74"/>
                <a:gd name="T14" fmla="*/ 48 w 107"/>
                <a:gd name="T15" fmla="*/ 24 h 74"/>
                <a:gd name="T16" fmla="*/ 27 w 107"/>
                <a:gd name="T17" fmla="*/ 0 h 74"/>
                <a:gd name="T18" fmla="*/ 0 w 107"/>
                <a:gd name="T19" fmla="*/ 1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74">
                  <a:moveTo>
                    <a:pt x="0" y="15"/>
                  </a:moveTo>
                  <a:lnTo>
                    <a:pt x="0" y="51"/>
                  </a:lnTo>
                  <a:lnTo>
                    <a:pt x="30" y="74"/>
                  </a:lnTo>
                  <a:lnTo>
                    <a:pt x="71" y="72"/>
                  </a:lnTo>
                  <a:lnTo>
                    <a:pt x="107" y="39"/>
                  </a:lnTo>
                  <a:lnTo>
                    <a:pt x="107" y="15"/>
                  </a:lnTo>
                  <a:lnTo>
                    <a:pt x="75" y="15"/>
                  </a:lnTo>
                  <a:lnTo>
                    <a:pt x="48" y="24"/>
                  </a:lnTo>
                  <a:lnTo>
                    <a:pt x="27" y="0"/>
                  </a:lnTo>
                  <a:lnTo>
                    <a:pt x="0"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190">
              <a:extLst>
                <a:ext uri="{FF2B5EF4-FFF2-40B4-BE49-F238E27FC236}">
                  <a16:creationId xmlns:a16="http://schemas.microsoft.com/office/drawing/2014/main" id="{9832C6E4-BB82-4619-8D44-757CBCB137C3}"/>
                </a:ext>
              </a:extLst>
            </p:cNvPr>
            <p:cNvSpPr>
              <a:spLocks/>
            </p:cNvSpPr>
            <p:nvPr/>
          </p:nvSpPr>
          <p:spPr bwMode="auto">
            <a:xfrm>
              <a:off x="6903244" y="1326356"/>
              <a:ext cx="47625" cy="33338"/>
            </a:xfrm>
            <a:custGeom>
              <a:avLst/>
              <a:gdLst>
                <a:gd name="T0" fmla="*/ 0 w 91"/>
                <a:gd name="T1" fmla="*/ 15 h 63"/>
                <a:gd name="T2" fmla="*/ 20 w 91"/>
                <a:gd name="T3" fmla="*/ 60 h 63"/>
                <a:gd name="T4" fmla="*/ 62 w 91"/>
                <a:gd name="T5" fmla="*/ 63 h 63"/>
                <a:gd name="T6" fmla="*/ 91 w 91"/>
                <a:gd name="T7" fmla="*/ 51 h 63"/>
                <a:gd name="T8" fmla="*/ 76 w 91"/>
                <a:gd name="T9" fmla="*/ 9 h 63"/>
                <a:gd name="T10" fmla="*/ 38 w 91"/>
                <a:gd name="T11" fmla="*/ 0 h 63"/>
                <a:gd name="T12" fmla="*/ 0 w 91"/>
                <a:gd name="T13" fmla="*/ 15 h 63"/>
              </a:gdLst>
              <a:ahLst/>
              <a:cxnLst>
                <a:cxn ang="0">
                  <a:pos x="T0" y="T1"/>
                </a:cxn>
                <a:cxn ang="0">
                  <a:pos x="T2" y="T3"/>
                </a:cxn>
                <a:cxn ang="0">
                  <a:pos x="T4" y="T5"/>
                </a:cxn>
                <a:cxn ang="0">
                  <a:pos x="T6" y="T7"/>
                </a:cxn>
                <a:cxn ang="0">
                  <a:pos x="T8" y="T9"/>
                </a:cxn>
                <a:cxn ang="0">
                  <a:pos x="T10" y="T11"/>
                </a:cxn>
                <a:cxn ang="0">
                  <a:pos x="T12" y="T13"/>
                </a:cxn>
              </a:cxnLst>
              <a:rect l="0" t="0" r="r" b="b"/>
              <a:pathLst>
                <a:path w="91" h="63">
                  <a:moveTo>
                    <a:pt x="0" y="15"/>
                  </a:moveTo>
                  <a:lnTo>
                    <a:pt x="20" y="60"/>
                  </a:lnTo>
                  <a:lnTo>
                    <a:pt x="62" y="63"/>
                  </a:lnTo>
                  <a:lnTo>
                    <a:pt x="91" y="51"/>
                  </a:lnTo>
                  <a:lnTo>
                    <a:pt x="76" y="9"/>
                  </a:lnTo>
                  <a:lnTo>
                    <a:pt x="38" y="0"/>
                  </a:lnTo>
                  <a:lnTo>
                    <a:pt x="0"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7" name="Freeform 191">
              <a:extLst>
                <a:ext uri="{FF2B5EF4-FFF2-40B4-BE49-F238E27FC236}">
                  <a16:creationId xmlns:a16="http://schemas.microsoft.com/office/drawing/2014/main" id="{2FB32E23-9CFA-4C70-BEC2-D584DF92BCE9}"/>
                </a:ext>
              </a:extLst>
            </p:cNvPr>
            <p:cNvSpPr>
              <a:spLocks/>
            </p:cNvSpPr>
            <p:nvPr/>
          </p:nvSpPr>
          <p:spPr bwMode="auto">
            <a:xfrm>
              <a:off x="6958807" y="1299368"/>
              <a:ext cx="38100" cy="52388"/>
            </a:xfrm>
            <a:custGeom>
              <a:avLst/>
              <a:gdLst>
                <a:gd name="T0" fmla="*/ 62 w 72"/>
                <a:gd name="T1" fmla="*/ 6 h 99"/>
                <a:gd name="T2" fmla="*/ 30 w 72"/>
                <a:gd name="T3" fmla="*/ 0 h 99"/>
                <a:gd name="T4" fmla="*/ 0 w 72"/>
                <a:gd name="T5" fmla="*/ 31 h 99"/>
                <a:gd name="T6" fmla="*/ 16 w 72"/>
                <a:gd name="T7" fmla="*/ 57 h 99"/>
                <a:gd name="T8" fmla="*/ 25 w 72"/>
                <a:gd name="T9" fmla="*/ 99 h 99"/>
                <a:gd name="T10" fmla="*/ 62 w 72"/>
                <a:gd name="T11" fmla="*/ 69 h 99"/>
                <a:gd name="T12" fmla="*/ 72 w 72"/>
                <a:gd name="T13" fmla="*/ 37 h 99"/>
                <a:gd name="T14" fmla="*/ 62 w 72"/>
                <a:gd name="T15" fmla="*/ 6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99">
                  <a:moveTo>
                    <a:pt x="62" y="6"/>
                  </a:moveTo>
                  <a:lnTo>
                    <a:pt x="30" y="0"/>
                  </a:lnTo>
                  <a:lnTo>
                    <a:pt x="0" y="31"/>
                  </a:lnTo>
                  <a:lnTo>
                    <a:pt x="16" y="57"/>
                  </a:lnTo>
                  <a:lnTo>
                    <a:pt x="25" y="99"/>
                  </a:lnTo>
                  <a:lnTo>
                    <a:pt x="62" y="69"/>
                  </a:lnTo>
                  <a:lnTo>
                    <a:pt x="72" y="37"/>
                  </a:lnTo>
                  <a:lnTo>
                    <a:pt x="62" y="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192">
              <a:extLst>
                <a:ext uri="{FF2B5EF4-FFF2-40B4-BE49-F238E27FC236}">
                  <a16:creationId xmlns:a16="http://schemas.microsoft.com/office/drawing/2014/main" id="{0C4FA7D9-44AA-4CDE-ACB1-D55B601A746E}"/>
                </a:ext>
              </a:extLst>
            </p:cNvPr>
            <p:cNvSpPr>
              <a:spLocks/>
            </p:cNvSpPr>
            <p:nvPr/>
          </p:nvSpPr>
          <p:spPr bwMode="auto">
            <a:xfrm>
              <a:off x="6896894" y="1469231"/>
              <a:ext cx="223838" cy="220663"/>
            </a:xfrm>
            <a:custGeom>
              <a:avLst/>
              <a:gdLst>
                <a:gd name="T0" fmla="*/ 359 w 424"/>
                <a:gd name="T1" fmla="*/ 0 h 416"/>
                <a:gd name="T2" fmla="*/ 351 w 424"/>
                <a:gd name="T3" fmla="*/ 42 h 416"/>
                <a:gd name="T4" fmla="*/ 283 w 424"/>
                <a:gd name="T5" fmla="*/ 101 h 416"/>
                <a:gd name="T6" fmla="*/ 138 w 424"/>
                <a:gd name="T7" fmla="*/ 133 h 416"/>
                <a:gd name="T8" fmla="*/ 20 w 424"/>
                <a:gd name="T9" fmla="*/ 330 h 416"/>
                <a:gd name="T10" fmla="*/ 0 w 424"/>
                <a:gd name="T11" fmla="*/ 386 h 416"/>
                <a:gd name="T12" fmla="*/ 117 w 424"/>
                <a:gd name="T13" fmla="*/ 416 h 416"/>
                <a:gd name="T14" fmla="*/ 135 w 424"/>
                <a:gd name="T15" fmla="*/ 344 h 416"/>
                <a:gd name="T16" fmla="*/ 170 w 424"/>
                <a:gd name="T17" fmla="*/ 235 h 416"/>
                <a:gd name="T18" fmla="*/ 262 w 424"/>
                <a:gd name="T19" fmla="*/ 187 h 416"/>
                <a:gd name="T20" fmla="*/ 339 w 424"/>
                <a:gd name="T21" fmla="*/ 128 h 416"/>
                <a:gd name="T22" fmla="*/ 395 w 424"/>
                <a:gd name="T23" fmla="*/ 104 h 416"/>
                <a:gd name="T24" fmla="*/ 424 w 424"/>
                <a:gd name="T25" fmla="*/ 104 h 416"/>
                <a:gd name="T26" fmla="*/ 424 w 424"/>
                <a:gd name="T27" fmla="*/ 24 h 416"/>
                <a:gd name="T28" fmla="*/ 359 w 424"/>
                <a:gd name="T29"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4" h="416">
                  <a:moveTo>
                    <a:pt x="359" y="0"/>
                  </a:moveTo>
                  <a:lnTo>
                    <a:pt x="351" y="42"/>
                  </a:lnTo>
                  <a:lnTo>
                    <a:pt x="283" y="101"/>
                  </a:lnTo>
                  <a:lnTo>
                    <a:pt x="138" y="133"/>
                  </a:lnTo>
                  <a:lnTo>
                    <a:pt x="20" y="330"/>
                  </a:lnTo>
                  <a:lnTo>
                    <a:pt x="0" y="386"/>
                  </a:lnTo>
                  <a:lnTo>
                    <a:pt x="117" y="416"/>
                  </a:lnTo>
                  <a:lnTo>
                    <a:pt x="135" y="344"/>
                  </a:lnTo>
                  <a:lnTo>
                    <a:pt x="170" y="235"/>
                  </a:lnTo>
                  <a:lnTo>
                    <a:pt x="262" y="187"/>
                  </a:lnTo>
                  <a:lnTo>
                    <a:pt x="339" y="128"/>
                  </a:lnTo>
                  <a:lnTo>
                    <a:pt x="395" y="104"/>
                  </a:lnTo>
                  <a:lnTo>
                    <a:pt x="424" y="104"/>
                  </a:lnTo>
                  <a:lnTo>
                    <a:pt x="424" y="24"/>
                  </a:lnTo>
                  <a:lnTo>
                    <a:pt x="35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193">
              <a:extLst>
                <a:ext uri="{FF2B5EF4-FFF2-40B4-BE49-F238E27FC236}">
                  <a16:creationId xmlns:a16="http://schemas.microsoft.com/office/drawing/2014/main" id="{CD3FC17B-49C3-4DC4-80A4-4E22696C8529}"/>
                </a:ext>
              </a:extLst>
            </p:cNvPr>
            <p:cNvSpPr>
              <a:spLocks/>
            </p:cNvSpPr>
            <p:nvPr/>
          </p:nvSpPr>
          <p:spPr bwMode="auto">
            <a:xfrm>
              <a:off x="6858794" y="1699418"/>
              <a:ext cx="119063" cy="115888"/>
            </a:xfrm>
            <a:custGeom>
              <a:avLst/>
              <a:gdLst>
                <a:gd name="T0" fmla="*/ 50 w 224"/>
                <a:gd name="T1" fmla="*/ 0 h 220"/>
                <a:gd name="T2" fmla="*/ 130 w 224"/>
                <a:gd name="T3" fmla="*/ 9 h 220"/>
                <a:gd name="T4" fmla="*/ 156 w 224"/>
                <a:gd name="T5" fmla="*/ 101 h 220"/>
                <a:gd name="T6" fmla="*/ 224 w 224"/>
                <a:gd name="T7" fmla="*/ 172 h 220"/>
                <a:gd name="T8" fmla="*/ 201 w 224"/>
                <a:gd name="T9" fmla="*/ 220 h 220"/>
                <a:gd name="T10" fmla="*/ 159 w 224"/>
                <a:gd name="T11" fmla="*/ 220 h 220"/>
                <a:gd name="T12" fmla="*/ 120 w 224"/>
                <a:gd name="T13" fmla="*/ 175 h 220"/>
                <a:gd name="T14" fmla="*/ 35 w 224"/>
                <a:gd name="T15" fmla="*/ 172 h 220"/>
                <a:gd name="T16" fmla="*/ 0 w 224"/>
                <a:gd name="T17" fmla="*/ 125 h 220"/>
                <a:gd name="T18" fmla="*/ 0 w 224"/>
                <a:gd name="T19" fmla="*/ 92 h 220"/>
                <a:gd name="T20" fmla="*/ 53 w 224"/>
                <a:gd name="T21" fmla="*/ 77 h 220"/>
                <a:gd name="T22" fmla="*/ 50 w 224"/>
                <a:gd name="T2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 h="220">
                  <a:moveTo>
                    <a:pt x="50" y="0"/>
                  </a:moveTo>
                  <a:lnTo>
                    <a:pt x="130" y="9"/>
                  </a:lnTo>
                  <a:lnTo>
                    <a:pt x="156" y="101"/>
                  </a:lnTo>
                  <a:lnTo>
                    <a:pt x="224" y="172"/>
                  </a:lnTo>
                  <a:lnTo>
                    <a:pt x="201" y="220"/>
                  </a:lnTo>
                  <a:lnTo>
                    <a:pt x="159" y="220"/>
                  </a:lnTo>
                  <a:lnTo>
                    <a:pt x="120" y="175"/>
                  </a:lnTo>
                  <a:lnTo>
                    <a:pt x="35" y="172"/>
                  </a:lnTo>
                  <a:lnTo>
                    <a:pt x="0" y="125"/>
                  </a:lnTo>
                  <a:lnTo>
                    <a:pt x="0" y="92"/>
                  </a:lnTo>
                  <a:lnTo>
                    <a:pt x="53" y="77"/>
                  </a:lnTo>
                  <a:lnTo>
                    <a:pt x="5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0" name="Freeform 194">
              <a:extLst>
                <a:ext uri="{FF2B5EF4-FFF2-40B4-BE49-F238E27FC236}">
                  <a16:creationId xmlns:a16="http://schemas.microsoft.com/office/drawing/2014/main" id="{50498DFB-CA9F-4C73-8484-98622DE9B844}"/>
                </a:ext>
              </a:extLst>
            </p:cNvPr>
            <p:cNvSpPr>
              <a:spLocks/>
            </p:cNvSpPr>
            <p:nvPr/>
          </p:nvSpPr>
          <p:spPr bwMode="auto">
            <a:xfrm>
              <a:off x="7449344" y="1150143"/>
              <a:ext cx="95250" cy="57150"/>
            </a:xfrm>
            <a:custGeom>
              <a:avLst/>
              <a:gdLst>
                <a:gd name="T0" fmla="*/ 180 w 180"/>
                <a:gd name="T1" fmla="*/ 25 h 108"/>
                <a:gd name="T2" fmla="*/ 141 w 180"/>
                <a:gd name="T3" fmla="*/ 0 h 108"/>
                <a:gd name="T4" fmla="*/ 98 w 180"/>
                <a:gd name="T5" fmla="*/ 0 h 108"/>
                <a:gd name="T6" fmla="*/ 88 w 180"/>
                <a:gd name="T7" fmla="*/ 28 h 108"/>
                <a:gd name="T8" fmla="*/ 41 w 180"/>
                <a:gd name="T9" fmla="*/ 54 h 108"/>
                <a:gd name="T10" fmla="*/ 5 w 180"/>
                <a:gd name="T11" fmla="*/ 66 h 108"/>
                <a:gd name="T12" fmla="*/ 0 w 180"/>
                <a:gd name="T13" fmla="*/ 102 h 108"/>
                <a:gd name="T14" fmla="*/ 82 w 180"/>
                <a:gd name="T15" fmla="*/ 108 h 108"/>
                <a:gd name="T16" fmla="*/ 180 w 180"/>
                <a:gd name="T17"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108">
                  <a:moveTo>
                    <a:pt x="180" y="25"/>
                  </a:moveTo>
                  <a:lnTo>
                    <a:pt x="141" y="0"/>
                  </a:lnTo>
                  <a:lnTo>
                    <a:pt x="98" y="0"/>
                  </a:lnTo>
                  <a:lnTo>
                    <a:pt x="88" y="28"/>
                  </a:lnTo>
                  <a:lnTo>
                    <a:pt x="41" y="54"/>
                  </a:lnTo>
                  <a:lnTo>
                    <a:pt x="5" y="66"/>
                  </a:lnTo>
                  <a:lnTo>
                    <a:pt x="0" y="102"/>
                  </a:lnTo>
                  <a:lnTo>
                    <a:pt x="82" y="108"/>
                  </a:lnTo>
                  <a:lnTo>
                    <a:pt x="180" y="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1" name="Freeform 195">
              <a:extLst>
                <a:ext uri="{FF2B5EF4-FFF2-40B4-BE49-F238E27FC236}">
                  <a16:creationId xmlns:a16="http://schemas.microsoft.com/office/drawing/2014/main" id="{11768A0E-4869-4CBC-9D69-0B46A72346AE}"/>
                </a:ext>
              </a:extLst>
            </p:cNvPr>
            <p:cNvSpPr>
              <a:spLocks/>
            </p:cNvSpPr>
            <p:nvPr/>
          </p:nvSpPr>
          <p:spPr bwMode="auto">
            <a:xfrm>
              <a:off x="7516019" y="1167606"/>
              <a:ext cx="112713" cy="79375"/>
            </a:xfrm>
            <a:custGeom>
              <a:avLst/>
              <a:gdLst>
                <a:gd name="T0" fmla="*/ 145 w 213"/>
                <a:gd name="T1" fmla="*/ 0 h 151"/>
                <a:gd name="T2" fmla="*/ 124 w 213"/>
                <a:gd name="T3" fmla="*/ 43 h 151"/>
                <a:gd name="T4" fmla="*/ 83 w 213"/>
                <a:gd name="T5" fmla="*/ 41 h 151"/>
                <a:gd name="T6" fmla="*/ 18 w 213"/>
                <a:gd name="T7" fmla="*/ 89 h 151"/>
                <a:gd name="T8" fmla="*/ 0 w 213"/>
                <a:gd name="T9" fmla="*/ 148 h 151"/>
                <a:gd name="T10" fmla="*/ 42 w 213"/>
                <a:gd name="T11" fmla="*/ 148 h 151"/>
                <a:gd name="T12" fmla="*/ 65 w 213"/>
                <a:gd name="T13" fmla="*/ 109 h 151"/>
                <a:gd name="T14" fmla="*/ 122 w 213"/>
                <a:gd name="T15" fmla="*/ 151 h 151"/>
                <a:gd name="T16" fmla="*/ 175 w 213"/>
                <a:gd name="T17" fmla="*/ 127 h 151"/>
                <a:gd name="T18" fmla="*/ 213 w 213"/>
                <a:gd name="T19" fmla="*/ 94 h 151"/>
                <a:gd name="T20" fmla="*/ 198 w 213"/>
                <a:gd name="T21" fmla="*/ 43 h 151"/>
                <a:gd name="T22" fmla="*/ 178 w 213"/>
                <a:gd name="T23" fmla="*/ 8 h 151"/>
                <a:gd name="T24" fmla="*/ 145 w 213"/>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151">
                  <a:moveTo>
                    <a:pt x="145" y="0"/>
                  </a:moveTo>
                  <a:lnTo>
                    <a:pt x="124" y="43"/>
                  </a:lnTo>
                  <a:lnTo>
                    <a:pt x="83" y="41"/>
                  </a:lnTo>
                  <a:lnTo>
                    <a:pt x="18" y="89"/>
                  </a:lnTo>
                  <a:lnTo>
                    <a:pt x="0" y="148"/>
                  </a:lnTo>
                  <a:lnTo>
                    <a:pt x="42" y="148"/>
                  </a:lnTo>
                  <a:lnTo>
                    <a:pt x="65" y="109"/>
                  </a:lnTo>
                  <a:lnTo>
                    <a:pt x="122" y="151"/>
                  </a:lnTo>
                  <a:lnTo>
                    <a:pt x="175" y="127"/>
                  </a:lnTo>
                  <a:lnTo>
                    <a:pt x="213" y="94"/>
                  </a:lnTo>
                  <a:lnTo>
                    <a:pt x="198" y="43"/>
                  </a:lnTo>
                  <a:lnTo>
                    <a:pt x="178" y="8"/>
                  </a:lnTo>
                  <a:lnTo>
                    <a:pt x="14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2" name="Freeform 196">
              <a:extLst>
                <a:ext uri="{FF2B5EF4-FFF2-40B4-BE49-F238E27FC236}">
                  <a16:creationId xmlns:a16="http://schemas.microsoft.com/office/drawing/2014/main" id="{A1F20C50-D51D-4E66-9187-358683C23613}"/>
                </a:ext>
              </a:extLst>
            </p:cNvPr>
            <p:cNvSpPr>
              <a:spLocks/>
            </p:cNvSpPr>
            <p:nvPr/>
          </p:nvSpPr>
          <p:spPr bwMode="auto">
            <a:xfrm>
              <a:off x="7638257" y="1185068"/>
              <a:ext cx="82550" cy="84138"/>
            </a:xfrm>
            <a:custGeom>
              <a:avLst/>
              <a:gdLst>
                <a:gd name="T0" fmla="*/ 0 w 157"/>
                <a:gd name="T1" fmla="*/ 0 h 161"/>
                <a:gd name="T2" fmla="*/ 22 w 157"/>
                <a:gd name="T3" fmla="*/ 83 h 161"/>
                <a:gd name="T4" fmla="*/ 53 w 157"/>
                <a:gd name="T5" fmla="*/ 161 h 161"/>
                <a:gd name="T6" fmla="*/ 89 w 157"/>
                <a:gd name="T7" fmla="*/ 99 h 161"/>
                <a:gd name="T8" fmla="*/ 157 w 157"/>
                <a:gd name="T9" fmla="*/ 83 h 161"/>
                <a:gd name="T10" fmla="*/ 157 w 157"/>
                <a:gd name="T11" fmla="*/ 39 h 161"/>
                <a:gd name="T12" fmla="*/ 113 w 157"/>
                <a:gd name="T13" fmla="*/ 6 h 161"/>
                <a:gd name="T14" fmla="*/ 0 w 157"/>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161">
                  <a:moveTo>
                    <a:pt x="0" y="0"/>
                  </a:moveTo>
                  <a:lnTo>
                    <a:pt x="22" y="83"/>
                  </a:lnTo>
                  <a:lnTo>
                    <a:pt x="53" y="161"/>
                  </a:lnTo>
                  <a:lnTo>
                    <a:pt x="89" y="99"/>
                  </a:lnTo>
                  <a:lnTo>
                    <a:pt x="157" y="83"/>
                  </a:lnTo>
                  <a:lnTo>
                    <a:pt x="157" y="39"/>
                  </a:lnTo>
                  <a:lnTo>
                    <a:pt x="113" y="6"/>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3" name="Freeform 197">
              <a:extLst>
                <a:ext uri="{FF2B5EF4-FFF2-40B4-BE49-F238E27FC236}">
                  <a16:creationId xmlns:a16="http://schemas.microsoft.com/office/drawing/2014/main" id="{6755EA14-E936-4CE2-9156-4B954A59461B}"/>
                </a:ext>
              </a:extLst>
            </p:cNvPr>
            <p:cNvSpPr>
              <a:spLocks/>
            </p:cNvSpPr>
            <p:nvPr/>
          </p:nvSpPr>
          <p:spPr bwMode="auto">
            <a:xfrm>
              <a:off x="8365332" y="1073943"/>
              <a:ext cx="174625" cy="141288"/>
            </a:xfrm>
            <a:custGeom>
              <a:avLst/>
              <a:gdLst>
                <a:gd name="T0" fmla="*/ 243 w 331"/>
                <a:gd name="T1" fmla="*/ 76 h 267"/>
                <a:gd name="T2" fmla="*/ 290 w 331"/>
                <a:gd name="T3" fmla="*/ 115 h 267"/>
                <a:gd name="T4" fmla="*/ 322 w 331"/>
                <a:gd name="T5" fmla="*/ 101 h 267"/>
                <a:gd name="T6" fmla="*/ 331 w 331"/>
                <a:gd name="T7" fmla="*/ 47 h 267"/>
                <a:gd name="T8" fmla="*/ 264 w 331"/>
                <a:gd name="T9" fmla="*/ 0 h 267"/>
                <a:gd name="T10" fmla="*/ 221 w 331"/>
                <a:gd name="T11" fmla="*/ 29 h 267"/>
                <a:gd name="T12" fmla="*/ 113 w 331"/>
                <a:gd name="T13" fmla="*/ 39 h 267"/>
                <a:gd name="T14" fmla="*/ 113 w 331"/>
                <a:gd name="T15" fmla="*/ 87 h 267"/>
                <a:gd name="T16" fmla="*/ 0 w 331"/>
                <a:gd name="T17" fmla="*/ 89 h 267"/>
                <a:gd name="T18" fmla="*/ 0 w 331"/>
                <a:gd name="T19" fmla="*/ 169 h 267"/>
                <a:gd name="T20" fmla="*/ 133 w 331"/>
                <a:gd name="T21" fmla="*/ 267 h 267"/>
                <a:gd name="T22" fmla="*/ 167 w 331"/>
                <a:gd name="T23" fmla="*/ 243 h 267"/>
                <a:gd name="T24" fmla="*/ 159 w 331"/>
                <a:gd name="T25" fmla="*/ 173 h 267"/>
                <a:gd name="T26" fmla="*/ 244 w 331"/>
                <a:gd name="T27" fmla="*/ 151 h 267"/>
                <a:gd name="T28" fmla="*/ 226 w 331"/>
                <a:gd name="T29" fmla="*/ 119 h 267"/>
                <a:gd name="T30" fmla="*/ 195 w 331"/>
                <a:gd name="T31" fmla="*/ 87 h 267"/>
                <a:gd name="T32" fmla="*/ 243 w 331"/>
                <a:gd name="T33" fmla="*/ 7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1" h="267">
                  <a:moveTo>
                    <a:pt x="243" y="76"/>
                  </a:moveTo>
                  <a:lnTo>
                    <a:pt x="290" y="115"/>
                  </a:lnTo>
                  <a:lnTo>
                    <a:pt x="322" y="101"/>
                  </a:lnTo>
                  <a:lnTo>
                    <a:pt x="331" y="47"/>
                  </a:lnTo>
                  <a:lnTo>
                    <a:pt x="264" y="0"/>
                  </a:lnTo>
                  <a:lnTo>
                    <a:pt x="221" y="29"/>
                  </a:lnTo>
                  <a:lnTo>
                    <a:pt x="113" y="39"/>
                  </a:lnTo>
                  <a:lnTo>
                    <a:pt x="113" y="87"/>
                  </a:lnTo>
                  <a:lnTo>
                    <a:pt x="0" y="89"/>
                  </a:lnTo>
                  <a:lnTo>
                    <a:pt x="0" y="169"/>
                  </a:lnTo>
                  <a:lnTo>
                    <a:pt x="133" y="267"/>
                  </a:lnTo>
                  <a:lnTo>
                    <a:pt x="167" y="243"/>
                  </a:lnTo>
                  <a:lnTo>
                    <a:pt x="159" y="173"/>
                  </a:lnTo>
                  <a:lnTo>
                    <a:pt x="244" y="151"/>
                  </a:lnTo>
                  <a:lnTo>
                    <a:pt x="226" y="119"/>
                  </a:lnTo>
                  <a:lnTo>
                    <a:pt x="195" y="87"/>
                  </a:lnTo>
                  <a:lnTo>
                    <a:pt x="243" y="7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4" name="Freeform 198">
              <a:extLst>
                <a:ext uri="{FF2B5EF4-FFF2-40B4-BE49-F238E27FC236}">
                  <a16:creationId xmlns:a16="http://schemas.microsoft.com/office/drawing/2014/main" id="{3A983495-3AFE-46FD-B868-A85E30322255}"/>
                </a:ext>
              </a:extLst>
            </p:cNvPr>
            <p:cNvSpPr>
              <a:spLocks/>
            </p:cNvSpPr>
            <p:nvPr/>
          </p:nvSpPr>
          <p:spPr bwMode="auto">
            <a:xfrm>
              <a:off x="8559007" y="1064418"/>
              <a:ext cx="96838" cy="55563"/>
            </a:xfrm>
            <a:custGeom>
              <a:avLst/>
              <a:gdLst>
                <a:gd name="T0" fmla="*/ 0 w 182"/>
                <a:gd name="T1" fmla="*/ 48 h 106"/>
                <a:gd name="T2" fmla="*/ 30 w 182"/>
                <a:gd name="T3" fmla="*/ 106 h 106"/>
                <a:gd name="T4" fmla="*/ 149 w 182"/>
                <a:gd name="T5" fmla="*/ 93 h 106"/>
                <a:gd name="T6" fmla="*/ 182 w 182"/>
                <a:gd name="T7" fmla="*/ 51 h 106"/>
                <a:gd name="T8" fmla="*/ 175 w 182"/>
                <a:gd name="T9" fmla="*/ 13 h 106"/>
                <a:gd name="T10" fmla="*/ 142 w 182"/>
                <a:gd name="T11" fmla="*/ 0 h 106"/>
                <a:gd name="T12" fmla="*/ 111 w 182"/>
                <a:gd name="T13" fmla="*/ 23 h 106"/>
                <a:gd name="T14" fmla="*/ 22 w 182"/>
                <a:gd name="T15" fmla="*/ 42 h 106"/>
                <a:gd name="T16" fmla="*/ 0 w 182"/>
                <a:gd name="T17" fmla="*/ 4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106">
                  <a:moveTo>
                    <a:pt x="0" y="48"/>
                  </a:moveTo>
                  <a:lnTo>
                    <a:pt x="30" y="106"/>
                  </a:lnTo>
                  <a:lnTo>
                    <a:pt x="149" y="93"/>
                  </a:lnTo>
                  <a:lnTo>
                    <a:pt x="182" y="51"/>
                  </a:lnTo>
                  <a:lnTo>
                    <a:pt x="175" y="13"/>
                  </a:lnTo>
                  <a:lnTo>
                    <a:pt x="142" y="0"/>
                  </a:lnTo>
                  <a:lnTo>
                    <a:pt x="111" y="23"/>
                  </a:lnTo>
                  <a:lnTo>
                    <a:pt x="22" y="42"/>
                  </a:lnTo>
                  <a:lnTo>
                    <a:pt x="0" y="4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199">
              <a:extLst>
                <a:ext uri="{FF2B5EF4-FFF2-40B4-BE49-F238E27FC236}">
                  <a16:creationId xmlns:a16="http://schemas.microsoft.com/office/drawing/2014/main" id="{69DF2684-9736-4527-8865-D07D3AF9B0A8}"/>
                </a:ext>
              </a:extLst>
            </p:cNvPr>
            <p:cNvSpPr>
              <a:spLocks/>
            </p:cNvSpPr>
            <p:nvPr/>
          </p:nvSpPr>
          <p:spPr bwMode="auto">
            <a:xfrm>
              <a:off x="8497094" y="1200943"/>
              <a:ext cx="74613" cy="46038"/>
            </a:xfrm>
            <a:custGeom>
              <a:avLst/>
              <a:gdLst>
                <a:gd name="T0" fmla="*/ 110 w 142"/>
                <a:gd name="T1" fmla="*/ 15 h 87"/>
                <a:gd name="T2" fmla="*/ 50 w 142"/>
                <a:gd name="T3" fmla="*/ 0 h 87"/>
                <a:gd name="T4" fmla="*/ 15 w 142"/>
                <a:gd name="T5" fmla="*/ 36 h 87"/>
                <a:gd name="T6" fmla="*/ 0 w 142"/>
                <a:gd name="T7" fmla="*/ 87 h 87"/>
                <a:gd name="T8" fmla="*/ 81 w 142"/>
                <a:gd name="T9" fmla="*/ 79 h 87"/>
                <a:gd name="T10" fmla="*/ 142 w 142"/>
                <a:gd name="T11" fmla="*/ 47 h 87"/>
                <a:gd name="T12" fmla="*/ 110 w 142"/>
                <a:gd name="T13" fmla="*/ 15 h 87"/>
              </a:gdLst>
              <a:ahLst/>
              <a:cxnLst>
                <a:cxn ang="0">
                  <a:pos x="T0" y="T1"/>
                </a:cxn>
                <a:cxn ang="0">
                  <a:pos x="T2" y="T3"/>
                </a:cxn>
                <a:cxn ang="0">
                  <a:pos x="T4" y="T5"/>
                </a:cxn>
                <a:cxn ang="0">
                  <a:pos x="T6" y="T7"/>
                </a:cxn>
                <a:cxn ang="0">
                  <a:pos x="T8" y="T9"/>
                </a:cxn>
                <a:cxn ang="0">
                  <a:pos x="T10" y="T11"/>
                </a:cxn>
                <a:cxn ang="0">
                  <a:pos x="T12" y="T13"/>
                </a:cxn>
              </a:cxnLst>
              <a:rect l="0" t="0" r="r" b="b"/>
              <a:pathLst>
                <a:path w="142" h="87">
                  <a:moveTo>
                    <a:pt x="110" y="15"/>
                  </a:moveTo>
                  <a:lnTo>
                    <a:pt x="50" y="0"/>
                  </a:lnTo>
                  <a:lnTo>
                    <a:pt x="15" y="36"/>
                  </a:lnTo>
                  <a:lnTo>
                    <a:pt x="0" y="87"/>
                  </a:lnTo>
                  <a:lnTo>
                    <a:pt x="81" y="79"/>
                  </a:lnTo>
                  <a:lnTo>
                    <a:pt x="142" y="47"/>
                  </a:lnTo>
                  <a:lnTo>
                    <a:pt x="110"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200">
              <a:extLst>
                <a:ext uri="{FF2B5EF4-FFF2-40B4-BE49-F238E27FC236}">
                  <a16:creationId xmlns:a16="http://schemas.microsoft.com/office/drawing/2014/main" id="{376BA357-01E1-4C71-97AE-4927ABA16BC2}"/>
                </a:ext>
              </a:extLst>
            </p:cNvPr>
            <p:cNvSpPr>
              <a:spLocks/>
            </p:cNvSpPr>
            <p:nvPr/>
          </p:nvSpPr>
          <p:spPr bwMode="auto">
            <a:xfrm>
              <a:off x="9300369" y="1024731"/>
              <a:ext cx="80963" cy="58738"/>
            </a:xfrm>
            <a:custGeom>
              <a:avLst/>
              <a:gdLst>
                <a:gd name="T0" fmla="*/ 137 w 152"/>
                <a:gd name="T1" fmla="*/ 15 h 112"/>
                <a:gd name="T2" fmla="*/ 86 w 152"/>
                <a:gd name="T3" fmla="*/ 0 h 112"/>
                <a:gd name="T4" fmla="*/ 29 w 152"/>
                <a:gd name="T5" fmla="*/ 21 h 112"/>
                <a:gd name="T6" fmla="*/ 0 w 152"/>
                <a:gd name="T7" fmla="*/ 64 h 112"/>
                <a:gd name="T8" fmla="*/ 36 w 152"/>
                <a:gd name="T9" fmla="*/ 112 h 112"/>
                <a:gd name="T10" fmla="*/ 133 w 152"/>
                <a:gd name="T11" fmla="*/ 70 h 112"/>
                <a:gd name="T12" fmla="*/ 152 w 152"/>
                <a:gd name="T13" fmla="*/ 48 h 112"/>
                <a:gd name="T14" fmla="*/ 137 w 152"/>
                <a:gd name="T15" fmla="*/ 15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2">
                  <a:moveTo>
                    <a:pt x="137" y="15"/>
                  </a:moveTo>
                  <a:lnTo>
                    <a:pt x="86" y="0"/>
                  </a:lnTo>
                  <a:lnTo>
                    <a:pt x="29" y="21"/>
                  </a:lnTo>
                  <a:lnTo>
                    <a:pt x="0" y="64"/>
                  </a:lnTo>
                  <a:lnTo>
                    <a:pt x="36" y="112"/>
                  </a:lnTo>
                  <a:lnTo>
                    <a:pt x="133" y="70"/>
                  </a:lnTo>
                  <a:lnTo>
                    <a:pt x="152" y="48"/>
                  </a:lnTo>
                  <a:lnTo>
                    <a:pt x="137"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201">
              <a:extLst>
                <a:ext uri="{FF2B5EF4-FFF2-40B4-BE49-F238E27FC236}">
                  <a16:creationId xmlns:a16="http://schemas.microsoft.com/office/drawing/2014/main" id="{1C0B3DCB-6844-4D60-AA38-C5D6231B8ABF}"/>
                </a:ext>
              </a:extLst>
            </p:cNvPr>
            <p:cNvSpPr>
              <a:spLocks/>
            </p:cNvSpPr>
            <p:nvPr/>
          </p:nvSpPr>
          <p:spPr bwMode="auto">
            <a:xfrm>
              <a:off x="7949407" y="3783806"/>
              <a:ext cx="57150" cy="103188"/>
            </a:xfrm>
            <a:custGeom>
              <a:avLst/>
              <a:gdLst>
                <a:gd name="T0" fmla="*/ 16 w 109"/>
                <a:gd name="T1" fmla="*/ 13 h 195"/>
                <a:gd name="T2" fmla="*/ 20 w 109"/>
                <a:gd name="T3" fmla="*/ 59 h 195"/>
                <a:gd name="T4" fmla="*/ 25 w 109"/>
                <a:gd name="T5" fmla="*/ 93 h 195"/>
                <a:gd name="T6" fmla="*/ 0 w 109"/>
                <a:gd name="T7" fmla="*/ 98 h 195"/>
                <a:gd name="T8" fmla="*/ 12 w 109"/>
                <a:gd name="T9" fmla="*/ 174 h 195"/>
                <a:gd name="T10" fmla="*/ 51 w 109"/>
                <a:gd name="T11" fmla="*/ 195 h 195"/>
                <a:gd name="T12" fmla="*/ 109 w 109"/>
                <a:gd name="T13" fmla="*/ 161 h 195"/>
                <a:gd name="T14" fmla="*/ 92 w 109"/>
                <a:gd name="T15" fmla="*/ 81 h 195"/>
                <a:gd name="T16" fmla="*/ 96 w 109"/>
                <a:gd name="T17" fmla="*/ 51 h 195"/>
                <a:gd name="T18" fmla="*/ 42 w 109"/>
                <a:gd name="T19" fmla="*/ 0 h 195"/>
                <a:gd name="T20" fmla="*/ 16 w 109"/>
                <a:gd name="T21" fmla="*/ 1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5">
                  <a:moveTo>
                    <a:pt x="16" y="13"/>
                  </a:moveTo>
                  <a:lnTo>
                    <a:pt x="20" y="59"/>
                  </a:lnTo>
                  <a:lnTo>
                    <a:pt x="25" y="93"/>
                  </a:lnTo>
                  <a:lnTo>
                    <a:pt x="0" y="98"/>
                  </a:lnTo>
                  <a:lnTo>
                    <a:pt x="12" y="174"/>
                  </a:lnTo>
                  <a:lnTo>
                    <a:pt x="51" y="195"/>
                  </a:lnTo>
                  <a:lnTo>
                    <a:pt x="109" y="161"/>
                  </a:lnTo>
                  <a:lnTo>
                    <a:pt x="92" y="81"/>
                  </a:lnTo>
                  <a:lnTo>
                    <a:pt x="96" y="51"/>
                  </a:lnTo>
                  <a:lnTo>
                    <a:pt x="42" y="0"/>
                  </a:lnTo>
                  <a:lnTo>
                    <a:pt x="16" y="1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202">
              <a:extLst>
                <a:ext uri="{FF2B5EF4-FFF2-40B4-BE49-F238E27FC236}">
                  <a16:creationId xmlns:a16="http://schemas.microsoft.com/office/drawing/2014/main" id="{8A9E60CA-EB09-466E-9DFA-14EE6603B7E5}"/>
                </a:ext>
              </a:extLst>
            </p:cNvPr>
            <p:cNvSpPr>
              <a:spLocks/>
            </p:cNvSpPr>
            <p:nvPr/>
          </p:nvSpPr>
          <p:spPr bwMode="auto">
            <a:xfrm>
              <a:off x="3791744" y="3396456"/>
              <a:ext cx="241300" cy="115888"/>
            </a:xfrm>
            <a:custGeom>
              <a:avLst/>
              <a:gdLst>
                <a:gd name="T0" fmla="*/ 0 w 457"/>
                <a:gd name="T1" fmla="*/ 40 h 221"/>
                <a:gd name="T2" fmla="*/ 0 w 457"/>
                <a:gd name="T3" fmla="*/ 62 h 221"/>
                <a:gd name="T4" fmla="*/ 91 w 457"/>
                <a:gd name="T5" fmla="*/ 63 h 221"/>
                <a:gd name="T6" fmla="*/ 134 w 457"/>
                <a:gd name="T7" fmla="*/ 39 h 221"/>
                <a:gd name="T8" fmla="*/ 140 w 457"/>
                <a:gd name="T9" fmla="*/ 57 h 221"/>
                <a:gd name="T10" fmla="*/ 230 w 457"/>
                <a:gd name="T11" fmla="*/ 79 h 221"/>
                <a:gd name="T12" fmla="*/ 310 w 457"/>
                <a:gd name="T13" fmla="*/ 151 h 221"/>
                <a:gd name="T14" fmla="*/ 292 w 457"/>
                <a:gd name="T15" fmla="*/ 175 h 221"/>
                <a:gd name="T16" fmla="*/ 295 w 457"/>
                <a:gd name="T17" fmla="*/ 205 h 221"/>
                <a:gd name="T18" fmla="*/ 361 w 457"/>
                <a:gd name="T19" fmla="*/ 221 h 221"/>
                <a:gd name="T20" fmla="*/ 428 w 457"/>
                <a:gd name="T21" fmla="*/ 190 h 221"/>
                <a:gd name="T22" fmla="*/ 457 w 457"/>
                <a:gd name="T23" fmla="*/ 161 h 221"/>
                <a:gd name="T24" fmla="*/ 414 w 457"/>
                <a:gd name="T25" fmla="*/ 139 h 221"/>
                <a:gd name="T26" fmla="*/ 192 w 457"/>
                <a:gd name="T27" fmla="*/ 9 h 221"/>
                <a:gd name="T28" fmla="*/ 115 w 457"/>
                <a:gd name="T29" fmla="*/ 0 h 221"/>
                <a:gd name="T30" fmla="*/ 0 w 457"/>
                <a:gd name="T31" fmla="*/ 4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7" h="221">
                  <a:moveTo>
                    <a:pt x="0" y="40"/>
                  </a:moveTo>
                  <a:lnTo>
                    <a:pt x="0" y="62"/>
                  </a:lnTo>
                  <a:lnTo>
                    <a:pt x="91" y="63"/>
                  </a:lnTo>
                  <a:lnTo>
                    <a:pt x="134" y="39"/>
                  </a:lnTo>
                  <a:lnTo>
                    <a:pt x="140" y="57"/>
                  </a:lnTo>
                  <a:lnTo>
                    <a:pt x="230" y="79"/>
                  </a:lnTo>
                  <a:lnTo>
                    <a:pt x="310" y="151"/>
                  </a:lnTo>
                  <a:lnTo>
                    <a:pt x="292" y="175"/>
                  </a:lnTo>
                  <a:lnTo>
                    <a:pt x="295" y="205"/>
                  </a:lnTo>
                  <a:lnTo>
                    <a:pt x="361" y="221"/>
                  </a:lnTo>
                  <a:lnTo>
                    <a:pt x="428" y="190"/>
                  </a:lnTo>
                  <a:lnTo>
                    <a:pt x="457" y="161"/>
                  </a:lnTo>
                  <a:lnTo>
                    <a:pt x="414" y="139"/>
                  </a:lnTo>
                  <a:lnTo>
                    <a:pt x="192" y="9"/>
                  </a:lnTo>
                  <a:lnTo>
                    <a:pt x="115" y="0"/>
                  </a:lnTo>
                  <a:lnTo>
                    <a:pt x="0" y="4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9" name="Freeform 203">
              <a:extLst>
                <a:ext uri="{FF2B5EF4-FFF2-40B4-BE49-F238E27FC236}">
                  <a16:creationId xmlns:a16="http://schemas.microsoft.com/office/drawing/2014/main" id="{AB01A2CF-5CE6-4C50-9AFE-AAF140E298B2}"/>
                </a:ext>
              </a:extLst>
            </p:cNvPr>
            <p:cNvSpPr>
              <a:spLocks/>
            </p:cNvSpPr>
            <p:nvPr/>
          </p:nvSpPr>
          <p:spPr bwMode="auto">
            <a:xfrm>
              <a:off x="3948907" y="3342481"/>
              <a:ext cx="23813" cy="36513"/>
            </a:xfrm>
            <a:custGeom>
              <a:avLst/>
              <a:gdLst>
                <a:gd name="T0" fmla="*/ 23 w 44"/>
                <a:gd name="T1" fmla="*/ 7 h 69"/>
                <a:gd name="T2" fmla="*/ 2 w 44"/>
                <a:gd name="T3" fmla="*/ 0 h 69"/>
                <a:gd name="T4" fmla="*/ 0 w 44"/>
                <a:gd name="T5" fmla="*/ 42 h 69"/>
                <a:gd name="T6" fmla="*/ 26 w 44"/>
                <a:gd name="T7" fmla="*/ 69 h 69"/>
                <a:gd name="T8" fmla="*/ 44 w 44"/>
                <a:gd name="T9" fmla="*/ 42 h 69"/>
                <a:gd name="T10" fmla="*/ 23 w 44"/>
                <a:gd name="T11" fmla="*/ 7 h 69"/>
              </a:gdLst>
              <a:ahLst/>
              <a:cxnLst>
                <a:cxn ang="0">
                  <a:pos x="T0" y="T1"/>
                </a:cxn>
                <a:cxn ang="0">
                  <a:pos x="T2" y="T3"/>
                </a:cxn>
                <a:cxn ang="0">
                  <a:pos x="T4" y="T5"/>
                </a:cxn>
                <a:cxn ang="0">
                  <a:pos x="T6" y="T7"/>
                </a:cxn>
                <a:cxn ang="0">
                  <a:pos x="T8" y="T9"/>
                </a:cxn>
                <a:cxn ang="0">
                  <a:pos x="T10" y="T11"/>
                </a:cxn>
              </a:cxnLst>
              <a:rect l="0" t="0" r="r" b="b"/>
              <a:pathLst>
                <a:path w="44" h="69">
                  <a:moveTo>
                    <a:pt x="23" y="7"/>
                  </a:moveTo>
                  <a:lnTo>
                    <a:pt x="2" y="0"/>
                  </a:lnTo>
                  <a:lnTo>
                    <a:pt x="0" y="42"/>
                  </a:lnTo>
                  <a:lnTo>
                    <a:pt x="26" y="69"/>
                  </a:lnTo>
                  <a:lnTo>
                    <a:pt x="44" y="42"/>
                  </a:lnTo>
                  <a:lnTo>
                    <a:pt x="23" y="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204">
              <a:extLst>
                <a:ext uri="{FF2B5EF4-FFF2-40B4-BE49-F238E27FC236}">
                  <a16:creationId xmlns:a16="http://schemas.microsoft.com/office/drawing/2014/main" id="{52EC6092-21C5-4647-947F-580D1D11738A}"/>
                </a:ext>
              </a:extLst>
            </p:cNvPr>
            <p:cNvSpPr>
              <a:spLocks/>
            </p:cNvSpPr>
            <p:nvPr/>
          </p:nvSpPr>
          <p:spPr bwMode="auto">
            <a:xfrm>
              <a:off x="3967957" y="3380581"/>
              <a:ext cx="23813" cy="30163"/>
            </a:xfrm>
            <a:custGeom>
              <a:avLst/>
              <a:gdLst>
                <a:gd name="T0" fmla="*/ 31 w 44"/>
                <a:gd name="T1" fmla="*/ 0 h 57"/>
                <a:gd name="T2" fmla="*/ 0 w 44"/>
                <a:gd name="T3" fmla="*/ 16 h 57"/>
                <a:gd name="T4" fmla="*/ 29 w 44"/>
                <a:gd name="T5" fmla="*/ 57 h 57"/>
                <a:gd name="T6" fmla="*/ 44 w 44"/>
                <a:gd name="T7" fmla="*/ 37 h 57"/>
                <a:gd name="T8" fmla="*/ 31 w 44"/>
                <a:gd name="T9" fmla="*/ 0 h 57"/>
              </a:gdLst>
              <a:ahLst/>
              <a:cxnLst>
                <a:cxn ang="0">
                  <a:pos x="T0" y="T1"/>
                </a:cxn>
                <a:cxn ang="0">
                  <a:pos x="T2" y="T3"/>
                </a:cxn>
                <a:cxn ang="0">
                  <a:pos x="T4" y="T5"/>
                </a:cxn>
                <a:cxn ang="0">
                  <a:pos x="T6" y="T7"/>
                </a:cxn>
                <a:cxn ang="0">
                  <a:pos x="T8" y="T9"/>
                </a:cxn>
              </a:cxnLst>
              <a:rect l="0" t="0" r="r" b="b"/>
              <a:pathLst>
                <a:path w="44" h="57">
                  <a:moveTo>
                    <a:pt x="31" y="0"/>
                  </a:moveTo>
                  <a:lnTo>
                    <a:pt x="0" y="16"/>
                  </a:lnTo>
                  <a:lnTo>
                    <a:pt x="29" y="57"/>
                  </a:lnTo>
                  <a:lnTo>
                    <a:pt x="44" y="37"/>
                  </a:lnTo>
                  <a:lnTo>
                    <a:pt x="3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1" name="Freeform 205">
              <a:extLst>
                <a:ext uri="{FF2B5EF4-FFF2-40B4-BE49-F238E27FC236}">
                  <a16:creationId xmlns:a16="http://schemas.microsoft.com/office/drawing/2014/main" id="{EFFFA415-5645-4373-B923-4F4FAB57DE65}"/>
                </a:ext>
              </a:extLst>
            </p:cNvPr>
            <p:cNvSpPr>
              <a:spLocks/>
            </p:cNvSpPr>
            <p:nvPr/>
          </p:nvSpPr>
          <p:spPr bwMode="auto">
            <a:xfrm>
              <a:off x="4018757" y="3396456"/>
              <a:ext cx="23813" cy="26988"/>
            </a:xfrm>
            <a:custGeom>
              <a:avLst/>
              <a:gdLst>
                <a:gd name="T0" fmla="*/ 31 w 46"/>
                <a:gd name="T1" fmla="*/ 1 h 53"/>
                <a:gd name="T2" fmla="*/ 0 w 46"/>
                <a:gd name="T3" fmla="*/ 0 h 53"/>
                <a:gd name="T4" fmla="*/ 3 w 46"/>
                <a:gd name="T5" fmla="*/ 20 h 53"/>
                <a:gd name="T6" fmla="*/ 26 w 46"/>
                <a:gd name="T7" fmla="*/ 53 h 53"/>
                <a:gd name="T8" fmla="*/ 46 w 46"/>
                <a:gd name="T9" fmla="*/ 32 h 53"/>
                <a:gd name="T10" fmla="*/ 31 w 46"/>
                <a:gd name="T11" fmla="*/ 1 h 53"/>
              </a:gdLst>
              <a:ahLst/>
              <a:cxnLst>
                <a:cxn ang="0">
                  <a:pos x="T0" y="T1"/>
                </a:cxn>
                <a:cxn ang="0">
                  <a:pos x="T2" y="T3"/>
                </a:cxn>
                <a:cxn ang="0">
                  <a:pos x="T4" y="T5"/>
                </a:cxn>
                <a:cxn ang="0">
                  <a:pos x="T6" y="T7"/>
                </a:cxn>
                <a:cxn ang="0">
                  <a:pos x="T8" y="T9"/>
                </a:cxn>
                <a:cxn ang="0">
                  <a:pos x="T10" y="T11"/>
                </a:cxn>
              </a:cxnLst>
              <a:rect l="0" t="0" r="r" b="b"/>
              <a:pathLst>
                <a:path w="46" h="53">
                  <a:moveTo>
                    <a:pt x="31" y="1"/>
                  </a:moveTo>
                  <a:lnTo>
                    <a:pt x="0" y="0"/>
                  </a:lnTo>
                  <a:lnTo>
                    <a:pt x="3" y="20"/>
                  </a:lnTo>
                  <a:lnTo>
                    <a:pt x="26" y="53"/>
                  </a:lnTo>
                  <a:lnTo>
                    <a:pt x="46" y="32"/>
                  </a:lnTo>
                  <a:lnTo>
                    <a:pt x="31" y="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207">
              <a:extLst>
                <a:ext uri="{FF2B5EF4-FFF2-40B4-BE49-F238E27FC236}">
                  <a16:creationId xmlns:a16="http://schemas.microsoft.com/office/drawing/2014/main" id="{360C88A4-B00C-408A-92D7-615A08AA7D50}"/>
                </a:ext>
              </a:extLst>
            </p:cNvPr>
            <p:cNvSpPr>
              <a:spLocks/>
            </p:cNvSpPr>
            <p:nvPr/>
          </p:nvSpPr>
          <p:spPr bwMode="auto">
            <a:xfrm>
              <a:off x="3994944" y="3332956"/>
              <a:ext cx="33338" cy="42863"/>
            </a:xfrm>
            <a:custGeom>
              <a:avLst/>
              <a:gdLst>
                <a:gd name="T0" fmla="*/ 62 w 62"/>
                <a:gd name="T1" fmla="*/ 82 h 82"/>
                <a:gd name="T2" fmla="*/ 10 w 62"/>
                <a:gd name="T3" fmla="*/ 61 h 82"/>
                <a:gd name="T4" fmla="*/ 0 w 62"/>
                <a:gd name="T5" fmla="*/ 9 h 82"/>
                <a:gd name="T6" fmla="*/ 20 w 62"/>
                <a:gd name="T7" fmla="*/ 0 h 82"/>
                <a:gd name="T8" fmla="*/ 40 w 62"/>
                <a:gd name="T9" fmla="*/ 40 h 82"/>
                <a:gd name="T10" fmla="*/ 60 w 62"/>
                <a:gd name="T11" fmla="*/ 56 h 82"/>
                <a:gd name="T12" fmla="*/ 62 w 62"/>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62" h="82">
                  <a:moveTo>
                    <a:pt x="62" y="82"/>
                  </a:moveTo>
                  <a:lnTo>
                    <a:pt x="10" y="61"/>
                  </a:lnTo>
                  <a:lnTo>
                    <a:pt x="0" y="9"/>
                  </a:lnTo>
                  <a:lnTo>
                    <a:pt x="20" y="0"/>
                  </a:lnTo>
                  <a:lnTo>
                    <a:pt x="40" y="40"/>
                  </a:lnTo>
                  <a:lnTo>
                    <a:pt x="60" y="56"/>
                  </a:lnTo>
                  <a:lnTo>
                    <a:pt x="6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208">
              <a:extLst>
                <a:ext uri="{FF2B5EF4-FFF2-40B4-BE49-F238E27FC236}">
                  <a16:creationId xmlns:a16="http://schemas.microsoft.com/office/drawing/2014/main" id="{48BF87ED-FCC3-470D-AD77-49C8628F62F6}"/>
                </a:ext>
              </a:extLst>
            </p:cNvPr>
            <p:cNvSpPr>
              <a:spLocks/>
            </p:cNvSpPr>
            <p:nvPr/>
          </p:nvSpPr>
          <p:spPr bwMode="auto">
            <a:xfrm>
              <a:off x="3969544" y="3283743"/>
              <a:ext cx="39688" cy="36513"/>
            </a:xfrm>
            <a:custGeom>
              <a:avLst/>
              <a:gdLst>
                <a:gd name="T0" fmla="*/ 60 w 76"/>
                <a:gd name="T1" fmla="*/ 69 h 69"/>
                <a:gd name="T2" fmla="*/ 33 w 76"/>
                <a:gd name="T3" fmla="*/ 62 h 69"/>
                <a:gd name="T4" fmla="*/ 29 w 76"/>
                <a:gd name="T5" fmla="*/ 29 h 69"/>
                <a:gd name="T6" fmla="*/ 0 w 76"/>
                <a:gd name="T7" fmla="*/ 19 h 69"/>
                <a:gd name="T8" fmla="*/ 19 w 76"/>
                <a:gd name="T9" fmla="*/ 0 h 69"/>
                <a:gd name="T10" fmla="*/ 51 w 76"/>
                <a:gd name="T11" fmla="*/ 13 h 69"/>
                <a:gd name="T12" fmla="*/ 76 w 76"/>
                <a:gd name="T13" fmla="*/ 28 h 69"/>
                <a:gd name="T14" fmla="*/ 60 w 76"/>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69">
                  <a:moveTo>
                    <a:pt x="60" y="69"/>
                  </a:moveTo>
                  <a:lnTo>
                    <a:pt x="33" y="62"/>
                  </a:lnTo>
                  <a:lnTo>
                    <a:pt x="29" y="29"/>
                  </a:lnTo>
                  <a:lnTo>
                    <a:pt x="0" y="19"/>
                  </a:lnTo>
                  <a:lnTo>
                    <a:pt x="19" y="0"/>
                  </a:lnTo>
                  <a:lnTo>
                    <a:pt x="51" y="13"/>
                  </a:lnTo>
                  <a:lnTo>
                    <a:pt x="76" y="28"/>
                  </a:lnTo>
                  <a:lnTo>
                    <a:pt x="60" y="6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209">
              <a:extLst>
                <a:ext uri="{FF2B5EF4-FFF2-40B4-BE49-F238E27FC236}">
                  <a16:creationId xmlns:a16="http://schemas.microsoft.com/office/drawing/2014/main" id="{2B836043-E68D-447C-99E0-A9D91270BDD5}"/>
                </a:ext>
              </a:extLst>
            </p:cNvPr>
            <p:cNvSpPr>
              <a:spLocks/>
            </p:cNvSpPr>
            <p:nvPr/>
          </p:nvSpPr>
          <p:spPr bwMode="auto">
            <a:xfrm>
              <a:off x="3923507" y="3531393"/>
              <a:ext cx="50800" cy="28575"/>
            </a:xfrm>
            <a:custGeom>
              <a:avLst/>
              <a:gdLst>
                <a:gd name="T0" fmla="*/ 60 w 94"/>
                <a:gd name="T1" fmla="*/ 0 h 52"/>
                <a:gd name="T2" fmla="*/ 0 w 94"/>
                <a:gd name="T3" fmla="*/ 16 h 52"/>
                <a:gd name="T4" fmla="*/ 0 w 94"/>
                <a:gd name="T5" fmla="*/ 32 h 52"/>
                <a:gd name="T6" fmla="*/ 35 w 94"/>
                <a:gd name="T7" fmla="*/ 52 h 52"/>
                <a:gd name="T8" fmla="*/ 71 w 94"/>
                <a:gd name="T9" fmla="*/ 52 h 52"/>
                <a:gd name="T10" fmla="*/ 94 w 94"/>
                <a:gd name="T11" fmla="*/ 26 h 52"/>
                <a:gd name="T12" fmla="*/ 60 w 94"/>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94" h="52">
                  <a:moveTo>
                    <a:pt x="60" y="0"/>
                  </a:moveTo>
                  <a:lnTo>
                    <a:pt x="0" y="16"/>
                  </a:lnTo>
                  <a:lnTo>
                    <a:pt x="0" y="32"/>
                  </a:lnTo>
                  <a:lnTo>
                    <a:pt x="35" y="52"/>
                  </a:lnTo>
                  <a:lnTo>
                    <a:pt x="71" y="52"/>
                  </a:lnTo>
                  <a:lnTo>
                    <a:pt x="94" y="26"/>
                  </a:lnTo>
                  <a:lnTo>
                    <a:pt x="6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5" name="Freeform 210">
              <a:extLst>
                <a:ext uri="{FF2B5EF4-FFF2-40B4-BE49-F238E27FC236}">
                  <a16:creationId xmlns:a16="http://schemas.microsoft.com/office/drawing/2014/main" id="{526C3024-F70A-4F55-BAED-3345DDEFE095}"/>
                </a:ext>
              </a:extLst>
            </p:cNvPr>
            <p:cNvSpPr>
              <a:spLocks/>
            </p:cNvSpPr>
            <p:nvPr/>
          </p:nvSpPr>
          <p:spPr bwMode="auto">
            <a:xfrm>
              <a:off x="9267032" y="4074318"/>
              <a:ext cx="242888" cy="303213"/>
            </a:xfrm>
            <a:custGeom>
              <a:avLst/>
              <a:gdLst>
                <a:gd name="T0" fmla="*/ 117 w 458"/>
                <a:gd name="T1" fmla="*/ 0 h 573"/>
                <a:gd name="T2" fmla="*/ 45 w 458"/>
                <a:gd name="T3" fmla="*/ 8 h 573"/>
                <a:gd name="T4" fmla="*/ 0 w 458"/>
                <a:gd name="T5" fmla="*/ 41 h 573"/>
                <a:gd name="T6" fmla="*/ 19 w 458"/>
                <a:gd name="T7" fmla="*/ 80 h 573"/>
                <a:gd name="T8" fmla="*/ 96 w 458"/>
                <a:gd name="T9" fmla="*/ 94 h 573"/>
                <a:gd name="T10" fmla="*/ 96 w 458"/>
                <a:gd name="T11" fmla="*/ 108 h 573"/>
                <a:gd name="T12" fmla="*/ 47 w 458"/>
                <a:gd name="T13" fmla="*/ 149 h 573"/>
                <a:gd name="T14" fmla="*/ 71 w 458"/>
                <a:gd name="T15" fmla="*/ 231 h 573"/>
                <a:gd name="T16" fmla="*/ 95 w 458"/>
                <a:gd name="T17" fmla="*/ 233 h 573"/>
                <a:gd name="T18" fmla="*/ 115 w 458"/>
                <a:gd name="T19" fmla="*/ 152 h 573"/>
                <a:gd name="T20" fmla="*/ 154 w 458"/>
                <a:gd name="T21" fmla="*/ 152 h 573"/>
                <a:gd name="T22" fmla="*/ 169 w 458"/>
                <a:gd name="T23" fmla="*/ 231 h 573"/>
                <a:gd name="T24" fmla="*/ 355 w 458"/>
                <a:gd name="T25" fmla="*/ 384 h 573"/>
                <a:gd name="T26" fmla="*/ 360 w 458"/>
                <a:gd name="T27" fmla="*/ 505 h 573"/>
                <a:gd name="T28" fmla="*/ 423 w 458"/>
                <a:gd name="T29" fmla="*/ 573 h 573"/>
                <a:gd name="T30" fmla="*/ 451 w 458"/>
                <a:gd name="T31" fmla="*/ 572 h 573"/>
                <a:gd name="T32" fmla="*/ 458 w 458"/>
                <a:gd name="T33" fmla="*/ 149 h 573"/>
                <a:gd name="T34" fmla="*/ 350 w 458"/>
                <a:gd name="T35" fmla="*/ 74 h 573"/>
                <a:gd name="T36" fmla="*/ 248 w 458"/>
                <a:gd name="T37" fmla="*/ 142 h 573"/>
                <a:gd name="T38" fmla="*/ 212 w 458"/>
                <a:gd name="T39" fmla="*/ 164 h 573"/>
                <a:gd name="T40" fmla="*/ 152 w 458"/>
                <a:gd name="T41" fmla="*/ 126 h 573"/>
                <a:gd name="T42" fmla="*/ 150 w 458"/>
                <a:gd name="T43" fmla="*/ 5 h 573"/>
                <a:gd name="T44" fmla="*/ 117 w 458"/>
                <a:gd name="T4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8" h="573">
                  <a:moveTo>
                    <a:pt x="117" y="0"/>
                  </a:moveTo>
                  <a:lnTo>
                    <a:pt x="45" y="8"/>
                  </a:lnTo>
                  <a:lnTo>
                    <a:pt x="0" y="41"/>
                  </a:lnTo>
                  <a:lnTo>
                    <a:pt x="19" y="80"/>
                  </a:lnTo>
                  <a:lnTo>
                    <a:pt x="96" y="94"/>
                  </a:lnTo>
                  <a:lnTo>
                    <a:pt x="96" y="108"/>
                  </a:lnTo>
                  <a:lnTo>
                    <a:pt x="47" y="149"/>
                  </a:lnTo>
                  <a:lnTo>
                    <a:pt x="71" y="231"/>
                  </a:lnTo>
                  <a:lnTo>
                    <a:pt x="95" y="233"/>
                  </a:lnTo>
                  <a:lnTo>
                    <a:pt x="115" y="152"/>
                  </a:lnTo>
                  <a:lnTo>
                    <a:pt x="154" y="152"/>
                  </a:lnTo>
                  <a:lnTo>
                    <a:pt x="169" y="231"/>
                  </a:lnTo>
                  <a:lnTo>
                    <a:pt x="355" y="384"/>
                  </a:lnTo>
                  <a:lnTo>
                    <a:pt x="360" y="505"/>
                  </a:lnTo>
                  <a:lnTo>
                    <a:pt x="423" y="573"/>
                  </a:lnTo>
                  <a:lnTo>
                    <a:pt x="451" y="572"/>
                  </a:lnTo>
                  <a:lnTo>
                    <a:pt x="458" y="149"/>
                  </a:lnTo>
                  <a:lnTo>
                    <a:pt x="350" y="74"/>
                  </a:lnTo>
                  <a:lnTo>
                    <a:pt x="248" y="142"/>
                  </a:lnTo>
                  <a:lnTo>
                    <a:pt x="212" y="164"/>
                  </a:lnTo>
                  <a:lnTo>
                    <a:pt x="152" y="126"/>
                  </a:lnTo>
                  <a:lnTo>
                    <a:pt x="150" y="5"/>
                  </a:lnTo>
                  <a:lnTo>
                    <a:pt x="117" y="0"/>
                  </a:lnTo>
                  <a:close/>
                </a:path>
              </a:pathLst>
            </a:custGeom>
            <a:solidFill>
              <a:srgbClr val="E75F71"/>
            </a:solidFill>
            <a:ln>
              <a:noFill/>
            </a:ln>
          </p:spPr>
          <p:txBody>
            <a:bodyPr vert="horz" wrap="square" lIns="91440" tIns="45720" rIns="91440" bIns="45720" numCol="1" anchor="t" anchorCtr="0" compatLnSpc="1">
              <a:prstTxWarp prst="textNoShape">
                <a:avLst/>
              </a:prstTxWarp>
            </a:bodyPr>
            <a:lstStyle/>
            <a:p>
              <a:endParaRPr lang="en-US"/>
            </a:p>
          </p:txBody>
        </p:sp>
        <p:sp>
          <p:nvSpPr>
            <p:cNvPr id="346" name="Freeform 211">
              <a:extLst>
                <a:ext uri="{FF2B5EF4-FFF2-40B4-BE49-F238E27FC236}">
                  <a16:creationId xmlns:a16="http://schemas.microsoft.com/office/drawing/2014/main" id="{3CC09835-824E-4181-BFD3-2291FFEB4A15}"/>
                </a:ext>
              </a:extLst>
            </p:cNvPr>
            <p:cNvSpPr>
              <a:spLocks/>
            </p:cNvSpPr>
            <p:nvPr/>
          </p:nvSpPr>
          <p:spPr bwMode="auto">
            <a:xfrm>
              <a:off x="2291557" y="1235868"/>
              <a:ext cx="925513" cy="912813"/>
            </a:xfrm>
            <a:custGeom>
              <a:avLst/>
              <a:gdLst>
                <a:gd name="T0" fmla="*/ 646 w 1749"/>
                <a:gd name="T1" fmla="*/ 319 h 1724"/>
                <a:gd name="T2" fmla="*/ 503 w 1749"/>
                <a:gd name="T3" fmla="*/ 354 h 1724"/>
                <a:gd name="T4" fmla="*/ 532 w 1749"/>
                <a:gd name="T5" fmla="*/ 515 h 1724"/>
                <a:gd name="T6" fmla="*/ 689 w 1749"/>
                <a:gd name="T7" fmla="*/ 558 h 1724"/>
                <a:gd name="T8" fmla="*/ 697 w 1749"/>
                <a:gd name="T9" fmla="*/ 592 h 1724"/>
                <a:gd name="T10" fmla="*/ 464 w 1749"/>
                <a:gd name="T11" fmla="*/ 665 h 1724"/>
                <a:gd name="T12" fmla="*/ 334 w 1749"/>
                <a:gd name="T13" fmla="*/ 882 h 1724"/>
                <a:gd name="T14" fmla="*/ 380 w 1749"/>
                <a:gd name="T15" fmla="*/ 1112 h 1724"/>
                <a:gd name="T16" fmla="*/ 456 w 1749"/>
                <a:gd name="T17" fmla="*/ 1163 h 1724"/>
                <a:gd name="T18" fmla="*/ 515 w 1749"/>
                <a:gd name="T19" fmla="*/ 1107 h 1724"/>
                <a:gd name="T20" fmla="*/ 532 w 1749"/>
                <a:gd name="T21" fmla="*/ 1142 h 1724"/>
                <a:gd name="T22" fmla="*/ 460 w 1749"/>
                <a:gd name="T23" fmla="*/ 1227 h 1724"/>
                <a:gd name="T24" fmla="*/ 181 w 1749"/>
                <a:gd name="T25" fmla="*/ 1355 h 1724"/>
                <a:gd name="T26" fmla="*/ 4 w 1749"/>
                <a:gd name="T27" fmla="*/ 1397 h 1724"/>
                <a:gd name="T28" fmla="*/ 0 w 1749"/>
                <a:gd name="T29" fmla="*/ 1461 h 1724"/>
                <a:gd name="T30" fmla="*/ 410 w 1749"/>
                <a:gd name="T31" fmla="*/ 1342 h 1724"/>
                <a:gd name="T32" fmla="*/ 578 w 1749"/>
                <a:gd name="T33" fmla="*/ 1295 h 1724"/>
                <a:gd name="T34" fmla="*/ 735 w 1749"/>
                <a:gd name="T35" fmla="*/ 1103 h 1724"/>
                <a:gd name="T36" fmla="*/ 908 w 1749"/>
                <a:gd name="T37" fmla="*/ 988 h 1724"/>
                <a:gd name="T38" fmla="*/ 820 w 1749"/>
                <a:gd name="T39" fmla="*/ 1138 h 1724"/>
                <a:gd name="T40" fmla="*/ 917 w 1749"/>
                <a:gd name="T41" fmla="*/ 1150 h 1724"/>
                <a:gd name="T42" fmla="*/ 1082 w 1749"/>
                <a:gd name="T43" fmla="*/ 1078 h 1724"/>
                <a:gd name="T44" fmla="*/ 1111 w 1749"/>
                <a:gd name="T45" fmla="*/ 1196 h 1724"/>
                <a:gd name="T46" fmla="*/ 1226 w 1749"/>
                <a:gd name="T47" fmla="*/ 1223 h 1724"/>
                <a:gd name="T48" fmla="*/ 1343 w 1749"/>
                <a:gd name="T49" fmla="*/ 1338 h 1724"/>
                <a:gd name="T50" fmla="*/ 1353 w 1749"/>
                <a:gd name="T51" fmla="*/ 1423 h 1724"/>
                <a:gd name="T52" fmla="*/ 1335 w 1749"/>
                <a:gd name="T53" fmla="*/ 1444 h 1724"/>
                <a:gd name="T54" fmla="*/ 1357 w 1749"/>
                <a:gd name="T55" fmla="*/ 1524 h 1724"/>
                <a:gd name="T56" fmla="*/ 1386 w 1749"/>
                <a:gd name="T57" fmla="*/ 1524 h 1724"/>
                <a:gd name="T58" fmla="*/ 1390 w 1749"/>
                <a:gd name="T59" fmla="*/ 1388 h 1724"/>
                <a:gd name="T60" fmla="*/ 1424 w 1749"/>
                <a:gd name="T61" fmla="*/ 1388 h 1724"/>
                <a:gd name="T62" fmla="*/ 1433 w 1749"/>
                <a:gd name="T63" fmla="*/ 1724 h 1724"/>
                <a:gd name="T64" fmla="*/ 1517 w 1749"/>
                <a:gd name="T65" fmla="*/ 1652 h 1724"/>
                <a:gd name="T66" fmla="*/ 1458 w 1749"/>
                <a:gd name="T67" fmla="*/ 1303 h 1724"/>
                <a:gd name="T68" fmla="*/ 1369 w 1749"/>
                <a:gd name="T69" fmla="*/ 1303 h 1724"/>
                <a:gd name="T70" fmla="*/ 1271 w 1749"/>
                <a:gd name="T71" fmla="*/ 1179 h 1724"/>
                <a:gd name="T72" fmla="*/ 1749 w 1749"/>
                <a:gd name="T73" fmla="*/ 370 h 1724"/>
                <a:gd name="T74" fmla="*/ 1276 w 1749"/>
                <a:gd name="T75" fmla="*/ 0 h 1724"/>
                <a:gd name="T76" fmla="*/ 748 w 1749"/>
                <a:gd name="T77" fmla="*/ 102 h 1724"/>
                <a:gd name="T78" fmla="*/ 726 w 1749"/>
                <a:gd name="T79" fmla="*/ 264 h 1724"/>
                <a:gd name="T80" fmla="*/ 841 w 1749"/>
                <a:gd name="T81" fmla="*/ 332 h 1724"/>
                <a:gd name="T82" fmla="*/ 798 w 1749"/>
                <a:gd name="T83" fmla="*/ 442 h 1724"/>
                <a:gd name="T84" fmla="*/ 646 w 1749"/>
                <a:gd name="T85" fmla="*/ 319 h 1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49" h="1724">
                  <a:moveTo>
                    <a:pt x="646" y="319"/>
                  </a:moveTo>
                  <a:lnTo>
                    <a:pt x="503" y="354"/>
                  </a:lnTo>
                  <a:lnTo>
                    <a:pt x="532" y="515"/>
                  </a:lnTo>
                  <a:lnTo>
                    <a:pt x="689" y="558"/>
                  </a:lnTo>
                  <a:lnTo>
                    <a:pt x="697" y="592"/>
                  </a:lnTo>
                  <a:lnTo>
                    <a:pt x="464" y="665"/>
                  </a:lnTo>
                  <a:lnTo>
                    <a:pt x="334" y="882"/>
                  </a:lnTo>
                  <a:lnTo>
                    <a:pt x="380" y="1112"/>
                  </a:lnTo>
                  <a:lnTo>
                    <a:pt x="456" y="1163"/>
                  </a:lnTo>
                  <a:lnTo>
                    <a:pt x="515" y="1107"/>
                  </a:lnTo>
                  <a:lnTo>
                    <a:pt x="532" y="1142"/>
                  </a:lnTo>
                  <a:lnTo>
                    <a:pt x="460" y="1227"/>
                  </a:lnTo>
                  <a:lnTo>
                    <a:pt x="181" y="1355"/>
                  </a:lnTo>
                  <a:lnTo>
                    <a:pt x="4" y="1397"/>
                  </a:lnTo>
                  <a:lnTo>
                    <a:pt x="0" y="1461"/>
                  </a:lnTo>
                  <a:lnTo>
                    <a:pt x="410" y="1342"/>
                  </a:lnTo>
                  <a:lnTo>
                    <a:pt x="578" y="1295"/>
                  </a:lnTo>
                  <a:lnTo>
                    <a:pt x="735" y="1103"/>
                  </a:lnTo>
                  <a:lnTo>
                    <a:pt x="908" y="988"/>
                  </a:lnTo>
                  <a:lnTo>
                    <a:pt x="820" y="1138"/>
                  </a:lnTo>
                  <a:lnTo>
                    <a:pt x="917" y="1150"/>
                  </a:lnTo>
                  <a:lnTo>
                    <a:pt x="1082" y="1078"/>
                  </a:lnTo>
                  <a:lnTo>
                    <a:pt x="1111" y="1196"/>
                  </a:lnTo>
                  <a:lnTo>
                    <a:pt x="1226" y="1223"/>
                  </a:lnTo>
                  <a:lnTo>
                    <a:pt x="1343" y="1338"/>
                  </a:lnTo>
                  <a:lnTo>
                    <a:pt x="1353" y="1423"/>
                  </a:lnTo>
                  <a:lnTo>
                    <a:pt x="1335" y="1444"/>
                  </a:lnTo>
                  <a:lnTo>
                    <a:pt x="1357" y="1524"/>
                  </a:lnTo>
                  <a:lnTo>
                    <a:pt x="1386" y="1524"/>
                  </a:lnTo>
                  <a:lnTo>
                    <a:pt x="1390" y="1388"/>
                  </a:lnTo>
                  <a:lnTo>
                    <a:pt x="1424" y="1388"/>
                  </a:lnTo>
                  <a:lnTo>
                    <a:pt x="1433" y="1724"/>
                  </a:lnTo>
                  <a:lnTo>
                    <a:pt x="1517" y="1652"/>
                  </a:lnTo>
                  <a:lnTo>
                    <a:pt x="1458" y="1303"/>
                  </a:lnTo>
                  <a:lnTo>
                    <a:pt x="1369" y="1303"/>
                  </a:lnTo>
                  <a:lnTo>
                    <a:pt x="1271" y="1179"/>
                  </a:lnTo>
                  <a:lnTo>
                    <a:pt x="1749" y="370"/>
                  </a:lnTo>
                  <a:lnTo>
                    <a:pt x="1276" y="0"/>
                  </a:lnTo>
                  <a:lnTo>
                    <a:pt x="748" y="102"/>
                  </a:lnTo>
                  <a:lnTo>
                    <a:pt x="726" y="264"/>
                  </a:lnTo>
                  <a:lnTo>
                    <a:pt x="841" y="332"/>
                  </a:lnTo>
                  <a:lnTo>
                    <a:pt x="798" y="442"/>
                  </a:lnTo>
                  <a:lnTo>
                    <a:pt x="646" y="31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212">
              <a:extLst>
                <a:ext uri="{FF2B5EF4-FFF2-40B4-BE49-F238E27FC236}">
                  <a16:creationId xmlns:a16="http://schemas.microsoft.com/office/drawing/2014/main" id="{2444BB86-999A-487D-AC68-167C37C60A88}"/>
                </a:ext>
              </a:extLst>
            </p:cNvPr>
            <p:cNvSpPr>
              <a:spLocks/>
            </p:cNvSpPr>
            <p:nvPr/>
          </p:nvSpPr>
          <p:spPr bwMode="auto">
            <a:xfrm>
              <a:off x="3540919" y="4063206"/>
              <a:ext cx="34925" cy="47625"/>
            </a:xfrm>
            <a:custGeom>
              <a:avLst/>
              <a:gdLst>
                <a:gd name="T0" fmla="*/ 31 w 65"/>
                <a:gd name="T1" fmla="*/ 0 h 91"/>
                <a:gd name="T2" fmla="*/ 21 w 65"/>
                <a:gd name="T3" fmla="*/ 47 h 91"/>
                <a:gd name="T4" fmla="*/ 0 w 65"/>
                <a:gd name="T5" fmla="*/ 67 h 91"/>
                <a:gd name="T6" fmla="*/ 14 w 65"/>
                <a:gd name="T7" fmla="*/ 91 h 91"/>
                <a:gd name="T8" fmla="*/ 49 w 65"/>
                <a:gd name="T9" fmla="*/ 77 h 91"/>
                <a:gd name="T10" fmla="*/ 65 w 65"/>
                <a:gd name="T11" fmla="*/ 48 h 91"/>
                <a:gd name="T12" fmla="*/ 55 w 65"/>
                <a:gd name="T13" fmla="*/ 18 h 91"/>
                <a:gd name="T14" fmla="*/ 31 w 65"/>
                <a:gd name="T15" fmla="*/ 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91">
                  <a:moveTo>
                    <a:pt x="31" y="0"/>
                  </a:moveTo>
                  <a:lnTo>
                    <a:pt x="21" y="47"/>
                  </a:lnTo>
                  <a:lnTo>
                    <a:pt x="0" y="67"/>
                  </a:lnTo>
                  <a:lnTo>
                    <a:pt x="14" y="91"/>
                  </a:lnTo>
                  <a:lnTo>
                    <a:pt x="49" y="77"/>
                  </a:lnTo>
                  <a:lnTo>
                    <a:pt x="65" y="48"/>
                  </a:lnTo>
                  <a:lnTo>
                    <a:pt x="55" y="18"/>
                  </a:lnTo>
                  <a:lnTo>
                    <a:pt x="3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213">
              <a:extLst>
                <a:ext uri="{FF2B5EF4-FFF2-40B4-BE49-F238E27FC236}">
                  <a16:creationId xmlns:a16="http://schemas.microsoft.com/office/drawing/2014/main" id="{D1BBEE7D-3F6D-44E0-9E11-58780C86B79A}"/>
                </a:ext>
              </a:extLst>
            </p:cNvPr>
            <p:cNvSpPr>
              <a:spLocks/>
            </p:cNvSpPr>
            <p:nvPr/>
          </p:nvSpPr>
          <p:spPr bwMode="auto">
            <a:xfrm>
              <a:off x="3566319" y="1318418"/>
              <a:ext cx="239713" cy="177800"/>
            </a:xfrm>
            <a:custGeom>
              <a:avLst/>
              <a:gdLst>
                <a:gd name="T0" fmla="*/ 133 w 452"/>
                <a:gd name="T1" fmla="*/ 8 h 334"/>
                <a:gd name="T2" fmla="*/ 137 w 452"/>
                <a:gd name="T3" fmla="*/ 77 h 334"/>
                <a:gd name="T4" fmla="*/ 0 w 452"/>
                <a:gd name="T5" fmla="*/ 219 h 334"/>
                <a:gd name="T6" fmla="*/ 35 w 452"/>
                <a:gd name="T7" fmla="*/ 334 h 334"/>
                <a:gd name="T8" fmla="*/ 133 w 452"/>
                <a:gd name="T9" fmla="*/ 307 h 334"/>
                <a:gd name="T10" fmla="*/ 190 w 452"/>
                <a:gd name="T11" fmla="*/ 222 h 334"/>
                <a:gd name="T12" fmla="*/ 334 w 452"/>
                <a:gd name="T13" fmla="*/ 168 h 334"/>
                <a:gd name="T14" fmla="*/ 452 w 452"/>
                <a:gd name="T15" fmla="*/ 161 h 334"/>
                <a:gd name="T16" fmla="*/ 360 w 452"/>
                <a:gd name="T17" fmla="*/ 62 h 334"/>
                <a:gd name="T18" fmla="*/ 315 w 452"/>
                <a:gd name="T19" fmla="*/ 96 h 334"/>
                <a:gd name="T20" fmla="*/ 281 w 452"/>
                <a:gd name="T21" fmla="*/ 84 h 334"/>
                <a:gd name="T22" fmla="*/ 262 w 452"/>
                <a:gd name="T23" fmla="*/ 43 h 334"/>
                <a:gd name="T24" fmla="*/ 220 w 452"/>
                <a:gd name="T25" fmla="*/ 0 h 334"/>
                <a:gd name="T26" fmla="*/ 133 w 452"/>
                <a:gd name="T27" fmla="*/ 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2" h="334">
                  <a:moveTo>
                    <a:pt x="133" y="8"/>
                  </a:moveTo>
                  <a:lnTo>
                    <a:pt x="137" y="77"/>
                  </a:lnTo>
                  <a:lnTo>
                    <a:pt x="0" y="219"/>
                  </a:lnTo>
                  <a:lnTo>
                    <a:pt x="35" y="334"/>
                  </a:lnTo>
                  <a:lnTo>
                    <a:pt x="133" y="307"/>
                  </a:lnTo>
                  <a:lnTo>
                    <a:pt x="190" y="222"/>
                  </a:lnTo>
                  <a:lnTo>
                    <a:pt x="334" y="168"/>
                  </a:lnTo>
                  <a:lnTo>
                    <a:pt x="452" y="161"/>
                  </a:lnTo>
                  <a:lnTo>
                    <a:pt x="360" y="62"/>
                  </a:lnTo>
                  <a:lnTo>
                    <a:pt x="315" y="96"/>
                  </a:lnTo>
                  <a:lnTo>
                    <a:pt x="281" y="84"/>
                  </a:lnTo>
                  <a:lnTo>
                    <a:pt x="262" y="43"/>
                  </a:lnTo>
                  <a:lnTo>
                    <a:pt x="220" y="0"/>
                  </a:lnTo>
                  <a:lnTo>
                    <a:pt x="133" y="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214">
              <a:extLst>
                <a:ext uri="{FF2B5EF4-FFF2-40B4-BE49-F238E27FC236}">
                  <a16:creationId xmlns:a16="http://schemas.microsoft.com/office/drawing/2014/main" id="{A7B003F7-B97A-47E1-869A-959149101F6B}"/>
                </a:ext>
              </a:extLst>
            </p:cNvPr>
            <p:cNvSpPr>
              <a:spLocks/>
            </p:cNvSpPr>
            <p:nvPr/>
          </p:nvSpPr>
          <p:spPr bwMode="auto">
            <a:xfrm>
              <a:off x="3715544" y="1189831"/>
              <a:ext cx="176213" cy="82550"/>
            </a:xfrm>
            <a:custGeom>
              <a:avLst/>
              <a:gdLst>
                <a:gd name="T0" fmla="*/ 31 w 334"/>
                <a:gd name="T1" fmla="*/ 49 h 157"/>
                <a:gd name="T2" fmla="*/ 0 w 334"/>
                <a:gd name="T3" fmla="*/ 103 h 157"/>
                <a:gd name="T4" fmla="*/ 148 w 334"/>
                <a:gd name="T5" fmla="*/ 157 h 157"/>
                <a:gd name="T6" fmla="*/ 201 w 334"/>
                <a:gd name="T7" fmla="*/ 76 h 157"/>
                <a:gd name="T8" fmla="*/ 224 w 334"/>
                <a:gd name="T9" fmla="*/ 130 h 157"/>
                <a:gd name="T10" fmla="*/ 262 w 334"/>
                <a:gd name="T11" fmla="*/ 130 h 157"/>
                <a:gd name="T12" fmla="*/ 334 w 334"/>
                <a:gd name="T13" fmla="*/ 50 h 157"/>
                <a:gd name="T14" fmla="*/ 247 w 334"/>
                <a:gd name="T15" fmla="*/ 27 h 157"/>
                <a:gd name="T16" fmla="*/ 212 w 334"/>
                <a:gd name="T17" fmla="*/ 0 h 157"/>
                <a:gd name="T18" fmla="*/ 167 w 334"/>
                <a:gd name="T19" fmla="*/ 46 h 157"/>
                <a:gd name="T20" fmla="*/ 31 w 334"/>
                <a:gd name="T21" fmla="*/ 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7">
                  <a:moveTo>
                    <a:pt x="31" y="49"/>
                  </a:moveTo>
                  <a:lnTo>
                    <a:pt x="0" y="103"/>
                  </a:lnTo>
                  <a:lnTo>
                    <a:pt x="148" y="157"/>
                  </a:lnTo>
                  <a:lnTo>
                    <a:pt x="201" y="76"/>
                  </a:lnTo>
                  <a:lnTo>
                    <a:pt x="224" y="130"/>
                  </a:lnTo>
                  <a:lnTo>
                    <a:pt x="262" y="130"/>
                  </a:lnTo>
                  <a:lnTo>
                    <a:pt x="334" y="50"/>
                  </a:lnTo>
                  <a:lnTo>
                    <a:pt x="247" y="27"/>
                  </a:lnTo>
                  <a:lnTo>
                    <a:pt x="212" y="0"/>
                  </a:lnTo>
                  <a:lnTo>
                    <a:pt x="167" y="46"/>
                  </a:lnTo>
                  <a:lnTo>
                    <a:pt x="31" y="4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215">
              <a:extLst>
                <a:ext uri="{FF2B5EF4-FFF2-40B4-BE49-F238E27FC236}">
                  <a16:creationId xmlns:a16="http://schemas.microsoft.com/office/drawing/2014/main" id="{652709C1-87E4-4FBF-AF99-36DBA0A10B82}"/>
                </a:ext>
              </a:extLst>
            </p:cNvPr>
            <p:cNvSpPr>
              <a:spLocks/>
            </p:cNvSpPr>
            <p:nvPr/>
          </p:nvSpPr>
          <p:spPr bwMode="auto">
            <a:xfrm>
              <a:off x="3806032" y="1272381"/>
              <a:ext cx="220663" cy="133350"/>
            </a:xfrm>
            <a:custGeom>
              <a:avLst/>
              <a:gdLst>
                <a:gd name="T0" fmla="*/ 117 w 418"/>
                <a:gd name="T1" fmla="*/ 0 h 251"/>
                <a:gd name="T2" fmla="*/ 0 w 418"/>
                <a:gd name="T3" fmla="*/ 49 h 251"/>
                <a:gd name="T4" fmla="*/ 0 w 418"/>
                <a:gd name="T5" fmla="*/ 88 h 251"/>
                <a:gd name="T6" fmla="*/ 152 w 418"/>
                <a:gd name="T7" fmla="*/ 145 h 251"/>
                <a:gd name="T8" fmla="*/ 117 w 418"/>
                <a:gd name="T9" fmla="*/ 183 h 251"/>
                <a:gd name="T10" fmla="*/ 141 w 418"/>
                <a:gd name="T11" fmla="*/ 233 h 251"/>
                <a:gd name="T12" fmla="*/ 235 w 418"/>
                <a:gd name="T13" fmla="*/ 191 h 251"/>
                <a:gd name="T14" fmla="*/ 315 w 418"/>
                <a:gd name="T15" fmla="*/ 191 h 251"/>
                <a:gd name="T16" fmla="*/ 353 w 418"/>
                <a:gd name="T17" fmla="*/ 251 h 251"/>
                <a:gd name="T18" fmla="*/ 418 w 418"/>
                <a:gd name="T19" fmla="*/ 186 h 251"/>
                <a:gd name="T20" fmla="*/ 403 w 418"/>
                <a:gd name="T21" fmla="*/ 126 h 251"/>
                <a:gd name="T22" fmla="*/ 349 w 418"/>
                <a:gd name="T23" fmla="*/ 145 h 251"/>
                <a:gd name="T24" fmla="*/ 342 w 418"/>
                <a:gd name="T25" fmla="*/ 68 h 251"/>
                <a:gd name="T26" fmla="*/ 368 w 418"/>
                <a:gd name="T27" fmla="*/ 22 h 251"/>
                <a:gd name="T28" fmla="*/ 342 w 418"/>
                <a:gd name="T29" fmla="*/ 22 h 251"/>
                <a:gd name="T30" fmla="*/ 300 w 418"/>
                <a:gd name="T31" fmla="*/ 48 h 251"/>
                <a:gd name="T32" fmla="*/ 281 w 418"/>
                <a:gd name="T33" fmla="*/ 64 h 251"/>
                <a:gd name="T34" fmla="*/ 292 w 418"/>
                <a:gd name="T35" fmla="*/ 117 h 251"/>
                <a:gd name="T36" fmla="*/ 263 w 418"/>
                <a:gd name="T37" fmla="*/ 141 h 251"/>
                <a:gd name="T38" fmla="*/ 217 w 418"/>
                <a:gd name="T39" fmla="*/ 137 h 251"/>
                <a:gd name="T40" fmla="*/ 205 w 418"/>
                <a:gd name="T41" fmla="*/ 68 h 251"/>
                <a:gd name="T42" fmla="*/ 117 w 418"/>
                <a:gd name="T4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8" h="251">
                  <a:moveTo>
                    <a:pt x="117" y="0"/>
                  </a:moveTo>
                  <a:lnTo>
                    <a:pt x="0" y="49"/>
                  </a:lnTo>
                  <a:lnTo>
                    <a:pt x="0" y="88"/>
                  </a:lnTo>
                  <a:lnTo>
                    <a:pt x="152" y="145"/>
                  </a:lnTo>
                  <a:lnTo>
                    <a:pt x="117" y="183"/>
                  </a:lnTo>
                  <a:lnTo>
                    <a:pt x="141" y="233"/>
                  </a:lnTo>
                  <a:lnTo>
                    <a:pt x="235" y="191"/>
                  </a:lnTo>
                  <a:lnTo>
                    <a:pt x="315" y="191"/>
                  </a:lnTo>
                  <a:lnTo>
                    <a:pt x="353" y="251"/>
                  </a:lnTo>
                  <a:lnTo>
                    <a:pt x="418" y="186"/>
                  </a:lnTo>
                  <a:lnTo>
                    <a:pt x="403" y="126"/>
                  </a:lnTo>
                  <a:lnTo>
                    <a:pt x="349" y="145"/>
                  </a:lnTo>
                  <a:lnTo>
                    <a:pt x="342" y="68"/>
                  </a:lnTo>
                  <a:lnTo>
                    <a:pt x="368" y="22"/>
                  </a:lnTo>
                  <a:lnTo>
                    <a:pt x="342" y="22"/>
                  </a:lnTo>
                  <a:lnTo>
                    <a:pt x="300" y="48"/>
                  </a:lnTo>
                  <a:lnTo>
                    <a:pt x="281" y="64"/>
                  </a:lnTo>
                  <a:lnTo>
                    <a:pt x="292" y="117"/>
                  </a:lnTo>
                  <a:lnTo>
                    <a:pt x="263" y="141"/>
                  </a:lnTo>
                  <a:lnTo>
                    <a:pt x="217" y="137"/>
                  </a:lnTo>
                  <a:lnTo>
                    <a:pt x="205" y="68"/>
                  </a:lnTo>
                  <a:lnTo>
                    <a:pt x="11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216">
              <a:extLst>
                <a:ext uri="{FF2B5EF4-FFF2-40B4-BE49-F238E27FC236}">
                  <a16:creationId xmlns:a16="http://schemas.microsoft.com/office/drawing/2014/main" id="{10D977D3-2169-4905-A940-F1C2776A8A46}"/>
                </a:ext>
              </a:extLst>
            </p:cNvPr>
            <p:cNvSpPr>
              <a:spLocks/>
            </p:cNvSpPr>
            <p:nvPr/>
          </p:nvSpPr>
          <p:spPr bwMode="auto">
            <a:xfrm>
              <a:off x="3944144" y="1210468"/>
              <a:ext cx="66675" cy="38100"/>
            </a:xfrm>
            <a:custGeom>
              <a:avLst/>
              <a:gdLst>
                <a:gd name="T0" fmla="*/ 11 w 125"/>
                <a:gd name="T1" fmla="*/ 0 h 73"/>
                <a:gd name="T2" fmla="*/ 0 w 125"/>
                <a:gd name="T3" fmla="*/ 38 h 73"/>
                <a:gd name="T4" fmla="*/ 72 w 125"/>
                <a:gd name="T5" fmla="*/ 73 h 73"/>
                <a:gd name="T6" fmla="*/ 125 w 125"/>
                <a:gd name="T7" fmla="*/ 42 h 73"/>
                <a:gd name="T8" fmla="*/ 121 w 125"/>
                <a:gd name="T9" fmla="*/ 19 h 73"/>
                <a:gd name="T10" fmla="*/ 11 w 125"/>
                <a:gd name="T11" fmla="*/ 0 h 73"/>
              </a:gdLst>
              <a:ahLst/>
              <a:cxnLst>
                <a:cxn ang="0">
                  <a:pos x="T0" y="T1"/>
                </a:cxn>
                <a:cxn ang="0">
                  <a:pos x="T2" y="T3"/>
                </a:cxn>
                <a:cxn ang="0">
                  <a:pos x="T4" y="T5"/>
                </a:cxn>
                <a:cxn ang="0">
                  <a:pos x="T6" y="T7"/>
                </a:cxn>
                <a:cxn ang="0">
                  <a:pos x="T8" y="T9"/>
                </a:cxn>
                <a:cxn ang="0">
                  <a:pos x="T10" y="T11"/>
                </a:cxn>
              </a:cxnLst>
              <a:rect l="0" t="0" r="r" b="b"/>
              <a:pathLst>
                <a:path w="125" h="73">
                  <a:moveTo>
                    <a:pt x="11" y="0"/>
                  </a:moveTo>
                  <a:lnTo>
                    <a:pt x="0" y="38"/>
                  </a:lnTo>
                  <a:lnTo>
                    <a:pt x="72" y="73"/>
                  </a:lnTo>
                  <a:lnTo>
                    <a:pt x="125" y="42"/>
                  </a:lnTo>
                  <a:lnTo>
                    <a:pt x="121" y="19"/>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217">
              <a:extLst>
                <a:ext uri="{FF2B5EF4-FFF2-40B4-BE49-F238E27FC236}">
                  <a16:creationId xmlns:a16="http://schemas.microsoft.com/office/drawing/2014/main" id="{DCE2D3AE-EDE2-484F-ACDB-1EFA6A7CA0D9}"/>
                </a:ext>
              </a:extLst>
            </p:cNvPr>
            <p:cNvSpPr>
              <a:spLocks/>
            </p:cNvSpPr>
            <p:nvPr/>
          </p:nvSpPr>
          <p:spPr bwMode="auto">
            <a:xfrm>
              <a:off x="3952082" y="1175543"/>
              <a:ext cx="65088" cy="23813"/>
            </a:xfrm>
            <a:custGeom>
              <a:avLst/>
              <a:gdLst>
                <a:gd name="T0" fmla="*/ 53 w 122"/>
                <a:gd name="T1" fmla="*/ 0 h 46"/>
                <a:gd name="T2" fmla="*/ 0 w 122"/>
                <a:gd name="T3" fmla="*/ 19 h 46"/>
                <a:gd name="T4" fmla="*/ 4 w 122"/>
                <a:gd name="T5" fmla="*/ 46 h 46"/>
                <a:gd name="T6" fmla="*/ 122 w 122"/>
                <a:gd name="T7" fmla="*/ 38 h 46"/>
                <a:gd name="T8" fmla="*/ 118 w 122"/>
                <a:gd name="T9" fmla="*/ 11 h 46"/>
                <a:gd name="T10" fmla="*/ 53 w 122"/>
                <a:gd name="T11" fmla="*/ 0 h 46"/>
              </a:gdLst>
              <a:ahLst/>
              <a:cxnLst>
                <a:cxn ang="0">
                  <a:pos x="T0" y="T1"/>
                </a:cxn>
                <a:cxn ang="0">
                  <a:pos x="T2" y="T3"/>
                </a:cxn>
                <a:cxn ang="0">
                  <a:pos x="T4" y="T5"/>
                </a:cxn>
                <a:cxn ang="0">
                  <a:pos x="T6" y="T7"/>
                </a:cxn>
                <a:cxn ang="0">
                  <a:pos x="T8" y="T9"/>
                </a:cxn>
                <a:cxn ang="0">
                  <a:pos x="T10" y="T11"/>
                </a:cxn>
              </a:cxnLst>
              <a:rect l="0" t="0" r="r" b="b"/>
              <a:pathLst>
                <a:path w="122" h="46">
                  <a:moveTo>
                    <a:pt x="53" y="0"/>
                  </a:moveTo>
                  <a:lnTo>
                    <a:pt x="0" y="19"/>
                  </a:lnTo>
                  <a:lnTo>
                    <a:pt x="4" y="46"/>
                  </a:lnTo>
                  <a:lnTo>
                    <a:pt x="122" y="38"/>
                  </a:lnTo>
                  <a:lnTo>
                    <a:pt x="118" y="11"/>
                  </a:lnTo>
                  <a:lnTo>
                    <a:pt x="5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218">
              <a:extLst>
                <a:ext uri="{FF2B5EF4-FFF2-40B4-BE49-F238E27FC236}">
                  <a16:creationId xmlns:a16="http://schemas.microsoft.com/office/drawing/2014/main" id="{38866A32-057A-4BE9-B52A-D41AE9F6DE04}"/>
                </a:ext>
              </a:extLst>
            </p:cNvPr>
            <p:cNvSpPr>
              <a:spLocks/>
            </p:cNvSpPr>
            <p:nvPr/>
          </p:nvSpPr>
          <p:spPr bwMode="auto">
            <a:xfrm>
              <a:off x="4101307" y="1207293"/>
              <a:ext cx="92075" cy="79375"/>
            </a:xfrm>
            <a:custGeom>
              <a:avLst/>
              <a:gdLst>
                <a:gd name="T0" fmla="*/ 26 w 175"/>
                <a:gd name="T1" fmla="*/ 4 h 149"/>
                <a:gd name="T2" fmla="*/ 19 w 175"/>
                <a:gd name="T3" fmla="*/ 30 h 149"/>
                <a:gd name="T4" fmla="*/ 0 w 175"/>
                <a:gd name="T5" fmla="*/ 58 h 149"/>
                <a:gd name="T6" fmla="*/ 0 w 175"/>
                <a:gd name="T7" fmla="*/ 95 h 149"/>
                <a:gd name="T8" fmla="*/ 72 w 175"/>
                <a:gd name="T9" fmla="*/ 84 h 149"/>
                <a:gd name="T10" fmla="*/ 148 w 175"/>
                <a:gd name="T11" fmla="*/ 149 h 149"/>
                <a:gd name="T12" fmla="*/ 175 w 175"/>
                <a:gd name="T13" fmla="*/ 149 h 149"/>
                <a:gd name="T14" fmla="*/ 175 w 175"/>
                <a:gd name="T15" fmla="*/ 84 h 149"/>
                <a:gd name="T16" fmla="*/ 98 w 175"/>
                <a:gd name="T17" fmla="*/ 0 h 149"/>
                <a:gd name="T18" fmla="*/ 26 w 175"/>
                <a:gd name="T19"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149">
                  <a:moveTo>
                    <a:pt x="26" y="4"/>
                  </a:moveTo>
                  <a:lnTo>
                    <a:pt x="19" y="30"/>
                  </a:lnTo>
                  <a:lnTo>
                    <a:pt x="0" y="58"/>
                  </a:lnTo>
                  <a:lnTo>
                    <a:pt x="0" y="95"/>
                  </a:lnTo>
                  <a:lnTo>
                    <a:pt x="72" y="84"/>
                  </a:lnTo>
                  <a:lnTo>
                    <a:pt x="148" y="149"/>
                  </a:lnTo>
                  <a:lnTo>
                    <a:pt x="175" y="149"/>
                  </a:lnTo>
                  <a:lnTo>
                    <a:pt x="175" y="84"/>
                  </a:lnTo>
                  <a:lnTo>
                    <a:pt x="98" y="0"/>
                  </a:lnTo>
                  <a:lnTo>
                    <a:pt x="26"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4" name="Freeform 219">
              <a:extLst>
                <a:ext uri="{FF2B5EF4-FFF2-40B4-BE49-F238E27FC236}">
                  <a16:creationId xmlns:a16="http://schemas.microsoft.com/office/drawing/2014/main" id="{1DD5F2C6-E2F4-4404-8979-2880BD889351}"/>
                </a:ext>
              </a:extLst>
            </p:cNvPr>
            <p:cNvSpPr>
              <a:spLocks/>
            </p:cNvSpPr>
            <p:nvPr/>
          </p:nvSpPr>
          <p:spPr bwMode="auto">
            <a:xfrm>
              <a:off x="4217194" y="1246981"/>
              <a:ext cx="57150" cy="73025"/>
            </a:xfrm>
            <a:custGeom>
              <a:avLst/>
              <a:gdLst>
                <a:gd name="T0" fmla="*/ 0 w 107"/>
                <a:gd name="T1" fmla="*/ 7 h 138"/>
                <a:gd name="T2" fmla="*/ 31 w 107"/>
                <a:gd name="T3" fmla="*/ 42 h 138"/>
                <a:gd name="T4" fmla="*/ 4 w 107"/>
                <a:gd name="T5" fmla="*/ 88 h 138"/>
                <a:gd name="T6" fmla="*/ 24 w 107"/>
                <a:gd name="T7" fmla="*/ 138 h 138"/>
                <a:gd name="T8" fmla="*/ 107 w 107"/>
                <a:gd name="T9" fmla="*/ 91 h 138"/>
                <a:gd name="T10" fmla="*/ 107 w 107"/>
                <a:gd name="T11" fmla="*/ 57 h 138"/>
                <a:gd name="T12" fmla="*/ 57 w 107"/>
                <a:gd name="T13" fmla="*/ 0 h 138"/>
                <a:gd name="T14" fmla="*/ 0 w 107"/>
                <a:gd name="T15" fmla="*/ 7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38">
                  <a:moveTo>
                    <a:pt x="0" y="7"/>
                  </a:moveTo>
                  <a:lnTo>
                    <a:pt x="31" y="42"/>
                  </a:lnTo>
                  <a:lnTo>
                    <a:pt x="4" y="88"/>
                  </a:lnTo>
                  <a:lnTo>
                    <a:pt x="24" y="138"/>
                  </a:lnTo>
                  <a:lnTo>
                    <a:pt x="107" y="91"/>
                  </a:lnTo>
                  <a:lnTo>
                    <a:pt x="107" y="57"/>
                  </a:lnTo>
                  <a:lnTo>
                    <a:pt x="57" y="0"/>
                  </a:ln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5" name="Freeform 220">
              <a:extLst>
                <a:ext uri="{FF2B5EF4-FFF2-40B4-BE49-F238E27FC236}">
                  <a16:creationId xmlns:a16="http://schemas.microsoft.com/office/drawing/2014/main" id="{C7E2DFD9-C397-4B3A-B6E4-F09404AB7433}"/>
                </a:ext>
              </a:extLst>
            </p:cNvPr>
            <p:cNvSpPr>
              <a:spLocks/>
            </p:cNvSpPr>
            <p:nvPr/>
          </p:nvSpPr>
          <p:spPr bwMode="auto">
            <a:xfrm>
              <a:off x="4275932" y="1154906"/>
              <a:ext cx="163513" cy="168275"/>
            </a:xfrm>
            <a:custGeom>
              <a:avLst/>
              <a:gdLst>
                <a:gd name="T0" fmla="*/ 0 w 310"/>
                <a:gd name="T1" fmla="*/ 93 h 318"/>
                <a:gd name="T2" fmla="*/ 3 w 310"/>
                <a:gd name="T3" fmla="*/ 154 h 318"/>
                <a:gd name="T4" fmla="*/ 105 w 310"/>
                <a:gd name="T5" fmla="*/ 154 h 318"/>
                <a:gd name="T6" fmla="*/ 132 w 310"/>
                <a:gd name="T7" fmla="*/ 177 h 318"/>
                <a:gd name="T8" fmla="*/ 129 w 310"/>
                <a:gd name="T9" fmla="*/ 203 h 318"/>
                <a:gd name="T10" fmla="*/ 37 w 310"/>
                <a:gd name="T11" fmla="*/ 215 h 318"/>
                <a:gd name="T12" fmla="*/ 102 w 310"/>
                <a:gd name="T13" fmla="*/ 303 h 318"/>
                <a:gd name="T14" fmla="*/ 190 w 310"/>
                <a:gd name="T15" fmla="*/ 318 h 318"/>
                <a:gd name="T16" fmla="*/ 310 w 310"/>
                <a:gd name="T17" fmla="*/ 264 h 318"/>
                <a:gd name="T18" fmla="*/ 136 w 310"/>
                <a:gd name="T19" fmla="*/ 0 h 318"/>
                <a:gd name="T20" fmla="*/ 83 w 310"/>
                <a:gd name="T21" fmla="*/ 35 h 318"/>
                <a:gd name="T22" fmla="*/ 87 w 310"/>
                <a:gd name="T23" fmla="*/ 81 h 318"/>
                <a:gd name="T24" fmla="*/ 26 w 310"/>
                <a:gd name="T25" fmla="*/ 58 h 318"/>
                <a:gd name="T26" fmla="*/ 0 w 310"/>
                <a:gd name="T27" fmla="*/ 9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318">
                  <a:moveTo>
                    <a:pt x="0" y="93"/>
                  </a:moveTo>
                  <a:lnTo>
                    <a:pt x="3" y="154"/>
                  </a:lnTo>
                  <a:lnTo>
                    <a:pt x="105" y="154"/>
                  </a:lnTo>
                  <a:lnTo>
                    <a:pt x="132" y="177"/>
                  </a:lnTo>
                  <a:lnTo>
                    <a:pt x="129" y="203"/>
                  </a:lnTo>
                  <a:lnTo>
                    <a:pt x="37" y="215"/>
                  </a:lnTo>
                  <a:lnTo>
                    <a:pt x="102" y="303"/>
                  </a:lnTo>
                  <a:lnTo>
                    <a:pt x="190" y="318"/>
                  </a:lnTo>
                  <a:lnTo>
                    <a:pt x="310" y="264"/>
                  </a:lnTo>
                  <a:lnTo>
                    <a:pt x="136" y="0"/>
                  </a:lnTo>
                  <a:lnTo>
                    <a:pt x="83" y="35"/>
                  </a:lnTo>
                  <a:lnTo>
                    <a:pt x="87" y="81"/>
                  </a:lnTo>
                  <a:lnTo>
                    <a:pt x="26" y="58"/>
                  </a:lnTo>
                  <a:lnTo>
                    <a:pt x="0" y="9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221">
              <a:extLst>
                <a:ext uri="{FF2B5EF4-FFF2-40B4-BE49-F238E27FC236}">
                  <a16:creationId xmlns:a16="http://schemas.microsoft.com/office/drawing/2014/main" id="{26678C80-60FF-4F7A-9331-C49150979F09}"/>
                </a:ext>
              </a:extLst>
            </p:cNvPr>
            <p:cNvSpPr>
              <a:spLocks/>
            </p:cNvSpPr>
            <p:nvPr/>
          </p:nvSpPr>
          <p:spPr bwMode="auto">
            <a:xfrm>
              <a:off x="3679032" y="1432718"/>
              <a:ext cx="301625" cy="277813"/>
            </a:xfrm>
            <a:custGeom>
              <a:avLst/>
              <a:gdLst>
                <a:gd name="T0" fmla="*/ 244 w 570"/>
                <a:gd name="T1" fmla="*/ 0 h 524"/>
                <a:gd name="T2" fmla="*/ 100 w 570"/>
                <a:gd name="T3" fmla="*/ 38 h 524"/>
                <a:gd name="T4" fmla="*/ 15 w 570"/>
                <a:gd name="T5" fmla="*/ 111 h 524"/>
                <a:gd name="T6" fmla="*/ 24 w 570"/>
                <a:gd name="T7" fmla="*/ 191 h 524"/>
                <a:gd name="T8" fmla="*/ 176 w 570"/>
                <a:gd name="T9" fmla="*/ 237 h 524"/>
                <a:gd name="T10" fmla="*/ 141 w 570"/>
                <a:gd name="T11" fmla="*/ 314 h 524"/>
                <a:gd name="T12" fmla="*/ 31 w 570"/>
                <a:gd name="T13" fmla="*/ 245 h 524"/>
                <a:gd name="T14" fmla="*/ 0 w 570"/>
                <a:gd name="T15" fmla="*/ 303 h 524"/>
                <a:gd name="T16" fmla="*/ 72 w 570"/>
                <a:gd name="T17" fmla="*/ 352 h 524"/>
                <a:gd name="T18" fmla="*/ 69 w 570"/>
                <a:gd name="T19" fmla="*/ 433 h 524"/>
                <a:gd name="T20" fmla="*/ 179 w 570"/>
                <a:gd name="T21" fmla="*/ 463 h 524"/>
                <a:gd name="T22" fmla="*/ 312 w 570"/>
                <a:gd name="T23" fmla="*/ 455 h 524"/>
                <a:gd name="T24" fmla="*/ 335 w 570"/>
                <a:gd name="T25" fmla="*/ 413 h 524"/>
                <a:gd name="T26" fmla="*/ 434 w 570"/>
                <a:gd name="T27" fmla="*/ 524 h 524"/>
                <a:gd name="T28" fmla="*/ 502 w 570"/>
                <a:gd name="T29" fmla="*/ 502 h 524"/>
                <a:gd name="T30" fmla="*/ 513 w 570"/>
                <a:gd name="T31" fmla="*/ 424 h 524"/>
                <a:gd name="T32" fmla="*/ 562 w 570"/>
                <a:gd name="T33" fmla="*/ 459 h 524"/>
                <a:gd name="T34" fmla="*/ 570 w 570"/>
                <a:gd name="T35" fmla="*/ 383 h 524"/>
                <a:gd name="T36" fmla="*/ 510 w 570"/>
                <a:gd name="T37" fmla="*/ 344 h 524"/>
                <a:gd name="T38" fmla="*/ 513 w 570"/>
                <a:gd name="T39" fmla="*/ 104 h 524"/>
                <a:gd name="T40" fmla="*/ 460 w 570"/>
                <a:gd name="T41" fmla="*/ 61 h 524"/>
                <a:gd name="T42" fmla="*/ 403 w 570"/>
                <a:gd name="T43" fmla="*/ 137 h 524"/>
                <a:gd name="T44" fmla="*/ 244 w 570"/>
                <a:gd name="T45"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0" h="524">
                  <a:moveTo>
                    <a:pt x="244" y="0"/>
                  </a:moveTo>
                  <a:lnTo>
                    <a:pt x="100" y="38"/>
                  </a:lnTo>
                  <a:lnTo>
                    <a:pt x="15" y="111"/>
                  </a:lnTo>
                  <a:lnTo>
                    <a:pt x="24" y="191"/>
                  </a:lnTo>
                  <a:lnTo>
                    <a:pt x="176" y="237"/>
                  </a:lnTo>
                  <a:lnTo>
                    <a:pt x="141" y="314"/>
                  </a:lnTo>
                  <a:lnTo>
                    <a:pt x="31" y="245"/>
                  </a:lnTo>
                  <a:lnTo>
                    <a:pt x="0" y="303"/>
                  </a:lnTo>
                  <a:lnTo>
                    <a:pt x="72" y="352"/>
                  </a:lnTo>
                  <a:lnTo>
                    <a:pt x="69" y="433"/>
                  </a:lnTo>
                  <a:lnTo>
                    <a:pt x="179" y="463"/>
                  </a:lnTo>
                  <a:lnTo>
                    <a:pt x="312" y="455"/>
                  </a:lnTo>
                  <a:lnTo>
                    <a:pt x="335" y="413"/>
                  </a:lnTo>
                  <a:lnTo>
                    <a:pt x="434" y="524"/>
                  </a:lnTo>
                  <a:lnTo>
                    <a:pt x="502" y="502"/>
                  </a:lnTo>
                  <a:lnTo>
                    <a:pt x="513" y="424"/>
                  </a:lnTo>
                  <a:lnTo>
                    <a:pt x="562" y="459"/>
                  </a:lnTo>
                  <a:lnTo>
                    <a:pt x="570" y="383"/>
                  </a:lnTo>
                  <a:lnTo>
                    <a:pt x="510" y="344"/>
                  </a:lnTo>
                  <a:lnTo>
                    <a:pt x="513" y="104"/>
                  </a:lnTo>
                  <a:lnTo>
                    <a:pt x="460" y="61"/>
                  </a:lnTo>
                  <a:lnTo>
                    <a:pt x="403" y="137"/>
                  </a:lnTo>
                  <a:lnTo>
                    <a:pt x="2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7" name="Freeform 222">
              <a:extLst>
                <a:ext uri="{FF2B5EF4-FFF2-40B4-BE49-F238E27FC236}">
                  <a16:creationId xmlns:a16="http://schemas.microsoft.com/office/drawing/2014/main" id="{3F8A8A0C-9365-4548-8666-17E6DC67B5D2}"/>
                </a:ext>
              </a:extLst>
            </p:cNvPr>
            <p:cNvSpPr>
              <a:spLocks/>
            </p:cNvSpPr>
            <p:nvPr/>
          </p:nvSpPr>
          <p:spPr bwMode="auto">
            <a:xfrm>
              <a:off x="4012407" y="1488281"/>
              <a:ext cx="112713" cy="127000"/>
            </a:xfrm>
            <a:custGeom>
              <a:avLst/>
              <a:gdLst>
                <a:gd name="T0" fmla="*/ 75 w 212"/>
                <a:gd name="T1" fmla="*/ 65 h 240"/>
                <a:gd name="T2" fmla="*/ 26 w 212"/>
                <a:gd name="T3" fmla="*/ 41 h 240"/>
                <a:gd name="T4" fmla="*/ 0 w 212"/>
                <a:gd name="T5" fmla="*/ 76 h 240"/>
                <a:gd name="T6" fmla="*/ 52 w 212"/>
                <a:gd name="T7" fmla="*/ 160 h 240"/>
                <a:gd name="T8" fmla="*/ 56 w 212"/>
                <a:gd name="T9" fmla="*/ 240 h 240"/>
                <a:gd name="T10" fmla="*/ 170 w 212"/>
                <a:gd name="T11" fmla="*/ 171 h 240"/>
                <a:gd name="T12" fmla="*/ 170 w 212"/>
                <a:gd name="T13" fmla="*/ 72 h 240"/>
                <a:gd name="T14" fmla="*/ 212 w 212"/>
                <a:gd name="T15" fmla="*/ 30 h 240"/>
                <a:gd name="T16" fmla="*/ 170 w 212"/>
                <a:gd name="T17" fmla="*/ 0 h 240"/>
                <a:gd name="T18" fmla="*/ 101 w 212"/>
                <a:gd name="T19" fmla="*/ 0 h 240"/>
                <a:gd name="T20" fmla="*/ 75 w 212"/>
                <a:gd name="T21" fmla="*/ 6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2" h="240">
                  <a:moveTo>
                    <a:pt x="75" y="65"/>
                  </a:moveTo>
                  <a:lnTo>
                    <a:pt x="26" y="41"/>
                  </a:lnTo>
                  <a:lnTo>
                    <a:pt x="0" y="76"/>
                  </a:lnTo>
                  <a:lnTo>
                    <a:pt x="52" y="160"/>
                  </a:lnTo>
                  <a:lnTo>
                    <a:pt x="56" y="240"/>
                  </a:lnTo>
                  <a:lnTo>
                    <a:pt x="170" y="171"/>
                  </a:lnTo>
                  <a:lnTo>
                    <a:pt x="170" y="72"/>
                  </a:lnTo>
                  <a:lnTo>
                    <a:pt x="212" y="30"/>
                  </a:lnTo>
                  <a:lnTo>
                    <a:pt x="170" y="0"/>
                  </a:lnTo>
                  <a:lnTo>
                    <a:pt x="101" y="0"/>
                  </a:lnTo>
                  <a:lnTo>
                    <a:pt x="75" y="6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223">
              <a:extLst>
                <a:ext uri="{FF2B5EF4-FFF2-40B4-BE49-F238E27FC236}">
                  <a16:creationId xmlns:a16="http://schemas.microsoft.com/office/drawing/2014/main" id="{AE15BA59-7C24-4D06-B4A6-EFE599798367}"/>
                </a:ext>
              </a:extLst>
            </p:cNvPr>
            <p:cNvSpPr>
              <a:spLocks/>
            </p:cNvSpPr>
            <p:nvPr/>
          </p:nvSpPr>
          <p:spPr bwMode="auto">
            <a:xfrm>
              <a:off x="4139407" y="1504156"/>
              <a:ext cx="131763" cy="76200"/>
            </a:xfrm>
            <a:custGeom>
              <a:avLst/>
              <a:gdLst>
                <a:gd name="T0" fmla="*/ 80 w 251"/>
                <a:gd name="T1" fmla="*/ 0 h 145"/>
                <a:gd name="T2" fmla="*/ 0 w 251"/>
                <a:gd name="T3" fmla="*/ 65 h 145"/>
                <a:gd name="T4" fmla="*/ 19 w 251"/>
                <a:gd name="T5" fmla="*/ 145 h 145"/>
                <a:gd name="T6" fmla="*/ 68 w 251"/>
                <a:gd name="T7" fmla="*/ 145 h 145"/>
                <a:gd name="T8" fmla="*/ 91 w 251"/>
                <a:gd name="T9" fmla="*/ 103 h 145"/>
                <a:gd name="T10" fmla="*/ 126 w 251"/>
                <a:gd name="T11" fmla="*/ 137 h 145"/>
                <a:gd name="T12" fmla="*/ 159 w 251"/>
                <a:gd name="T13" fmla="*/ 134 h 145"/>
                <a:gd name="T14" fmla="*/ 251 w 251"/>
                <a:gd name="T15" fmla="*/ 57 h 145"/>
                <a:gd name="T16" fmla="*/ 80 w 251"/>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45">
                  <a:moveTo>
                    <a:pt x="80" y="0"/>
                  </a:moveTo>
                  <a:lnTo>
                    <a:pt x="0" y="65"/>
                  </a:lnTo>
                  <a:lnTo>
                    <a:pt x="19" y="145"/>
                  </a:lnTo>
                  <a:lnTo>
                    <a:pt x="68" y="145"/>
                  </a:lnTo>
                  <a:lnTo>
                    <a:pt x="91" y="103"/>
                  </a:lnTo>
                  <a:lnTo>
                    <a:pt x="126" y="137"/>
                  </a:lnTo>
                  <a:lnTo>
                    <a:pt x="159" y="134"/>
                  </a:lnTo>
                  <a:lnTo>
                    <a:pt x="251" y="57"/>
                  </a:lnTo>
                  <a:lnTo>
                    <a:pt x="8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224">
              <a:extLst>
                <a:ext uri="{FF2B5EF4-FFF2-40B4-BE49-F238E27FC236}">
                  <a16:creationId xmlns:a16="http://schemas.microsoft.com/office/drawing/2014/main" id="{E83EF6AB-2904-4A42-A115-430C66AD2851}"/>
                </a:ext>
              </a:extLst>
            </p:cNvPr>
            <p:cNvSpPr>
              <a:spLocks/>
            </p:cNvSpPr>
            <p:nvPr/>
          </p:nvSpPr>
          <p:spPr bwMode="auto">
            <a:xfrm>
              <a:off x="4166394" y="1435893"/>
              <a:ext cx="57150" cy="36513"/>
            </a:xfrm>
            <a:custGeom>
              <a:avLst/>
              <a:gdLst>
                <a:gd name="T0" fmla="*/ 19 w 106"/>
                <a:gd name="T1" fmla="*/ 0 h 69"/>
                <a:gd name="T2" fmla="*/ 0 w 106"/>
                <a:gd name="T3" fmla="*/ 39 h 69"/>
                <a:gd name="T4" fmla="*/ 84 w 106"/>
                <a:gd name="T5" fmla="*/ 69 h 69"/>
                <a:gd name="T6" fmla="*/ 106 w 106"/>
                <a:gd name="T7" fmla="*/ 35 h 69"/>
                <a:gd name="T8" fmla="*/ 19 w 106"/>
                <a:gd name="T9" fmla="*/ 0 h 69"/>
              </a:gdLst>
              <a:ahLst/>
              <a:cxnLst>
                <a:cxn ang="0">
                  <a:pos x="T0" y="T1"/>
                </a:cxn>
                <a:cxn ang="0">
                  <a:pos x="T2" y="T3"/>
                </a:cxn>
                <a:cxn ang="0">
                  <a:pos x="T4" y="T5"/>
                </a:cxn>
                <a:cxn ang="0">
                  <a:pos x="T6" y="T7"/>
                </a:cxn>
                <a:cxn ang="0">
                  <a:pos x="T8" y="T9"/>
                </a:cxn>
              </a:cxnLst>
              <a:rect l="0" t="0" r="r" b="b"/>
              <a:pathLst>
                <a:path w="106" h="69">
                  <a:moveTo>
                    <a:pt x="19" y="0"/>
                  </a:moveTo>
                  <a:lnTo>
                    <a:pt x="0" y="39"/>
                  </a:lnTo>
                  <a:lnTo>
                    <a:pt x="84" y="69"/>
                  </a:lnTo>
                  <a:lnTo>
                    <a:pt x="106" y="35"/>
                  </a:lnTo>
                  <a:lnTo>
                    <a:pt x="1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0" name="Freeform 225">
              <a:extLst>
                <a:ext uri="{FF2B5EF4-FFF2-40B4-BE49-F238E27FC236}">
                  <a16:creationId xmlns:a16="http://schemas.microsoft.com/office/drawing/2014/main" id="{DFC5FDB9-3312-4644-BB70-1D0B36615935}"/>
                </a:ext>
              </a:extLst>
            </p:cNvPr>
            <p:cNvSpPr>
              <a:spLocks/>
            </p:cNvSpPr>
            <p:nvPr/>
          </p:nvSpPr>
          <p:spPr bwMode="auto">
            <a:xfrm>
              <a:off x="4080669" y="1359693"/>
              <a:ext cx="92075" cy="85725"/>
            </a:xfrm>
            <a:custGeom>
              <a:avLst/>
              <a:gdLst>
                <a:gd name="T0" fmla="*/ 133 w 175"/>
                <a:gd name="T1" fmla="*/ 0 h 161"/>
                <a:gd name="T2" fmla="*/ 49 w 175"/>
                <a:gd name="T3" fmla="*/ 11 h 161"/>
                <a:gd name="T4" fmla="*/ 0 w 175"/>
                <a:gd name="T5" fmla="*/ 58 h 161"/>
                <a:gd name="T6" fmla="*/ 91 w 175"/>
                <a:gd name="T7" fmla="*/ 61 h 161"/>
                <a:gd name="T8" fmla="*/ 64 w 175"/>
                <a:gd name="T9" fmla="*/ 130 h 161"/>
                <a:gd name="T10" fmla="*/ 84 w 175"/>
                <a:gd name="T11" fmla="*/ 161 h 161"/>
                <a:gd name="T12" fmla="*/ 110 w 175"/>
                <a:gd name="T13" fmla="*/ 157 h 161"/>
                <a:gd name="T14" fmla="*/ 175 w 175"/>
                <a:gd name="T15" fmla="*/ 54 h 161"/>
                <a:gd name="T16" fmla="*/ 133 w 175"/>
                <a:gd name="T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61">
                  <a:moveTo>
                    <a:pt x="133" y="0"/>
                  </a:moveTo>
                  <a:lnTo>
                    <a:pt x="49" y="11"/>
                  </a:lnTo>
                  <a:lnTo>
                    <a:pt x="0" y="58"/>
                  </a:lnTo>
                  <a:lnTo>
                    <a:pt x="91" y="61"/>
                  </a:lnTo>
                  <a:lnTo>
                    <a:pt x="64" y="130"/>
                  </a:lnTo>
                  <a:lnTo>
                    <a:pt x="84" y="161"/>
                  </a:lnTo>
                  <a:lnTo>
                    <a:pt x="110" y="157"/>
                  </a:lnTo>
                  <a:lnTo>
                    <a:pt x="175" y="54"/>
                  </a:lnTo>
                  <a:lnTo>
                    <a:pt x="1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226">
              <a:extLst>
                <a:ext uri="{FF2B5EF4-FFF2-40B4-BE49-F238E27FC236}">
                  <a16:creationId xmlns:a16="http://schemas.microsoft.com/office/drawing/2014/main" id="{FC943BA4-367F-40DF-8DCE-52A2F54578B1}"/>
                </a:ext>
              </a:extLst>
            </p:cNvPr>
            <p:cNvSpPr>
              <a:spLocks/>
            </p:cNvSpPr>
            <p:nvPr/>
          </p:nvSpPr>
          <p:spPr bwMode="auto">
            <a:xfrm>
              <a:off x="4202907" y="1345406"/>
              <a:ext cx="279400" cy="204788"/>
            </a:xfrm>
            <a:custGeom>
              <a:avLst/>
              <a:gdLst>
                <a:gd name="T0" fmla="*/ 45 w 528"/>
                <a:gd name="T1" fmla="*/ 0 h 385"/>
                <a:gd name="T2" fmla="*/ 0 w 528"/>
                <a:gd name="T3" fmla="*/ 15 h 385"/>
                <a:gd name="T4" fmla="*/ 7 w 528"/>
                <a:gd name="T5" fmla="*/ 76 h 385"/>
                <a:gd name="T6" fmla="*/ 83 w 528"/>
                <a:gd name="T7" fmla="*/ 126 h 385"/>
                <a:gd name="T8" fmla="*/ 87 w 528"/>
                <a:gd name="T9" fmla="*/ 163 h 385"/>
                <a:gd name="T10" fmla="*/ 64 w 528"/>
                <a:gd name="T11" fmla="*/ 187 h 385"/>
                <a:gd name="T12" fmla="*/ 76 w 528"/>
                <a:gd name="T13" fmla="*/ 263 h 385"/>
                <a:gd name="T14" fmla="*/ 368 w 528"/>
                <a:gd name="T15" fmla="*/ 359 h 385"/>
                <a:gd name="T16" fmla="*/ 447 w 528"/>
                <a:gd name="T17" fmla="*/ 385 h 385"/>
                <a:gd name="T18" fmla="*/ 528 w 528"/>
                <a:gd name="T19" fmla="*/ 316 h 385"/>
                <a:gd name="T20" fmla="*/ 432 w 528"/>
                <a:gd name="T21" fmla="*/ 240 h 385"/>
                <a:gd name="T22" fmla="*/ 345 w 528"/>
                <a:gd name="T23" fmla="*/ 263 h 385"/>
                <a:gd name="T24" fmla="*/ 224 w 528"/>
                <a:gd name="T25" fmla="*/ 251 h 385"/>
                <a:gd name="T26" fmla="*/ 178 w 528"/>
                <a:gd name="T27" fmla="*/ 206 h 385"/>
                <a:gd name="T28" fmla="*/ 167 w 528"/>
                <a:gd name="T29" fmla="*/ 79 h 385"/>
                <a:gd name="T30" fmla="*/ 91 w 528"/>
                <a:gd name="T31" fmla="*/ 41 h 385"/>
                <a:gd name="T32" fmla="*/ 45 w 528"/>
                <a:gd name="T33"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385">
                  <a:moveTo>
                    <a:pt x="45" y="0"/>
                  </a:moveTo>
                  <a:lnTo>
                    <a:pt x="0" y="15"/>
                  </a:lnTo>
                  <a:lnTo>
                    <a:pt x="7" y="76"/>
                  </a:lnTo>
                  <a:lnTo>
                    <a:pt x="83" y="126"/>
                  </a:lnTo>
                  <a:lnTo>
                    <a:pt x="87" y="163"/>
                  </a:lnTo>
                  <a:lnTo>
                    <a:pt x="64" y="187"/>
                  </a:lnTo>
                  <a:lnTo>
                    <a:pt x="76" y="263"/>
                  </a:lnTo>
                  <a:lnTo>
                    <a:pt x="368" y="359"/>
                  </a:lnTo>
                  <a:lnTo>
                    <a:pt x="447" y="385"/>
                  </a:lnTo>
                  <a:lnTo>
                    <a:pt x="528" y="316"/>
                  </a:lnTo>
                  <a:lnTo>
                    <a:pt x="432" y="240"/>
                  </a:lnTo>
                  <a:lnTo>
                    <a:pt x="345" y="263"/>
                  </a:lnTo>
                  <a:lnTo>
                    <a:pt x="224" y="251"/>
                  </a:lnTo>
                  <a:lnTo>
                    <a:pt x="178" y="206"/>
                  </a:lnTo>
                  <a:lnTo>
                    <a:pt x="167" y="79"/>
                  </a:lnTo>
                  <a:lnTo>
                    <a:pt x="91" y="41"/>
                  </a:lnTo>
                  <a:lnTo>
                    <a:pt x="4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227">
              <a:extLst>
                <a:ext uri="{FF2B5EF4-FFF2-40B4-BE49-F238E27FC236}">
                  <a16:creationId xmlns:a16="http://schemas.microsoft.com/office/drawing/2014/main" id="{F9861381-B17E-4F1B-A5D8-284FAF6239E6}"/>
                </a:ext>
              </a:extLst>
            </p:cNvPr>
            <p:cNvSpPr>
              <a:spLocks/>
            </p:cNvSpPr>
            <p:nvPr/>
          </p:nvSpPr>
          <p:spPr bwMode="auto">
            <a:xfrm>
              <a:off x="4229894" y="1551781"/>
              <a:ext cx="482600" cy="601663"/>
            </a:xfrm>
            <a:custGeom>
              <a:avLst/>
              <a:gdLst>
                <a:gd name="T0" fmla="*/ 234 w 911"/>
                <a:gd name="T1" fmla="*/ 8 h 1136"/>
                <a:gd name="T2" fmla="*/ 151 w 911"/>
                <a:gd name="T3" fmla="*/ 0 h 1136"/>
                <a:gd name="T4" fmla="*/ 52 w 911"/>
                <a:gd name="T5" fmla="*/ 38 h 1136"/>
                <a:gd name="T6" fmla="*/ 0 w 911"/>
                <a:gd name="T7" fmla="*/ 110 h 1136"/>
                <a:gd name="T8" fmla="*/ 15 w 911"/>
                <a:gd name="T9" fmla="*/ 309 h 1136"/>
                <a:gd name="T10" fmla="*/ 177 w 911"/>
                <a:gd name="T11" fmla="*/ 317 h 1136"/>
                <a:gd name="T12" fmla="*/ 333 w 911"/>
                <a:gd name="T13" fmla="*/ 393 h 1136"/>
                <a:gd name="T14" fmla="*/ 443 w 911"/>
                <a:gd name="T15" fmla="*/ 520 h 1136"/>
                <a:gd name="T16" fmla="*/ 527 w 911"/>
                <a:gd name="T17" fmla="*/ 516 h 1136"/>
                <a:gd name="T18" fmla="*/ 504 w 911"/>
                <a:gd name="T19" fmla="*/ 635 h 1136"/>
                <a:gd name="T20" fmla="*/ 428 w 911"/>
                <a:gd name="T21" fmla="*/ 761 h 1136"/>
                <a:gd name="T22" fmla="*/ 345 w 911"/>
                <a:gd name="T23" fmla="*/ 799 h 1136"/>
                <a:gd name="T24" fmla="*/ 284 w 911"/>
                <a:gd name="T25" fmla="*/ 787 h 1136"/>
                <a:gd name="T26" fmla="*/ 253 w 911"/>
                <a:gd name="T27" fmla="*/ 761 h 1136"/>
                <a:gd name="T28" fmla="*/ 208 w 911"/>
                <a:gd name="T29" fmla="*/ 822 h 1136"/>
                <a:gd name="T30" fmla="*/ 227 w 911"/>
                <a:gd name="T31" fmla="*/ 884 h 1136"/>
                <a:gd name="T32" fmla="*/ 292 w 911"/>
                <a:gd name="T33" fmla="*/ 887 h 1136"/>
                <a:gd name="T34" fmla="*/ 371 w 911"/>
                <a:gd name="T35" fmla="*/ 849 h 1136"/>
                <a:gd name="T36" fmla="*/ 440 w 911"/>
                <a:gd name="T37" fmla="*/ 1025 h 1136"/>
                <a:gd name="T38" fmla="*/ 611 w 911"/>
                <a:gd name="T39" fmla="*/ 1136 h 1136"/>
                <a:gd name="T40" fmla="*/ 728 w 911"/>
                <a:gd name="T41" fmla="*/ 987 h 1136"/>
                <a:gd name="T42" fmla="*/ 630 w 911"/>
                <a:gd name="T43" fmla="*/ 826 h 1136"/>
                <a:gd name="T44" fmla="*/ 687 w 911"/>
                <a:gd name="T45" fmla="*/ 761 h 1136"/>
                <a:gd name="T46" fmla="*/ 767 w 911"/>
                <a:gd name="T47" fmla="*/ 895 h 1136"/>
                <a:gd name="T48" fmla="*/ 911 w 911"/>
                <a:gd name="T49" fmla="*/ 769 h 1136"/>
                <a:gd name="T50" fmla="*/ 885 w 911"/>
                <a:gd name="T51" fmla="*/ 711 h 1136"/>
                <a:gd name="T52" fmla="*/ 785 w 911"/>
                <a:gd name="T53" fmla="*/ 742 h 1136"/>
                <a:gd name="T54" fmla="*/ 717 w 911"/>
                <a:gd name="T55" fmla="*/ 555 h 1136"/>
                <a:gd name="T56" fmla="*/ 782 w 911"/>
                <a:gd name="T57" fmla="*/ 447 h 1136"/>
                <a:gd name="T58" fmla="*/ 652 w 911"/>
                <a:gd name="T59" fmla="*/ 310 h 1136"/>
                <a:gd name="T60" fmla="*/ 580 w 911"/>
                <a:gd name="T61" fmla="*/ 360 h 1136"/>
                <a:gd name="T62" fmla="*/ 512 w 911"/>
                <a:gd name="T63" fmla="*/ 211 h 1136"/>
                <a:gd name="T64" fmla="*/ 368 w 911"/>
                <a:gd name="T65" fmla="*/ 229 h 1136"/>
                <a:gd name="T66" fmla="*/ 330 w 911"/>
                <a:gd name="T67" fmla="*/ 49 h 1136"/>
                <a:gd name="T68" fmla="*/ 213 w 911"/>
                <a:gd name="T69" fmla="*/ 129 h 1136"/>
                <a:gd name="T70" fmla="*/ 201 w 911"/>
                <a:gd name="T71" fmla="*/ 229 h 1136"/>
                <a:gd name="T72" fmla="*/ 137 w 911"/>
                <a:gd name="T73" fmla="*/ 229 h 1136"/>
                <a:gd name="T74" fmla="*/ 144 w 911"/>
                <a:gd name="T75" fmla="*/ 142 h 1136"/>
                <a:gd name="T76" fmla="*/ 234 w 911"/>
                <a:gd name="T77" fmla="*/ 8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1" h="1136">
                  <a:moveTo>
                    <a:pt x="234" y="8"/>
                  </a:moveTo>
                  <a:lnTo>
                    <a:pt x="151" y="0"/>
                  </a:lnTo>
                  <a:lnTo>
                    <a:pt x="52" y="38"/>
                  </a:lnTo>
                  <a:lnTo>
                    <a:pt x="0" y="110"/>
                  </a:lnTo>
                  <a:lnTo>
                    <a:pt x="15" y="309"/>
                  </a:lnTo>
                  <a:lnTo>
                    <a:pt x="177" y="317"/>
                  </a:lnTo>
                  <a:lnTo>
                    <a:pt x="333" y="393"/>
                  </a:lnTo>
                  <a:lnTo>
                    <a:pt x="443" y="520"/>
                  </a:lnTo>
                  <a:lnTo>
                    <a:pt x="527" y="516"/>
                  </a:lnTo>
                  <a:lnTo>
                    <a:pt x="504" y="635"/>
                  </a:lnTo>
                  <a:lnTo>
                    <a:pt x="428" y="761"/>
                  </a:lnTo>
                  <a:lnTo>
                    <a:pt x="345" y="799"/>
                  </a:lnTo>
                  <a:lnTo>
                    <a:pt x="284" y="787"/>
                  </a:lnTo>
                  <a:lnTo>
                    <a:pt x="253" y="761"/>
                  </a:lnTo>
                  <a:lnTo>
                    <a:pt x="208" y="822"/>
                  </a:lnTo>
                  <a:lnTo>
                    <a:pt x="227" y="884"/>
                  </a:lnTo>
                  <a:lnTo>
                    <a:pt x="292" y="887"/>
                  </a:lnTo>
                  <a:lnTo>
                    <a:pt x="371" y="849"/>
                  </a:lnTo>
                  <a:lnTo>
                    <a:pt x="440" y="1025"/>
                  </a:lnTo>
                  <a:lnTo>
                    <a:pt x="611" y="1136"/>
                  </a:lnTo>
                  <a:lnTo>
                    <a:pt x="728" y="987"/>
                  </a:lnTo>
                  <a:lnTo>
                    <a:pt x="630" y="826"/>
                  </a:lnTo>
                  <a:lnTo>
                    <a:pt x="687" y="761"/>
                  </a:lnTo>
                  <a:lnTo>
                    <a:pt x="767" y="895"/>
                  </a:lnTo>
                  <a:lnTo>
                    <a:pt x="911" y="769"/>
                  </a:lnTo>
                  <a:lnTo>
                    <a:pt x="885" y="711"/>
                  </a:lnTo>
                  <a:lnTo>
                    <a:pt x="785" y="742"/>
                  </a:lnTo>
                  <a:lnTo>
                    <a:pt x="717" y="555"/>
                  </a:lnTo>
                  <a:lnTo>
                    <a:pt x="782" y="447"/>
                  </a:lnTo>
                  <a:lnTo>
                    <a:pt x="652" y="310"/>
                  </a:lnTo>
                  <a:lnTo>
                    <a:pt x="580" y="360"/>
                  </a:lnTo>
                  <a:lnTo>
                    <a:pt x="512" y="211"/>
                  </a:lnTo>
                  <a:lnTo>
                    <a:pt x="368" y="229"/>
                  </a:lnTo>
                  <a:lnTo>
                    <a:pt x="330" y="49"/>
                  </a:lnTo>
                  <a:lnTo>
                    <a:pt x="213" y="129"/>
                  </a:lnTo>
                  <a:lnTo>
                    <a:pt x="201" y="229"/>
                  </a:lnTo>
                  <a:lnTo>
                    <a:pt x="137" y="229"/>
                  </a:lnTo>
                  <a:lnTo>
                    <a:pt x="144" y="142"/>
                  </a:lnTo>
                  <a:lnTo>
                    <a:pt x="234" y="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228">
              <a:extLst>
                <a:ext uri="{FF2B5EF4-FFF2-40B4-BE49-F238E27FC236}">
                  <a16:creationId xmlns:a16="http://schemas.microsoft.com/office/drawing/2014/main" id="{8A9984A6-2993-4BEE-869D-399CB5C9AC4D}"/>
                </a:ext>
              </a:extLst>
            </p:cNvPr>
            <p:cNvSpPr>
              <a:spLocks/>
            </p:cNvSpPr>
            <p:nvPr/>
          </p:nvSpPr>
          <p:spPr bwMode="auto">
            <a:xfrm>
              <a:off x="4428332" y="1593056"/>
              <a:ext cx="80963" cy="46038"/>
            </a:xfrm>
            <a:custGeom>
              <a:avLst/>
              <a:gdLst>
                <a:gd name="T0" fmla="*/ 31 w 152"/>
                <a:gd name="T1" fmla="*/ 0 h 87"/>
                <a:gd name="T2" fmla="*/ 0 w 152"/>
                <a:gd name="T3" fmla="*/ 30 h 87"/>
                <a:gd name="T4" fmla="*/ 26 w 152"/>
                <a:gd name="T5" fmla="*/ 72 h 87"/>
                <a:gd name="T6" fmla="*/ 152 w 152"/>
                <a:gd name="T7" fmla="*/ 87 h 87"/>
                <a:gd name="T8" fmla="*/ 72 w 152"/>
                <a:gd name="T9" fmla="*/ 3 h 87"/>
                <a:gd name="T10" fmla="*/ 31 w 152"/>
                <a:gd name="T11" fmla="*/ 0 h 87"/>
              </a:gdLst>
              <a:ahLst/>
              <a:cxnLst>
                <a:cxn ang="0">
                  <a:pos x="T0" y="T1"/>
                </a:cxn>
                <a:cxn ang="0">
                  <a:pos x="T2" y="T3"/>
                </a:cxn>
                <a:cxn ang="0">
                  <a:pos x="T4" y="T5"/>
                </a:cxn>
                <a:cxn ang="0">
                  <a:pos x="T6" y="T7"/>
                </a:cxn>
                <a:cxn ang="0">
                  <a:pos x="T8" y="T9"/>
                </a:cxn>
                <a:cxn ang="0">
                  <a:pos x="T10" y="T11"/>
                </a:cxn>
              </a:cxnLst>
              <a:rect l="0" t="0" r="r" b="b"/>
              <a:pathLst>
                <a:path w="152" h="87">
                  <a:moveTo>
                    <a:pt x="31" y="0"/>
                  </a:moveTo>
                  <a:lnTo>
                    <a:pt x="0" y="30"/>
                  </a:lnTo>
                  <a:lnTo>
                    <a:pt x="26" y="72"/>
                  </a:lnTo>
                  <a:lnTo>
                    <a:pt x="152" y="87"/>
                  </a:lnTo>
                  <a:lnTo>
                    <a:pt x="72" y="3"/>
                  </a:lnTo>
                  <a:lnTo>
                    <a:pt x="3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4" name="Freeform 229">
              <a:extLst>
                <a:ext uri="{FF2B5EF4-FFF2-40B4-BE49-F238E27FC236}">
                  <a16:creationId xmlns:a16="http://schemas.microsoft.com/office/drawing/2014/main" id="{DEB38277-A382-44E5-AA7F-E378C1E5E954}"/>
                </a:ext>
              </a:extLst>
            </p:cNvPr>
            <p:cNvSpPr>
              <a:spLocks/>
            </p:cNvSpPr>
            <p:nvPr/>
          </p:nvSpPr>
          <p:spPr bwMode="auto">
            <a:xfrm>
              <a:off x="4336257" y="1151731"/>
              <a:ext cx="544513" cy="315913"/>
            </a:xfrm>
            <a:custGeom>
              <a:avLst/>
              <a:gdLst>
                <a:gd name="T0" fmla="*/ 83 w 1028"/>
                <a:gd name="T1" fmla="*/ 402 h 597"/>
                <a:gd name="T2" fmla="*/ 83 w 1028"/>
                <a:gd name="T3" fmla="*/ 436 h 597"/>
                <a:gd name="T4" fmla="*/ 0 w 1028"/>
                <a:gd name="T5" fmla="*/ 455 h 597"/>
                <a:gd name="T6" fmla="*/ 22 w 1028"/>
                <a:gd name="T7" fmla="*/ 494 h 597"/>
                <a:gd name="T8" fmla="*/ 117 w 1028"/>
                <a:gd name="T9" fmla="*/ 532 h 597"/>
                <a:gd name="T10" fmla="*/ 223 w 1028"/>
                <a:gd name="T11" fmla="*/ 543 h 597"/>
                <a:gd name="T12" fmla="*/ 299 w 1028"/>
                <a:gd name="T13" fmla="*/ 597 h 597"/>
                <a:gd name="T14" fmla="*/ 375 w 1028"/>
                <a:gd name="T15" fmla="*/ 555 h 597"/>
                <a:gd name="T16" fmla="*/ 322 w 1028"/>
                <a:gd name="T17" fmla="*/ 501 h 597"/>
                <a:gd name="T18" fmla="*/ 390 w 1028"/>
                <a:gd name="T19" fmla="*/ 501 h 597"/>
                <a:gd name="T20" fmla="*/ 432 w 1028"/>
                <a:gd name="T21" fmla="*/ 455 h 597"/>
                <a:gd name="T22" fmla="*/ 534 w 1028"/>
                <a:gd name="T23" fmla="*/ 440 h 597"/>
                <a:gd name="T24" fmla="*/ 534 w 1028"/>
                <a:gd name="T25" fmla="*/ 417 h 597"/>
                <a:gd name="T26" fmla="*/ 478 w 1028"/>
                <a:gd name="T27" fmla="*/ 379 h 597"/>
                <a:gd name="T28" fmla="*/ 485 w 1028"/>
                <a:gd name="T29" fmla="*/ 336 h 597"/>
                <a:gd name="T30" fmla="*/ 645 w 1028"/>
                <a:gd name="T31" fmla="*/ 364 h 597"/>
                <a:gd name="T32" fmla="*/ 880 w 1028"/>
                <a:gd name="T33" fmla="*/ 271 h 597"/>
                <a:gd name="T34" fmla="*/ 792 w 1028"/>
                <a:gd name="T35" fmla="*/ 245 h 597"/>
                <a:gd name="T36" fmla="*/ 816 w 1028"/>
                <a:gd name="T37" fmla="*/ 214 h 597"/>
                <a:gd name="T38" fmla="*/ 997 w 1028"/>
                <a:gd name="T39" fmla="*/ 214 h 597"/>
                <a:gd name="T40" fmla="*/ 1028 w 1028"/>
                <a:gd name="T41" fmla="*/ 184 h 597"/>
                <a:gd name="T42" fmla="*/ 659 w 1028"/>
                <a:gd name="T43" fmla="*/ 53 h 597"/>
                <a:gd name="T44" fmla="*/ 572 w 1028"/>
                <a:gd name="T45" fmla="*/ 23 h 597"/>
                <a:gd name="T46" fmla="*/ 478 w 1028"/>
                <a:gd name="T47" fmla="*/ 92 h 597"/>
                <a:gd name="T48" fmla="*/ 371 w 1028"/>
                <a:gd name="T49" fmla="*/ 3 h 597"/>
                <a:gd name="T50" fmla="*/ 314 w 1028"/>
                <a:gd name="T51" fmla="*/ 0 h 597"/>
                <a:gd name="T52" fmla="*/ 303 w 1028"/>
                <a:gd name="T53" fmla="*/ 72 h 597"/>
                <a:gd name="T54" fmla="*/ 231 w 1028"/>
                <a:gd name="T55" fmla="*/ 7 h 597"/>
                <a:gd name="T56" fmla="*/ 147 w 1028"/>
                <a:gd name="T57" fmla="*/ 35 h 597"/>
                <a:gd name="T58" fmla="*/ 162 w 1028"/>
                <a:gd name="T59" fmla="*/ 76 h 597"/>
                <a:gd name="T60" fmla="*/ 288 w 1028"/>
                <a:gd name="T61" fmla="*/ 103 h 597"/>
                <a:gd name="T62" fmla="*/ 280 w 1028"/>
                <a:gd name="T63" fmla="*/ 165 h 597"/>
                <a:gd name="T64" fmla="*/ 349 w 1028"/>
                <a:gd name="T65" fmla="*/ 206 h 597"/>
                <a:gd name="T66" fmla="*/ 515 w 1028"/>
                <a:gd name="T67" fmla="*/ 165 h 597"/>
                <a:gd name="T68" fmla="*/ 519 w 1028"/>
                <a:gd name="T69" fmla="*/ 222 h 597"/>
                <a:gd name="T70" fmla="*/ 382 w 1028"/>
                <a:gd name="T71" fmla="*/ 287 h 597"/>
                <a:gd name="T72" fmla="*/ 299 w 1028"/>
                <a:gd name="T73" fmla="*/ 222 h 597"/>
                <a:gd name="T74" fmla="*/ 223 w 1028"/>
                <a:gd name="T75" fmla="*/ 230 h 597"/>
                <a:gd name="T76" fmla="*/ 299 w 1028"/>
                <a:gd name="T77" fmla="*/ 336 h 597"/>
                <a:gd name="T78" fmla="*/ 261 w 1028"/>
                <a:gd name="T79" fmla="*/ 356 h 597"/>
                <a:gd name="T80" fmla="*/ 204 w 1028"/>
                <a:gd name="T81" fmla="*/ 306 h 597"/>
                <a:gd name="T82" fmla="*/ 162 w 1028"/>
                <a:gd name="T83" fmla="*/ 333 h 597"/>
                <a:gd name="T84" fmla="*/ 200 w 1028"/>
                <a:gd name="T85" fmla="*/ 405 h 597"/>
                <a:gd name="T86" fmla="*/ 264 w 1028"/>
                <a:gd name="T87" fmla="*/ 405 h 597"/>
                <a:gd name="T88" fmla="*/ 249 w 1028"/>
                <a:gd name="T89" fmla="*/ 474 h 597"/>
                <a:gd name="T90" fmla="*/ 196 w 1028"/>
                <a:gd name="T91" fmla="*/ 466 h 597"/>
                <a:gd name="T92" fmla="*/ 128 w 1028"/>
                <a:gd name="T93" fmla="*/ 394 h 597"/>
                <a:gd name="T94" fmla="*/ 83 w 1028"/>
                <a:gd name="T95" fmla="*/ 402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8" h="597">
                  <a:moveTo>
                    <a:pt x="83" y="402"/>
                  </a:moveTo>
                  <a:lnTo>
                    <a:pt x="83" y="436"/>
                  </a:lnTo>
                  <a:lnTo>
                    <a:pt x="0" y="455"/>
                  </a:lnTo>
                  <a:lnTo>
                    <a:pt x="22" y="494"/>
                  </a:lnTo>
                  <a:lnTo>
                    <a:pt x="117" y="532"/>
                  </a:lnTo>
                  <a:lnTo>
                    <a:pt x="223" y="543"/>
                  </a:lnTo>
                  <a:lnTo>
                    <a:pt x="299" y="597"/>
                  </a:lnTo>
                  <a:lnTo>
                    <a:pt x="375" y="555"/>
                  </a:lnTo>
                  <a:lnTo>
                    <a:pt x="322" y="501"/>
                  </a:lnTo>
                  <a:lnTo>
                    <a:pt x="390" y="501"/>
                  </a:lnTo>
                  <a:lnTo>
                    <a:pt x="432" y="455"/>
                  </a:lnTo>
                  <a:lnTo>
                    <a:pt x="534" y="440"/>
                  </a:lnTo>
                  <a:lnTo>
                    <a:pt x="534" y="417"/>
                  </a:lnTo>
                  <a:lnTo>
                    <a:pt x="478" y="379"/>
                  </a:lnTo>
                  <a:lnTo>
                    <a:pt x="485" y="336"/>
                  </a:lnTo>
                  <a:lnTo>
                    <a:pt x="645" y="364"/>
                  </a:lnTo>
                  <a:lnTo>
                    <a:pt x="880" y="271"/>
                  </a:lnTo>
                  <a:lnTo>
                    <a:pt x="792" y="245"/>
                  </a:lnTo>
                  <a:lnTo>
                    <a:pt x="816" y="214"/>
                  </a:lnTo>
                  <a:lnTo>
                    <a:pt x="997" y="214"/>
                  </a:lnTo>
                  <a:lnTo>
                    <a:pt x="1028" y="184"/>
                  </a:lnTo>
                  <a:lnTo>
                    <a:pt x="659" y="53"/>
                  </a:lnTo>
                  <a:lnTo>
                    <a:pt x="572" y="23"/>
                  </a:lnTo>
                  <a:lnTo>
                    <a:pt x="478" y="92"/>
                  </a:lnTo>
                  <a:lnTo>
                    <a:pt x="371" y="3"/>
                  </a:lnTo>
                  <a:lnTo>
                    <a:pt x="314" y="0"/>
                  </a:lnTo>
                  <a:lnTo>
                    <a:pt x="303" y="72"/>
                  </a:lnTo>
                  <a:lnTo>
                    <a:pt x="231" y="7"/>
                  </a:lnTo>
                  <a:lnTo>
                    <a:pt x="147" y="35"/>
                  </a:lnTo>
                  <a:lnTo>
                    <a:pt x="162" y="76"/>
                  </a:lnTo>
                  <a:lnTo>
                    <a:pt x="288" y="103"/>
                  </a:lnTo>
                  <a:lnTo>
                    <a:pt x="280" y="165"/>
                  </a:lnTo>
                  <a:lnTo>
                    <a:pt x="349" y="206"/>
                  </a:lnTo>
                  <a:lnTo>
                    <a:pt x="515" y="165"/>
                  </a:lnTo>
                  <a:lnTo>
                    <a:pt x="519" y="222"/>
                  </a:lnTo>
                  <a:lnTo>
                    <a:pt x="382" y="287"/>
                  </a:lnTo>
                  <a:lnTo>
                    <a:pt x="299" y="222"/>
                  </a:lnTo>
                  <a:lnTo>
                    <a:pt x="223" y="230"/>
                  </a:lnTo>
                  <a:lnTo>
                    <a:pt x="299" y="336"/>
                  </a:lnTo>
                  <a:lnTo>
                    <a:pt x="261" y="356"/>
                  </a:lnTo>
                  <a:lnTo>
                    <a:pt x="204" y="306"/>
                  </a:lnTo>
                  <a:lnTo>
                    <a:pt x="162" y="333"/>
                  </a:lnTo>
                  <a:lnTo>
                    <a:pt x="200" y="405"/>
                  </a:lnTo>
                  <a:lnTo>
                    <a:pt x="264" y="405"/>
                  </a:lnTo>
                  <a:lnTo>
                    <a:pt x="249" y="474"/>
                  </a:lnTo>
                  <a:lnTo>
                    <a:pt x="196" y="466"/>
                  </a:lnTo>
                  <a:lnTo>
                    <a:pt x="128" y="394"/>
                  </a:lnTo>
                  <a:lnTo>
                    <a:pt x="83" y="40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230">
              <a:extLst>
                <a:ext uri="{FF2B5EF4-FFF2-40B4-BE49-F238E27FC236}">
                  <a16:creationId xmlns:a16="http://schemas.microsoft.com/office/drawing/2014/main" id="{75E6B915-4E53-421A-B9E0-4B875C2E1260}"/>
                </a:ext>
              </a:extLst>
            </p:cNvPr>
            <p:cNvSpPr>
              <a:spLocks/>
            </p:cNvSpPr>
            <p:nvPr/>
          </p:nvSpPr>
          <p:spPr bwMode="auto">
            <a:xfrm>
              <a:off x="4160044" y="1921668"/>
              <a:ext cx="130175" cy="107950"/>
            </a:xfrm>
            <a:custGeom>
              <a:avLst/>
              <a:gdLst>
                <a:gd name="T0" fmla="*/ 77 w 244"/>
                <a:gd name="T1" fmla="*/ 0 h 205"/>
                <a:gd name="T2" fmla="*/ 4 w 244"/>
                <a:gd name="T3" fmla="*/ 91 h 205"/>
                <a:gd name="T4" fmla="*/ 0 w 244"/>
                <a:gd name="T5" fmla="*/ 192 h 205"/>
                <a:gd name="T6" fmla="*/ 63 w 244"/>
                <a:gd name="T7" fmla="*/ 155 h 205"/>
                <a:gd name="T8" fmla="*/ 140 w 244"/>
                <a:gd name="T9" fmla="*/ 155 h 205"/>
                <a:gd name="T10" fmla="*/ 194 w 244"/>
                <a:gd name="T11" fmla="*/ 205 h 205"/>
                <a:gd name="T12" fmla="*/ 244 w 244"/>
                <a:gd name="T13" fmla="*/ 164 h 205"/>
                <a:gd name="T14" fmla="*/ 77 w 244"/>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4" h="205">
                  <a:moveTo>
                    <a:pt x="77" y="0"/>
                  </a:moveTo>
                  <a:lnTo>
                    <a:pt x="4" y="91"/>
                  </a:lnTo>
                  <a:lnTo>
                    <a:pt x="0" y="192"/>
                  </a:lnTo>
                  <a:lnTo>
                    <a:pt x="63" y="155"/>
                  </a:lnTo>
                  <a:lnTo>
                    <a:pt x="140" y="155"/>
                  </a:lnTo>
                  <a:lnTo>
                    <a:pt x="194" y="205"/>
                  </a:lnTo>
                  <a:lnTo>
                    <a:pt x="244" y="164"/>
                  </a:lnTo>
                  <a:lnTo>
                    <a:pt x="7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6" name="Freeform 231">
              <a:extLst>
                <a:ext uri="{FF2B5EF4-FFF2-40B4-BE49-F238E27FC236}">
                  <a16:creationId xmlns:a16="http://schemas.microsoft.com/office/drawing/2014/main" id="{C1F60920-40D1-4488-A2B3-14ABFFF35E3B}"/>
                </a:ext>
              </a:extLst>
            </p:cNvPr>
            <p:cNvSpPr>
              <a:spLocks/>
            </p:cNvSpPr>
            <p:nvPr/>
          </p:nvSpPr>
          <p:spPr bwMode="auto">
            <a:xfrm>
              <a:off x="4571207" y="2548731"/>
              <a:ext cx="144463" cy="157163"/>
            </a:xfrm>
            <a:custGeom>
              <a:avLst/>
              <a:gdLst>
                <a:gd name="T0" fmla="*/ 182 w 272"/>
                <a:gd name="T1" fmla="*/ 0 h 296"/>
                <a:gd name="T2" fmla="*/ 0 w 272"/>
                <a:gd name="T3" fmla="*/ 172 h 296"/>
                <a:gd name="T4" fmla="*/ 18 w 272"/>
                <a:gd name="T5" fmla="*/ 214 h 296"/>
                <a:gd name="T6" fmla="*/ 241 w 272"/>
                <a:gd name="T7" fmla="*/ 296 h 296"/>
                <a:gd name="T8" fmla="*/ 272 w 272"/>
                <a:gd name="T9" fmla="*/ 241 h 296"/>
                <a:gd name="T10" fmla="*/ 254 w 272"/>
                <a:gd name="T11" fmla="*/ 150 h 296"/>
                <a:gd name="T12" fmla="*/ 182 w 272"/>
                <a:gd name="T13" fmla="*/ 159 h 296"/>
                <a:gd name="T14" fmla="*/ 141 w 272"/>
                <a:gd name="T15" fmla="*/ 113 h 296"/>
                <a:gd name="T16" fmla="*/ 208 w 272"/>
                <a:gd name="T17" fmla="*/ 45 h 296"/>
                <a:gd name="T18" fmla="*/ 182 w 272"/>
                <a:gd name="T1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296">
                  <a:moveTo>
                    <a:pt x="182" y="0"/>
                  </a:moveTo>
                  <a:lnTo>
                    <a:pt x="0" y="172"/>
                  </a:lnTo>
                  <a:lnTo>
                    <a:pt x="18" y="214"/>
                  </a:lnTo>
                  <a:lnTo>
                    <a:pt x="241" y="296"/>
                  </a:lnTo>
                  <a:lnTo>
                    <a:pt x="272" y="241"/>
                  </a:lnTo>
                  <a:lnTo>
                    <a:pt x="254" y="150"/>
                  </a:lnTo>
                  <a:lnTo>
                    <a:pt x="182" y="159"/>
                  </a:lnTo>
                  <a:lnTo>
                    <a:pt x="141" y="113"/>
                  </a:lnTo>
                  <a:lnTo>
                    <a:pt x="208" y="45"/>
                  </a:lnTo>
                  <a:lnTo>
                    <a:pt x="18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7" name="Freeform 232">
              <a:extLst>
                <a:ext uri="{FF2B5EF4-FFF2-40B4-BE49-F238E27FC236}">
                  <a16:creationId xmlns:a16="http://schemas.microsoft.com/office/drawing/2014/main" id="{08B912BC-C274-490B-87CC-9CA35073CB30}"/>
                </a:ext>
              </a:extLst>
            </p:cNvPr>
            <p:cNvSpPr>
              <a:spLocks/>
            </p:cNvSpPr>
            <p:nvPr/>
          </p:nvSpPr>
          <p:spPr bwMode="auto">
            <a:xfrm>
              <a:off x="2975769" y="1439068"/>
              <a:ext cx="1711325" cy="1381125"/>
            </a:xfrm>
            <a:custGeom>
              <a:avLst/>
              <a:gdLst>
                <a:gd name="T0" fmla="*/ 503 w 3233"/>
                <a:gd name="T1" fmla="*/ 51 h 2610"/>
                <a:gd name="T2" fmla="*/ 605 w 3233"/>
                <a:gd name="T3" fmla="*/ 141 h 2610"/>
                <a:gd name="T4" fmla="*/ 716 w 3233"/>
                <a:gd name="T5" fmla="*/ 103 h 2610"/>
                <a:gd name="T6" fmla="*/ 964 w 3233"/>
                <a:gd name="T7" fmla="*/ 73 h 2610"/>
                <a:gd name="T8" fmla="*/ 1040 w 3233"/>
                <a:gd name="T9" fmla="*/ 215 h 2610"/>
                <a:gd name="T10" fmla="*/ 1100 w 3233"/>
                <a:gd name="T11" fmla="*/ 159 h 2610"/>
                <a:gd name="T12" fmla="*/ 1348 w 3233"/>
                <a:gd name="T13" fmla="*/ 395 h 2610"/>
                <a:gd name="T14" fmla="*/ 1318 w 3233"/>
                <a:gd name="T15" fmla="*/ 499 h 2610"/>
                <a:gd name="T16" fmla="*/ 1514 w 3233"/>
                <a:gd name="T17" fmla="*/ 624 h 2610"/>
                <a:gd name="T18" fmla="*/ 1578 w 3233"/>
                <a:gd name="T19" fmla="*/ 503 h 2610"/>
                <a:gd name="T20" fmla="*/ 1719 w 3233"/>
                <a:gd name="T21" fmla="*/ 572 h 2610"/>
                <a:gd name="T22" fmla="*/ 1911 w 3233"/>
                <a:gd name="T23" fmla="*/ 645 h 2610"/>
                <a:gd name="T24" fmla="*/ 1957 w 3233"/>
                <a:gd name="T25" fmla="*/ 511 h 2610"/>
                <a:gd name="T26" fmla="*/ 2060 w 3233"/>
                <a:gd name="T27" fmla="*/ 533 h 2610"/>
                <a:gd name="T28" fmla="*/ 2000 w 3233"/>
                <a:gd name="T29" fmla="*/ 714 h 2610"/>
                <a:gd name="T30" fmla="*/ 2115 w 3233"/>
                <a:gd name="T31" fmla="*/ 584 h 2610"/>
                <a:gd name="T32" fmla="*/ 2076 w 3233"/>
                <a:gd name="T33" fmla="*/ 426 h 2610"/>
                <a:gd name="T34" fmla="*/ 2192 w 3233"/>
                <a:gd name="T35" fmla="*/ 318 h 2610"/>
                <a:gd name="T36" fmla="*/ 2248 w 3233"/>
                <a:gd name="T37" fmla="*/ 653 h 2610"/>
                <a:gd name="T38" fmla="*/ 2362 w 3233"/>
                <a:gd name="T39" fmla="*/ 615 h 2610"/>
                <a:gd name="T40" fmla="*/ 2380 w 3233"/>
                <a:gd name="T41" fmla="*/ 735 h 2610"/>
                <a:gd name="T42" fmla="*/ 2584 w 3233"/>
                <a:gd name="T43" fmla="*/ 662 h 2610"/>
                <a:gd name="T44" fmla="*/ 2452 w 3233"/>
                <a:gd name="T45" fmla="*/ 890 h 2610"/>
                <a:gd name="T46" fmla="*/ 2200 w 3233"/>
                <a:gd name="T47" fmla="*/ 881 h 2610"/>
                <a:gd name="T48" fmla="*/ 2175 w 3233"/>
                <a:gd name="T49" fmla="*/ 1006 h 2610"/>
                <a:gd name="T50" fmla="*/ 1894 w 3233"/>
                <a:gd name="T51" fmla="*/ 1153 h 2610"/>
                <a:gd name="T52" fmla="*/ 1744 w 3233"/>
                <a:gd name="T53" fmla="*/ 1384 h 2610"/>
                <a:gd name="T54" fmla="*/ 1867 w 3233"/>
                <a:gd name="T55" fmla="*/ 1505 h 2610"/>
                <a:gd name="T56" fmla="*/ 2188 w 3233"/>
                <a:gd name="T57" fmla="*/ 1715 h 2610"/>
                <a:gd name="T58" fmla="*/ 2140 w 3233"/>
                <a:gd name="T59" fmla="*/ 1969 h 2610"/>
                <a:gd name="T60" fmla="*/ 2260 w 3233"/>
                <a:gd name="T61" fmla="*/ 1913 h 2610"/>
                <a:gd name="T62" fmla="*/ 2376 w 3233"/>
                <a:gd name="T63" fmla="*/ 1736 h 2610"/>
                <a:gd name="T64" fmla="*/ 2436 w 3233"/>
                <a:gd name="T65" fmla="*/ 1488 h 2610"/>
                <a:gd name="T66" fmla="*/ 2742 w 3233"/>
                <a:gd name="T67" fmla="*/ 1281 h 2610"/>
                <a:gd name="T68" fmla="*/ 2794 w 3233"/>
                <a:gd name="T69" fmla="*/ 1530 h 2610"/>
                <a:gd name="T70" fmla="*/ 3028 w 3233"/>
                <a:gd name="T71" fmla="*/ 1457 h 2610"/>
                <a:gd name="T72" fmla="*/ 3228 w 3233"/>
                <a:gd name="T73" fmla="*/ 1947 h 2610"/>
                <a:gd name="T74" fmla="*/ 3063 w 3233"/>
                <a:gd name="T75" fmla="*/ 2085 h 2610"/>
                <a:gd name="T76" fmla="*/ 2811 w 3233"/>
                <a:gd name="T77" fmla="*/ 2132 h 2610"/>
                <a:gd name="T78" fmla="*/ 2576 w 3233"/>
                <a:gd name="T79" fmla="*/ 2244 h 2610"/>
                <a:gd name="T80" fmla="*/ 2777 w 3233"/>
                <a:gd name="T81" fmla="*/ 2201 h 2610"/>
                <a:gd name="T82" fmla="*/ 2768 w 3233"/>
                <a:gd name="T83" fmla="*/ 2322 h 2610"/>
                <a:gd name="T84" fmla="*/ 2823 w 3233"/>
                <a:gd name="T85" fmla="*/ 2442 h 2610"/>
                <a:gd name="T86" fmla="*/ 2900 w 3233"/>
                <a:gd name="T87" fmla="*/ 2391 h 2610"/>
                <a:gd name="T88" fmla="*/ 2879 w 3233"/>
                <a:gd name="T89" fmla="*/ 2494 h 2610"/>
                <a:gd name="T90" fmla="*/ 2726 w 3233"/>
                <a:gd name="T91" fmla="*/ 2567 h 2610"/>
                <a:gd name="T92" fmla="*/ 2649 w 3233"/>
                <a:gd name="T93" fmla="*/ 2515 h 2610"/>
                <a:gd name="T94" fmla="*/ 2631 w 3233"/>
                <a:gd name="T95" fmla="*/ 2464 h 2610"/>
                <a:gd name="T96" fmla="*/ 2598 w 3233"/>
                <a:gd name="T97" fmla="*/ 2301 h 2610"/>
                <a:gd name="T98" fmla="*/ 2499 w 3233"/>
                <a:gd name="T99" fmla="*/ 2412 h 2610"/>
                <a:gd name="T100" fmla="*/ 2120 w 3233"/>
                <a:gd name="T101" fmla="*/ 2533 h 2610"/>
                <a:gd name="T102" fmla="*/ 1860 w 3233"/>
                <a:gd name="T103" fmla="*/ 2576 h 2610"/>
                <a:gd name="T104" fmla="*/ 1911 w 3233"/>
                <a:gd name="T105" fmla="*/ 2335 h 2610"/>
                <a:gd name="T106" fmla="*/ 1781 w 3233"/>
                <a:gd name="T107" fmla="*/ 2187 h 2610"/>
                <a:gd name="T108" fmla="*/ 1521 w 3233"/>
                <a:gd name="T109" fmla="*/ 2062 h 2610"/>
                <a:gd name="T110" fmla="*/ 290 w 3233"/>
                <a:gd name="T111" fmla="*/ 1781 h 2610"/>
                <a:gd name="T112" fmla="*/ 179 w 3233"/>
                <a:gd name="T113" fmla="*/ 1592 h 2610"/>
                <a:gd name="T114" fmla="*/ 187 w 3233"/>
                <a:gd name="T115" fmla="*/ 1471 h 2610"/>
                <a:gd name="T116" fmla="*/ 137 w 3233"/>
                <a:gd name="T117" fmla="*/ 1360 h 2610"/>
                <a:gd name="T118" fmla="*/ 179 w 3233"/>
                <a:gd name="T119" fmla="*/ 912 h 2610"/>
                <a:gd name="T120" fmla="*/ 0 w 3233"/>
                <a:gd name="T121" fmla="*/ 796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3" h="2610">
                  <a:moveTo>
                    <a:pt x="469" y="0"/>
                  </a:moveTo>
                  <a:lnTo>
                    <a:pt x="503" y="51"/>
                  </a:lnTo>
                  <a:lnTo>
                    <a:pt x="519" y="120"/>
                  </a:lnTo>
                  <a:lnTo>
                    <a:pt x="605" y="141"/>
                  </a:lnTo>
                  <a:lnTo>
                    <a:pt x="664" y="77"/>
                  </a:lnTo>
                  <a:lnTo>
                    <a:pt x="716" y="103"/>
                  </a:lnTo>
                  <a:lnTo>
                    <a:pt x="861" y="116"/>
                  </a:lnTo>
                  <a:lnTo>
                    <a:pt x="964" y="73"/>
                  </a:lnTo>
                  <a:lnTo>
                    <a:pt x="980" y="215"/>
                  </a:lnTo>
                  <a:lnTo>
                    <a:pt x="1040" y="215"/>
                  </a:lnTo>
                  <a:lnTo>
                    <a:pt x="1040" y="155"/>
                  </a:lnTo>
                  <a:lnTo>
                    <a:pt x="1100" y="159"/>
                  </a:lnTo>
                  <a:lnTo>
                    <a:pt x="1249" y="335"/>
                  </a:lnTo>
                  <a:lnTo>
                    <a:pt x="1348" y="395"/>
                  </a:lnTo>
                  <a:lnTo>
                    <a:pt x="1297" y="477"/>
                  </a:lnTo>
                  <a:lnTo>
                    <a:pt x="1318" y="499"/>
                  </a:lnTo>
                  <a:lnTo>
                    <a:pt x="1509" y="537"/>
                  </a:lnTo>
                  <a:lnTo>
                    <a:pt x="1514" y="624"/>
                  </a:lnTo>
                  <a:lnTo>
                    <a:pt x="1565" y="632"/>
                  </a:lnTo>
                  <a:lnTo>
                    <a:pt x="1578" y="503"/>
                  </a:lnTo>
                  <a:lnTo>
                    <a:pt x="1659" y="482"/>
                  </a:lnTo>
                  <a:lnTo>
                    <a:pt x="1719" y="572"/>
                  </a:lnTo>
                  <a:lnTo>
                    <a:pt x="1847" y="632"/>
                  </a:lnTo>
                  <a:lnTo>
                    <a:pt x="1911" y="645"/>
                  </a:lnTo>
                  <a:lnTo>
                    <a:pt x="1953" y="593"/>
                  </a:lnTo>
                  <a:lnTo>
                    <a:pt x="1957" y="511"/>
                  </a:lnTo>
                  <a:lnTo>
                    <a:pt x="2034" y="464"/>
                  </a:lnTo>
                  <a:lnTo>
                    <a:pt x="2060" y="533"/>
                  </a:lnTo>
                  <a:lnTo>
                    <a:pt x="1991" y="653"/>
                  </a:lnTo>
                  <a:lnTo>
                    <a:pt x="2000" y="714"/>
                  </a:lnTo>
                  <a:lnTo>
                    <a:pt x="2039" y="653"/>
                  </a:lnTo>
                  <a:lnTo>
                    <a:pt x="2115" y="584"/>
                  </a:lnTo>
                  <a:lnTo>
                    <a:pt x="2119" y="495"/>
                  </a:lnTo>
                  <a:lnTo>
                    <a:pt x="2076" y="426"/>
                  </a:lnTo>
                  <a:lnTo>
                    <a:pt x="2089" y="370"/>
                  </a:lnTo>
                  <a:lnTo>
                    <a:pt x="2192" y="318"/>
                  </a:lnTo>
                  <a:lnTo>
                    <a:pt x="2239" y="353"/>
                  </a:lnTo>
                  <a:lnTo>
                    <a:pt x="2248" y="653"/>
                  </a:lnTo>
                  <a:lnTo>
                    <a:pt x="2320" y="589"/>
                  </a:lnTo>
                  <a:lnTo>
                    <a:pt x="2362" y="615"/>
                  </a:lnTo>
                  <a:lnTo>
                    <a:pt x="2303" y="718"/>
                  </a:lnTo>
                  <a:lnTo>
                    <a:pt x="2380" y="735"/>
                  </a:lnTo>
                  <a:lnTo>
                    <a:pt x="2490" y="563"/>
                  </a:lnTo>
                  <a:lnTo>
                    <a:pt x="2584" y="662"/>
                  </a:lnTo>
                  <a:lnTo>
                    <a:pt x="2546" y="838"/>
                  </a:lnTo>
                  <a:lnTo>
                    <a:pt x="2452" y="890"/>
                  </a:lnTo>
                  <a:lnTo>
                    <a:pt x="2362" y="847"/>
                  </a:lnTo>
                  <a:lnTo>
                    <a:pt x="2200" y="881"/>
                  </a:lnTo>
                  <a:lnTo>
                    <a:pt x="2217" y="937"/>
                  </a:lnTo>
                  <a:lnTo>
                    <a:pt x="2175" y="1006"/>
                  </a:lnTo>
                  <a:lnTo>
                    <a:pt x="2043" y="1036"/>
                  </a:lnTo>
                  <a:lnTo>
                    <a:pt x="1894" y="1153"/>
                  </a:lnTo>
                  <a:lnTo>
                    <a:pt x="1761" y="1328"/>
                  </a:lnTo>
                  <a:lnTo>
                    <a:pt x="1744" y="1384"/>
                  </a:lnTo>
                  <a:lnTo>
                    <a:pt x="1834" y="1418"/>
                  </a:lnTo>
                  <a:lnTo>
                    <a:pt x="1867" y="1505"/>
                  </a:lnTo>
                  <a:lnTo>
                    <a:pt x="1991" y="1630"/>
                  </a:lnTo>
                  <a:lnTo>
                    <a:pt x="2188" y="1715"/>
                  </a:lnTo>
                  <a:lnTo>
                    <a:pt x="2145" y="1913"/>
                  </a:lnTo>
                  <a:lnTo>
                    <a:pt x="2140" y="1969"/>
                  </a:lnTo>
                  <a:lnTo>
                    <a:pt x="2192" y="2003"/>
                  </a:lnTo>
                  <a:lnTo>
                    <a:pt x="2260" y="1913"/>
                  </a:lnTo>
                  <a:lnTo>
                    <a:pt x="2269" y="1741"/>
                  </a:lnTo>
                  <a:lnTo>
                    <a:pt x="2376" y="1736"/>
                  </a:lnTo>
                  <a:lnTo>
                    <a:pt x="2426" y="1638"/>
                  </a:lnTo>
                  <a:lnTo>
                    <a:pt x="2436" y="1488"/>
                  </a:lnTo>
                  <a:lnTo>
                    <a:pt x="2572" y="1221"/>
                  </a:lnTo>
                  <a:lnTo>
                    <a:pt x="2742" y="1281"/>
                  </a:lnTo>
                  <a:lnTo>
                    <a:pt x="2831" y="1406"/>
                  </a:lnTo>
                  <a:lnTo>
                    <a:pt x="2794" y="1530"/>
                  </a:lnTo>
                  <a:lnTo>
                    <a:pt x="2862" y="1569"/>
                  </a:lnTo>
                  <a:lnTo>
                    <a:pt x="3028" y="1457"/>
                  </a:lnTo>
                  <a:lnTo>
                    <a:pt x="3075" y="1763"/>
                  </a:lnTo>
                  <a:lnTo>
                    <a:pt x="3228" y="1947"/>
                  </a:lnTo>
                  <a:lnTo>
                    <a:pt x="3233" y="2042"/>
                  </a:lnTo>
                  <a:lnTo>
                    <a:pt x="3063" y="2085"/>
                  </a:lnTo>
                  <a:lnTo>
                    <a:pt x="2982" y="2171"/>
                  </a:lnTo>
                  <a:lnTo>
                    <a:pt x="2811" y="2132"/>
                  </a:lnTo>
                  <a:lnTo>
                    <a:pt x="2726" y="2128"/>
                  </a:lnTo>
                  <a:lnTo>
                    <a:pt x="2576" y="2244"/>
                  </a:lnTo>
                  <a:lnTo>
                    <a:pt x="2666" y="2222"/>
                  </a:lnTo>
                  <a:lnTo>
                    <a:pt x="2777" y="2201"/>
                  </a:lnTo>
                  <a:lnTo>
                    <a:pt x="2798" y="2228"/>
                  </a:lnTo>
                  <a:lnTo>
                    <a:pt x="2768" y="2322"/>
                  </a:lnTo>
                  <a:lnTo>
                    <a:pt x="2772" y="2407"/>
                  </a:lnTo>
                  <a:lnTo>
                    <a:pt x="2823" y="2442"/>
                  </a:lnTo>
                  <a:lnTo>
                    <a:pt x="2875" y="2430"/>
                  </a:lnTo>
                  <a:lnTo>
                    <a:pt x="2900" y="2391"/>
                  </a:lnTo>
                  <a:lnTo>
                    <a:pt x="2935" y="2391"/>
                  </a:lnTo>
                  <a:lnTo>
                    <a:pt x="2879" y="2494"/>
                  </a:lnTo>
                  <a:lnTo>
                    <a:pt x="2772" y="2498"/>
                  </a:lnTo>
                  <a:lnTo>
                    <a:pt x="2726" y="2567"/>
                  </a:lnTo>
                  <a:lnTo>
                    <a:pt x="2666" y="2567"/>
                  </a:lnTo>
                  <a:lnTo>
                    <a:pt x="2649" y="2515"/>
                  </a:lnTo>
                  <a:lnTo>
                    <a:pt x="2734" y="2430"/>
                  </a:lnTo>
                  <a:lnTo>
                    <a:pt x="2631" y="2464"/>
                  </a:lnTo>
                  <a:lnTo>
                    <a:pt x="2627" y="2318"/>
                  </a:lnTo>
                  <a:lnTo>
                    <a:pt x="2598" y="2301"/>
                  </a:lnTo>
                  <a:lnTo>
                    <a:pt x="2508" y="2339"/>
                  </a:lnTo>
                  <a:lnTo>
                    <a:pt x="2499" y="2412"/>
                  </a:lnTo>
                  <a:lnTo>
                    <a:pt x="2294" y="2412"/>
                  </a:lnTo>
                  <a:lnTo>
                    <a:pt x="2120" y="2533"/>
                  </a:lnTo>
                  <a:lnTo>
                    <a:pt x="1885" y="2610"/>
                  </a:lnTo>
                  <a:lnTo>
                    <a:pt x="1860" y="2576"/>
                  </a:lnTo>
                  <a:lnTo>
                    <a:pt x="1978" y="2399"/>
                  </a:lnTo>
                  <a:lnTo>
                    <a:pt x="1911" y="2335"/>
                  </a:lnTo>
                  <a:lnTo>
                    <a:pt x="1868" y="2253"/>
                  </a:lnTo>
                  <a:lnTo>
                    <a:pt x="1781" y="2187"/>
                  </a:lnTo>
                  <a:lnTo>
                    <a:pt x="1688" y="2179"/>
                  </a:lnTo>
                  <a:lnTo>
                    <a:pt x="1521" y="2062"/>
                  </a:lnTo>
                  <a:lnTo>
                    <a:pt x="310" y="1863"/>
                  </a:lnTo>
                  <a:lnTo>
                    <a:pt x="290" y="1781"/>
                  </a:lnTo>
                  <a:lnTo>
                    <a:pt x="179" y="1677"/>
                  </a:lnTo>
                  <a:lnTo>
                    <a:pt x="179" y="1592"/>
                  </a:lnTo>
                  <a:lnTo>
                    <a:pt x="197" y="1514"/>
                  </a:lnTo>
                  <a:lnTo>
                    <a:pt x="187" y="1471"/>
                  </a:lnTo>
                  <a:lnTo>
                    <a:pt x="145" y="1429"/>
                  </a:lnTo>
                  <a:lnTo>
                    <a:pt x="137" y="1360"/>
                  </a:lnTo>
                  <a:lnTo>
                    <a:pt x="247" y="1282"/>
                  </a:lnTo>
                  <a:lnTo>
                    <a:pt x="179" y="912"/>
                  </a:lnTo>
                  <a:lnTo>
                    <a:pt x="85" y="908"/>
                  </a:lnTo>
                  <a:lnTo>
                    <a:pt x="0" y="796"/>
                  </a:lnTo>
                  <a:lnTo>
                    <a:pt x="46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8" name="Freeform 233">
              <a:extLst>
                <a:ext uri="{FF2B5EF4-FFF2-40B4-BE49-F238E27FC236}">
                  <a16:creationId xmlns:a16="http://schemas.microsoft.com/office/drawing/2014/main" id="{A70CAC7E-C41F-4D13-A0DD-61B2DE2B4E65}"/>
                </a:ext>
              </a:extLst>
            </p:cNvPr>
            <p:cNvSpPr>
              <a:spLocks/>
            </p:cNvSpPr>
            <p:nvPr/>
          </p:nvSpPr>
          <p:spPr bwMode="auto">
            <a:xfrm>
              <a:off x="2961482" y="2432843"/>
              <a:ext cx="1395413" cy="903288"/>
            </a:xfrm>
            <a:custGeom>
              <a:avLst/>
              <a:gdLst>
                <a:gd name="T0" fmla="*/ 333 w 2637"/>
                <a:gd name="T1" fmla="*/ 0 h 1707"/>
                <a:gd name="T2" fmla="*/ 316 w 2637"/>
                <a:gd name="T3" fmla="*/ 69 h 1707"/>
                <a:gd name="T4" fmla="*/ 257 w 2637"/>
                <a:gd name="T5" fmla="*/ 31 h 1707"/>
                <a:gd name="T6" fmla="*/ 227 w 2637"/>
                <a:gd name="T7" fmla="*/ 31 h 1707"/>
                <a:gd name="T8" fmla="*/ 209 w 2637"/>
                <a:gd name="T9" fmla="*/ 104 h 1707"/>
                <a:gd name="T10" fmla="*/ 0 w 2637"/>
                <a:gd name="T11" fmla="*/ 573 h 1707"/>
                <a:gd name="T12" fmla="*/ 56 w 2637"/>
                <a:gd name="T13" fmla="*/ 981 h 1707"/>
                <a:gd name="T14" fmla="*/ 124 w 2637"/>
                <a:gd name="T15" fmla="*/ 1015 h 1707"/>
                <a:gd name="T16" fmla="*/ 137 w 2637"/>
                <a:gd name="T17" fmla="*/ 1127 h 1707"/>
                <a:gd name="T18" fmla="*/ 278 w 2637"/>
                <a:gd name="T19" fmla="*/ 1127 h 1707"/>
                <a:gd name="T20" fmla="*/ 414 w 2637"/>
                <a:gd name="T21" fmla="*/ 1230 h 1707"/>
                <a:gd name="T22" fmla="*/ 683 w 2637"/>
                <a:gd name="T23" fmla="*/ 1256 h 1707"/>
                <a:gd name="T24" fmla="*/ 713 w 2637"/>
                <a:gd name="T25" fmla="*/ 1393 h 1707"/>
                <a:gd name="T26" fmla="*/ 755 w 2637"/>
                <a:gd name="T27" fmla="*/ 1424 h 1707"/>
                <a:gd name="T28" fmla="*/ 815 w 2637"/>
                <a:gd name="T29" fmla="*/ 1364 h 1707"/>
                <a:gd name="T30" fmla="*/ 862 w 2637"/>
                <a:gd name="T31" fmla="*/ 1385 h 1707"/>
                <a:gd name="T32" fmla="*/ 905 w 2637"/>
                <a:gd name="T33" fmla="*/ 1583 h 1707"/>
                <a:gd name="T34" fmla="*/ 978 w 2637"/>
                <a:gd name="T35" fmla="*/ 1630 h 1707"/>
                <a:gd name="T36" fmla="*/ 1038 w 2637"/>
                <a:gd name="T37" fmla="*/ 1518 h 1707"/>
                <a:gd name="T38" fmla="*/ 1220 w 2637"/>
                <a:gd name="T39" fmla="*/ 1385 h 1707"/>
                <a:gd name="T40" fmla="*/ 1340 w 2637"/>
                <a:gd name="T41" fmla="*/ 1441 h 1707"/>
                <a:gd name="T42" fmla="*/ 1443 w 2637"/>
                <a:gd name="T43" fmla="*/ 1449 h 1707"/>
                <a:gd name="T44" fmla="*/ 1447 w 2637"/>
                <a:gd name="T45" fmla="*/ 1385 h 1707"/>
                <a:gd name="T46" fmla="*/ 1660 w 2637"/>
                <a:gd name="T47" fmla="*/ 1389 h 1707"/>
                <a:gd name="T48" fmla="*/ 1702 w 2637"/>
                <a:gd name="T49" fmla="*/ 1437 h 1707"/>
                <a:gd name="T50" fmla="*/ 1711 w 2637"/>
                <a:gd name="T51" fmla="*/ 1543 h 1707"/>
                <a:gd name="T52" fmla="*/ 1685 w 2637"/>
                <a:gd name="T53" fmla="*/ 1604 h 1707"/>
                <a:gd name="T54" fmla="*/ 1716 w 2637"/>
                <a:gd name="T55" fmla="*/ 1707 h 1707"/>
                <a:gd name="T56" fmla="*/ 1779 w 2637"/>
                <a:gd name="T57" fmla="*/ 1707 h 1707"/>
                <a:gd name="T58" fmla="*/ 1843 w 2637"/>
                <a:gd name="T59" fmla="*/ 1608 h 1707"/>
                <a:gd name="T60" fmla="*/ 1818 w 2637"/>
                <a:gd name="T61" fmla="*/ 1561 h 1707"/>
                <a:gd name="T62" fmla="*/ 1793 w 2637"/>
                <a:gd name="T63" fmla="*/ 1458 h 1707"/>
                <a:gd name="T64" fmla="*/ 1831 w 2637"/>
                <a:gd name="T65" fmla="*/ 1341 h 1707"/>
                <a:gd name="T66" fmla="*/ 2006 w 2637"/>
                <a:gd name="T67" fmla="*/ 1191 h 1707"/>
                <a:gd name="T68" fmla="*/ 2138 w 2637"/>
                <a:gd name="T69" fmla="*/ 1153 h 1707"/>
                <a:gd name="T70" fmla="*/ 2120 w 2637"/>
                <a:gd name="T71" fmla="*/ 1028 h 1707"/>
                <a:gd name="T72" fmla="*/ 2304 w 2637"/>
                <a:gd name="T73" fmla="*/ 830 h 1707"/>
                <a:gd name="T74" fmla="*/ 2488 w 2637"/>
                <a:gd name="T75" fmla="*/ 800 h 1707"/>
                <a:gd name="T76" fmla="*/ 2457 w 2637"/>
                <a:gd name="T77" fmla="*/ 697 h 1707"/>
                <a:gd name="T78" fmla="*/ 2637 w 2637"/>
                <a:gd name="T79" fmla="*/ 594 h 1707"/>
                <a:gd name="T80" fmla="*/ 2637 w 2637"/>
                <a:gd name="T81" fmla="*/ 456 h 1707"/>
                <a:gd name="T82" fmla="*/ 2620 w 2637"/>
                <a:gd name="T83" fmla="*/ 448 h 1707"/>
                <a:gd name="T84" fmla="*/ 2556 w 2637"/>
                <a:gd name="T85" fmla="*/ 469 h 1707"/>
                <a:gd name="T86" fmla="*/ 2547 w 2637"/>
                <a:gd name="T87" fmla="*/ 554 h 1707"/>
                <a:gd name="T88" fmla="*/ 2335 w 2637"/>
                <a:gd name="T89" fmla="*/ 556 h 1707"/>
                <a:gd name="T90" fmla="*/ 2167 w 2637"/>
                <a:gd name="T91" fmla="*/ 667 h 1707"/>
                <a:gd name="T92" fmla="*/ 1905 w 2637"/>
                <a:gd name="T93" fmla="*/ 753 h 1707"/>
                <a:gd name="T94" fmla="*/ 1864 w 2637"/>
                <a:gd name="T95" fmla="*/ 701 h 1707"/>
                <a:gd name="T96" fmla="*/ 1982 w 2637"/>
                <a:gd name="T97" fmla="*/ 521 h 1707"/>
                <a:gd name="T98" fmla="*/ 1924 w 2637"/>
                <a:gd name="T99" fmla="*/ 465 h 1707"/>
                <a:gd name="T100" fmla="*/ 1884 w 2637"/>
                <a:gd name="T101" fmla="*/ 389 h 1707"/>
                <a:gd name="T102" fmla="*/ 1802 w 2637"/>
                <a:gd name="T103" fmla="*/ 323 h 1707"/>
                <a:gd name="T104" fmla="*/ 1711 w 2637"/>
                <a:gd name="T105" fmla="*/ 315 h 1707"/>
                <a:gd name="T106" fmla="*/ 1542 w 2637"/>
                <a:gd name="T107" fmla="*/ 199 h 1707"/>
                <a:gd name="T108" fmla="*/ 333 w 2637"/>
                <a:gd name="T109" fmla="*/ 0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37" h="1707">
                  <a:moveTo>
                    <a:pt x="333" y="0"/>
                  </a:moveTo>
                  <a:lnTo>
                    <a:pt x="316" y="69"/>
                  </a:lnTo>
                  <a:lnTo>
                    <a:pt x="257" y="31"/>
                  </a:lnTo>
                  <a:lnTo>
                    <a:pt x="227" y="31"/>
                  </a:lnTo>
                  <a:lnTo>
                    <a:pt x="209" y="104"/>
                  </a:lnTo>
                  <a:lnTo>
                    <a:pt x="0" y="573"/>
                  </a:lnTo>
                  <a:lnTo>
                    <a:pt x="56" y="981"/>
                  </a:lnTo>
                  <a:lnTo>
                    <a:pt x="124" y="1015"/>
                  </a:lnTo>
                  <a:lnTo>
                    <a:pt x="137" y="1127"/>
                  </a:lnTo>
                  <a:lnTo>
                    <a:pt x="278" y="1127"/>
                  </a:lnTo>
                  <a:lnTo>
                    <a:pt x="414" y="1230"/>
                  </a:lnTo>
                  <a:lnTo>
                    <a:pt x="683" y="1256"/>
                  </a:lnTo>
                  <a:lnTo>
                    <a:pt x="713" y="1393"/>
                  </a:lnTo>
                  <a:lnTo>
                    <a:pt x="755" y="1424"/>
                  </a:lnTo>
                  <a:lnTo>
                    <a:pt x="815" y="1364"/>
                  </a:lnTo>
                  <a:lnTo>
                    <a:pt x="862" y="1385"/>
                  </a:lnTo>
                  <a:lnTo>
                    <a:pt x="905" y="1583"/>
                  </a:lnTo>
                  <a:lnTo>
                    <a:pt x="978" y="1630"/>
                  </a:lnTo>
                  <a:lnTo>
                    <a:pt x="1038" y="1518"/>
                  </a:lnTo>
                  <a:lnTo>
                    <a:pt x="1220" y="1385"/>
                  </a:lnTo>
                  <a:lnTo>
                    <a:pt x="1340" y="1441"/>
                  </a:lnTo>
                  <a:lnTo>
                    <a:pt x="1443" y="1449"/>
                  </a:lnTo>
                  <a:lnTo>
                    <a:pt x="1447" y="1385"/>
                  </a:lnTo>
                  <a:lnTo>
                    <a:pt x="1660" y="1389"/>
                  </a:lnTo>
                  <a:lnTo>
                    <a:pt x="1702" y="1437"/>
                  </a:lnTo>
                  <a:lnTo>
                    <a:pt x="1711" y="1543"/>
                  </a:lnTo>
                  <a:lnTo>
                    <a:pt x="1685" y="1604"/>
                  </a:lnTo>
                  <a:lnTo>
                    <a:pt x="1716" y="1707"/>
                  </a:lnTo>
                  <a:lnTo>
                    <a:pt x="1779" y="1707"/>
                  </a:lnTo>
                  <a:lnTo>
                    <a:pt x="1843" y="1608"/>
                  </a:lnTo>
                  <a:lnTo>
                    <a:pt x="1818" y="1561"/>
                  </a:lnTo>
                  <a:lnTo>
                    <a:pt x="1793" y="1458"/>
                  </a:lnTo>
                  <a:lnTo>
                    <a:pt x="1831" y="1341"/>
                  </a:lnTo>
                  <a:lnTo>
                    <a:pt x="2006" y="1191"/>
                  </a:lnTo>
                  <a:lnTo>
                    <a:pt x="2138" y="1153"/>
                  </a:lnTo>
                  <a:lnTo>
                    <a:pt x="2120" y="1028"/>
                  </a:lnTo>
                  <a:lnTo>
                    <a:pt x="2304" y="830"/>
                  </a:lnTo>
                  <a:lnTo>
                    <a:pt x="2488" y="800"/>
                  </a:lnTo>
                  <a:lnTo>
                    <a:pt x="2457" y="697"/>
                  </a:lnTo>
                  <a:lnTo>
                    <a:pt x="2637" y="594"/>
                  </a:lnTo>
                  <a:lnTo>
                    <a:pt x="2637" y="456"/>
                  </a:lnTo>
                  <a:lnTo>
                    <a:pt x="2620" y="448"/>
                  </a:lnTo>
                  <a:lnTo>
                    <a:pt x="2556" y="469"/>
                  </a:lnTo>
                  <a:lnTo>
                    <a:pt x="2547" y="554"/>
                  </a:lnTo>
                  <a:lnTo>
                    <a:pt x="2335" y="556"/>
                  </a:lnTo>
                  <a:lnTo>
                    <a:pt x="2167" y="667"/>
                  </a:lnTo>
                  <a:lnTo>
                    <a:pt x="1905" y="753"/>
                  </a:lnTo>
                  <a:lnTo>
                    <a:pt x="1864" y="701"/>
                  </a:lnTo>
                  <a:lnTo>
                    <a:pt x="1982" y="521"/>
                  </a:lnTo>
                  <a:lnTo>
                    <a:pt x="1924" y="465"/>
                  </a:lnTo>
                  <a:lnTo>
                    <a:pt x="1884" y="389"/>
                  </a:lnTo>
                  <a:lnTo>
                    <a:pt x="1802" y="323"/>
                  </a:lnTo>
                  <a:lnTo>
                    <a:pt x="1711" y="315"/>
                  </a:lnTo>
                  <a:lnTo>
                    <a:pt x="1542" y="199"/>
                  </a:lnTo>
                  <a:lnTo>
                    <a:pt x="3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9" name="Freeform 234">
              <a:extLst>
                <a:ext uri="{FF2B5EF4-FFF2-40B4-BE49-F238E27FC236}">
                  <a16:creationId xmlns:a16="http://schemas.microsoft.com/office/drawing/2014/main" id="{E010214F-A0DC-4D7B-B76E-D65A1A42FA5A}"/>
                </a:ext>
              </a:extLst>
            </p:cNvPr>
            <p:cNvSpPr>
              <a:spLocks/>
            </p:cNvSpPr>
            <p:nvPr/>
          </p:nvSpPr>
          <p:spPr bwMode="auto">
            <a:xfrm>
              <a:off x="2988469" y="2161381"/>
              <a:ext cx="38100" cy="111125"/>
            </a:xfrm>
            <a:custGeom>
              <a:avLst/>
              <a:gdLst>
                <a:gd name="T0" fmla="*/ 28 w 72"/>
                <a:gd name="T1" fmla="*/ 0 h 210"/>
                <a:gd name="T2" fmla="*/ 0 w 72"/>
                <a:gd name="T3" fmla="*/ 56 h 210"/>
                <a:gd name="T4" fmla="*/ 10 w 72"/>
                <a:gd name="T5" fmla="*/ 95 h 210"/>
                <a:gd name="T6" fmla="*/ 28 w 72"/>
                <a:gd name="T7" fmla="*/ 107 h 210"/>
                <a:gd name="T8" fmla="*/ 24 w 72"/>
                <a:gd name="T9" fmla="*/ 124 h 210"/>
                <a:gd name="T10" fmla="*/ 4 w 72"/>
                <a:gd name="T11" fmla="*/ 129 h 210"/>
                <a:gd name="T12" fmla="*/ 10 w 72"/>
                <a:gd name="T13" fmla="*/ 188 h 210"/>
                <a:gd name="T14" fmla="*/ 31 w 72"/>
                <a:gd name="T15" fmla="*/ 210 h 210"/>
                <a:gd name="T16" fmla="*/ 49 w 72"/>
                <a:gd name="T17" fmla="*/ 191 h 210"/>
                <a:gd name="T18" fmla="*/ 27 w 72"/>
                <a:gd name="T19" fmla="*/ 134 h 210"/>
                <a:gd name="T20" fmla="*/ 41 w 72"/>
                <a:gd name="T21" fmla="*/ 88 h 210"/>
                <a:gd name="T22" fmla="*/ 72 w 72"/>
                <a:gd name="T23" fmla="*/ 45 h 210"/>
                <a:gd name="T24" fmla="*/ 49 w 72"/>
                <a:gd name="T25" fmla="*/ 6 h 210"/>
                <a:gd name="T26" fmla="*/ 28 w 72"/>
                <a:gd name="T27"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10">
                  <a:moveTo>
                    <a:pt x="28" y="0"/>
                  </a:moveTo>
                  <a:lnTo>
                    <a:pt x="0" y="56"/>
                  </a:lnTo>
                  <a:lnTo>
                    <a:pt x="10" y="95"/>
                  </a:lnTo>
                  <a:lnTo>
                    <a:pt x="28" y="107"/>
                  </a:lnTo>
                  <a:lnTo>
                    <a:pt x="24" y="124"/>
                  </a:lnTo>
                  <a:lnTo>
                    <a:pt x="4" y="129"/>
                  </a:lnTo>
                  <a:lnTo>
                    <a:pt x="10" y="188"/>
                  </a:lnTo>
                  <a:lnTo>
                    <a:pt x="31" y="210"/>
                  </a:lnTo>
                  <a:lnTo>
                    <a:pt x="49" y="191"/>
                  </a:lnTo>
                  <a:lnTo>
                    <a:pt x="27" y="134"/>
                  </a:lnTo>
                  <a:lnTo>
                    <a:pt x="41" y="88"/>
                  </a:lnTo>
                  <a:lnTo>
                    <a:pt x="72" y="45"/>
                  </a:lnTo>
                  <a:lnTo>
                    <a:pt x="49" y="6"/>
                  </a:lnTo>
                  <a:lnTo>
                    <a:pt x="2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0" name="Freeform 235">
              <a:extLst>
                <a:ext uri="{FF2B5EF4-FFF2-40B4-BE49-F238E27FC236}">
                  <a16:creationId xmlns:a16="http://schemas.microsoft.com/office/drawing/2014/main" id="{2E6B303E-9BF2-4553-B17B-9ABB775CA562}"/>
                </a:ext>
              </a:extLst>
            </p:cNvPr>
            <p:cNvSpPr>
              <a:spLocks/>
            </p:cNvSpPr>
            <p:nvPr/>
          </p:nvSpPr>
          <p:spPr bwMode="auto">
            <a:xfrm>
              <a:off x="3039269" y="2339181"/>
              <a:ext cx="79375" cy="96838"/>
            </a:xfrm>
            <a:custGeom>
              <a:avLst/>
              <a:gdLst>
                <a:gd name="T0" fmla="*/ 27 w 150"/>
                <a:gd name="T1" fmla="*/ 0 h 183"/>
                <a:gd name="T2" fmla="*/ 0 w 150"/>
                <a:gd name="T3" fmla="*/ 10 h 183"/>
                <a:gd name="T4" fmla="*/ 49 w 150"/>
                <a:gd name="T5" fmla="*/ 66 h 183"/>
                <a:gd name="T6" fmla="*/ 60 w 150"/>
                <a:gd name="T7" fmla="*/ 132 h 183"/>
                <a:gd name="T8" fmla="*/ 109 w 150"/>
                <a:gd name="T9" fmla="*/ 183 h 183"/>
                <a:gd name="T10" fmla="*/ 150 w 150"/>
                <a:gd name="T11" fmla="*/ 176 h 183"/>
                <a:gd name="T12" fmla="*/ 150 w 150"/>
                <a:gd name="T13" fmla="*/ 108 h 183"/>
                <a:gd name="T14" fmla="*/ 100 w 150"/>
                <a:gd name="T15" fmla="*/ 78 h 183"/>
                <a:gd name="T16" fmla="*/ 27 w 150"/>
                <a:gd name="T1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183">
                  <a:moveTo>
                    <a:pt x="27" y="0"/>
                  </a:moveTo>
                  <a:lnTo>
                    <a:pt x="0" y="10"/>
                  </a:lnTo>
                  <a:lnTo>
                    <a:pt x="49" y="66"/>
                  </a:lnTo>
                  <a:lnTo>
                    <a:pt x="60" y="132"/>
                  </a:lnTo>
                  <a:lnTo>
                    <a:pt x="109" y="183"/>
                  </a:lnTo>
                  <a:lnTo>
                    <a:pt x="150" y="176"/>
                  </a:lnTo>
                  <a:lnTo>
                    <a:pt x="150" y="108"/>
                  </a:lnTo>
                  <a:lnTo>
                    <a:pt x="100" y="78"/>
                  </a:lnTo>
                  <a:lnTo>
                    <a:pt x="2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1" name="Freeform 236">
              <a:extLst>
                <a:ext uri="{FF2B5EF4-FFF2-40B4-BE49-F238E27FC236}">
                  <a16:creationId xmlns:a16="http://schemas.microsoft.com/office/drawing/2014/main" id="{9C4DF282-9E6E-46BA-82BA-D9EE1BAD3B8D}"/>
                </a:ext>
              </a:extLst>
            </p:cNvPr>
            <p:cNvSpPr>
              <a:spLocks/>
            </p:cNvSpPr>
            <p:nvPr/>
          </p:nvSpPr>
          <p:spPr bwMode="auto">
            <a:xfrm>
              <a:off x="3556794" y="3550443"/>
              <a:ext cx="107950" cy="128588"/>
            </a:xfrm>
            <a:custGeom>
              <a:avLst/>
              <a:gdLst>
                <a:gd name="T0" fmla="*/ 0 w 203"/>
                <a:gd name="T1" fmla="*/ 170 h 245"/>
                <a:gd name="T2" fmla="*/ 101 w 203"/>
                <a:gd name="T3" fmla="*/ 245 h 245"/>
                <a:gd name="T4" fmla="*/ 203 w 203"/>
                <a:gd name="T5" fmla="*/ 118 h 245"/>
                <a:gd name="T6" fmla="*/ 186 w 203"/>
                <a:gd name="T7" fmla="*/ 91 h 245"/>
                <a:gd name="T8" fmla="*/ 151 w 203"/>
                <a:gd name="T9" fmla="*/ 90 h 245"/>
                <a:gd name="T10" fmla="*/ 151 w 203"/>
                <a:gd name="T11" fmla="*/ 16 h 245"/>
                <a:gd name="T12" fmla="*/ 125 w 203"/>
                <a:gd name="T13" fmla="*/ 0 h 245"/>
                <a:gd name="T14" fmla="*/ 46 w 203"/>
                <a:gd name="T15" fmla="*/ 23 h 245"/>
                <a:gd name="T16" fmla="*/ 76 w 203"/>
                <a:gd name="T17" fmla="*/ 93 h 245"/>
                <a:gd name="T18" fmla="*/ 0 w 203"/>
                <a:gd name="T19" fmla="*/ 17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45">
                  <a:moveTo>
                    <a:pt x="0" y="170"/>
                  </a:moveTo>
                  <a:lnTo>
                    <a:pt x="101" y="245"/>
                  </a:lnTo>
                  <a:lnTo>
                    <a:pt x="203" y="118"/>
                  </a:lnTo>
                  <a:lnTo>
                    <a:pt x="186" y="91"/>
                  </a:lnTo>
                  <a:lnTo>
                    <a:pt x="151" y="90"/>
                  </a:lnTo>
                  <a:lnTo>
                    <a:pt x="151" y="16"/>
                  </a:lnTo>
                  <a:lnTo>
                    <a:pt x="125" y="0"/>
                  </a:lnTo>
                  <a:lnTo>
                    <a:pt x="46" y="23"/>
                  </a:lnTo>
                  <a:lnTo>
                    <a:pt x="76" y="93"/>
                  </a:lnTo>
                  <a:lnTo>
                    <a:pt x="0" y="17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2" name="Freeform 237">
              <a:extLst>
                <a:ext uri="{FF2B5EF4-FFF2-40B4-BE49-F238E27FC236}">
                  <a16:creationId xmlns:a16="http://schemas.microsoft.com/office/drawing/2014/main" id="{A1A7A8A0-2F15-40A5-823B-A399EF6E57E9}"/>
                </a:ext>
              </a:extLst>
            </p:cNvPr>
            <p:cNvSpPr>
              <a:spLocks/>
            </p:cNvSpPr>
            <p:nvPr/>
          </p:nvSpPr>
          <p:spPr bwMode="auto">
            <a:xfrm>
              <a:off x="3644107" y="3612356"/>
              <a:ext cx="134938" cy="100013"/>
            </a:xfrm>
            <a:custGeom>
              <a:avLst/>
              <a:gdLst>
                <a:gd name="T0" fmla="*/ 52 w 257"/>
                <a:gd name="T1" fmla="*/ 6 h 190"/>
                <a:gd name="T2" fmla="*/ 210 w 257"/>
                <a:gd name="T3" fmla="*/ 0 h 190"/>
                <a:gd name="T4" fmla="*/ 257 w 257"/>
                <a:gd name="T5" fmla="*/ 55 h 190"/>
                <a:gd name="T6" fmla="*/ 229 w 257"/>
                <a:gd name="T7" fmla="*/ 49 h 190"/>
                <a:gd name="T8" fmla="*/ 172 w 257"/>
                <a:gd name="T9" fmla="*/ 51 h 190"/>
                <a:gd name="T10" fmla="*/ 99 w 257"/>
                <a:gd name="T11" fmla="*/ 120 h 190"/>
                <a:gd name="T12" fmla="*/ 66 w 257"/>
                <a:gd name="T13" fmla="*/ 190 h 190"/>
                <a:gd name="T14" fmla="*/ 46 w 257"/>
                <a:gd name="T15" fmla="*/ 179 h 190"/>
                <a:gd name="T16" fmla="*/ 46 w 257"/>
                <a:gd name="T17" fmla="*/ 103 h 190"/>
                <a:gd name="T18" fmla="*/ 0 w 257"/>
                <a:gd name="T19" fmla="*/ 73 h 190"/>
                <a:gd name="T20" fmla="*/ 52 w 257"/>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 h="190">
                  <a:moveTo>
                    <a:pt x="52" y="6"/>
                  </a:moveTo>
                  <a:lnTo>
                    <a:pt x="210" y="0"/>
                  </a:lnTo>
                  <a:lnTo>
                    <a:pt x="257" y="55"/>
                  </a:lnTo>
                  <a:lnTo>
                    <a:pt x="229" y="49"/>
                  </a:lnTo>
                  <a:lnTo>
                    <a:pt x="172" y="51"/>
                  </a:lnTo>
                  <a:lnTo>
                    <a:pt x="99" y="120"/>
                  </a:lnTo>
                  <a:lnTo>
                    <a:pt x="66" y="190"/>
                  </a:lnTo>
                  <a:lnTo>
                    <a:pt x="46" y="179"/>
                  </a:lnTo>
                  <a:lnTo>
                    <a:pt x="46" y="103"/>
                  </a:lnTo>
                  <a:lnTo>
                    <a:pt x="0" y="73"/>
                  </a:lnTo>
                  <a:lnTo>
                    <a:pt x="52" y="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3" name="Freeform 238">
              <a:extLst>
                <a:ext uri="{FF2B5EF4-FFF2-40B4-BE49-F238E27FC236}">
                  <a16:creationId xmlns:a16="http://schemas.microsoft.com/office/drawing/2014/main" id="{852C56E5-D63B-4546-912E-2430B398979B}"/>
                </a:ext>
              </a:extLst>
            </p:cNvPr>
            <p:cNvSpPr>
              <a:spLocks/>
            </p:cNvSpPr>
            <p:nvPr/>
          </p:nvSpPr>
          <p:spPr bwMode="auto">
            <a:xfrm>
              <a:off x="3618707" y="3658393"/>
              <a:ext cx="41275" cy="46038"/>
            </a:xfrm>
            <a:custGeom>
              <a:avLst/>
              <a:gdLst>
                <a:gd name="T0" fmla="*/ 0 w 80"/>
                <a:gd name="T1" fmla="*/ 48 h 88"/>
                <a:gd name="T2" fmla="*/ 80 w 80"/>
                <a:gd name="T3" fmla="*/ 88 h 88"/>
                <a:gd name="T4" fmla="*/ 79 w 80"/>
                <a:gd name="T5" fmla="*/ 24 h 88"/>
                <a:gd name="T6" fmla="*/ 37 w 80"/>
                <a:gd name="T7" fmla="*/ 0 h 88"/>
                <a:gd name="T8" fmla="*/ 0 w 80"/>
                <a:gd name="T9" fmla="*/ 48 h 88"/>
              </a:gdLst>
              <a:ahLst/>
              <a:cxnLst>
                <a:cxn ang="0">
                  <a:pos x="T0" y="T1"/>
                </a:cxn>
                <a:cxn ang="0">
                  <a:pos x="T2" y="T3"/>
                </a:cxn>
                <a:cxn ang="0">
                  <a:pos x="T4" y="T5"/>
                </a:cxn>
                <a:cxn ang="0">
                  <a:pos x="T6" y="T7"/>
                </a:cxn>
                <a:cxn ang="0">
                  <a:pos x="T8" y="T9"/>
                </a:cxn>
              </a:cxnLst>
              <a:rect l="0" t="0" r="r" b="b"/>
              <a:pathLst>
                <a:path w="80" h="88">
                  <a:moveTo>
                    <a:pt x="0" y="48"/>
                  </a:moveTo>
                  <a:lnTo>
                    <a:pt x="80" y="88"/>
                  </a:lnTo>
                  <a:lnTo>
                    <a:pt x="79" y="24"/>
                  </a:lnTo>
                  <a:lnTo>
                    <a:pt x="37" y="0"/>
                  </a:lnTo>
                  <a:lnTo>
                    <a:pt x="0" y="4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4" name="Freeform 239">
              <a:extLst>
                <a:ext uri="{FF2B5EF4-FFF2-40B4-BE49-F238E27FC236}">
                  <a16:creationId xmlns:a16="http://schemas.microsoft.com/office/drawing/2014/main" id="{77CE18BB-763A-4979-B863-83F9B3BFD180}"/>
                </a:ext>
              </a:extLst>
            </p:cNvPr>
            <p:cNvSpPr>
              <a:spLocks/>
            </p:cNvSpPr>
            <p:nvPr/>
          </p:nvSpPr>
          <p:spPr bwMode="auto">
            <a:xfrm>
              <a:off x="3685382" y="3645693"/>
              <a:ext cx="98425" cy="111125"/>
            </a:xfrm>
            <a:custGeom>
              <a:avLst/>
              <a:gdLst>
                <a:gd name="T0" fmla="*/ 149 w 187"/>
                <a:gd name="T1" fmla="*/ 0 h 209"/>
                <a:gd name="T2" fmla="*/ 186 w 187"/>
                <a:gd name="T3" fmla="*/ 8 h 209"/>
                <a:gd name="T4" fmla="*/ 187 w 187"/>
                <a:gd name="T5" fmla="*/ 84 h 209"/>
                <a:gd name="T6" fmla="*/ 144 w 187"/>
                <a:gd name="T7" fmla="*/ 209 h 209"/>
                <a:gd name="T8" fmla="*/ 26 w 187"/>
                <a:gd name="T9" fmla="*/ 197 h 209"/>
                <a:gd name="T10" fmla="*/ 0 w 187"/>
                <a:gd name="T11" fmla="*/ 138 h 209"/>
                <a:gd name="T12" fmla="*/ 35 w 187"/>
                <a:gd name="T13" fmla="*/ 64 h 209"/>
                <a:gd name="T14" fmla="*/ 101 w 187"/>
                <a:gd name="T15" fmla="*/ 3 h 209"/>
                <a:gd name="T16" fmla="*/ 149 w 187"/>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09">
                  <a:moveTo>
                    <a:pt x="149" y="0"/>
                  </a:moveTo>
                  <a:lnTo>
                    <a:pt x="186" y="8"/>
                  </a:lnTo>
                  <a:lnTo>
                    <a:pt x="187" y="84"/>
                  </a:lnTo>
                  <a:lnTo>
                    <a:pt x="144" y="209"/>
                  </a:lnTo>
                  <a:lnTo>
                    <a:pt x="26" y="197"/>
                  </a:lnTo>
                  <a:lnTo>
                    <a:pt x="0" y="138"/>
                  </a:lnTo>
                  <a:lnTo>
                    <a:pt x="35" y="64"/>
                  </a:lnTo>
                  <a:lnTo>
                    <a:pt x="101" y="3"/>
                  </a:lnTo>
                  <a:lnTo>
                    <a:pt x="14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5" name="Freeform 240">
              <a:extLst>
                <a:ext uri="{FF2B5EF4-FFF2-40B4-BE49-F238E27FC236}">
                  <a16:creationId xmlns:a16="http://schemas.microsoft.com/office/drawing/2014/main" id="{EE2E5C37-EB8A-4224-81E3-6BD933344CB5}"/>
                </a:ext>
              </a:extLst>
            </p:cNvPr>
            <p:cNvSpPr>
              <a:spLocks/>
            </p:cNvSpPr>
            <p:nvPr/>
          </p:nvSpPr>
          <p:spPr bwMode="auto">
            <a:xfrm>
              <a:off x="3699669" y="3758406"/>
              <a:ext cx="84138" cy="82550"/>
            </a:xfrm>
            <a:custGeom>
              <a:avLst/>
              <a:gdLst>
                <a:gd name="T0" fmla="*/ 113 w 157"/>
                <a:gd name="T1" fmla="*/ 8 h 158"/>
                <a:gd name="T2" fmla="*/ 138 w 157"/>
                <a:gd name="T3" fmla="*/ 54 h 158"/>
                <a:gd name="T4" fmla="*/ 157 w 157"/>
                <a:gd name="T5" fmla="*/ 81 h 158"/>
                <a:gd name="T6" fmla="*/ 131 w 157"/>
                <a:gd name="T7" fmla="*/ 158 h 158"/>
                <a:gd name="T8" fmla="*/ 81 w 157"/>
                <a:gd name="T9" fmla="*/ 123 h 158"/>
                <a:gd name="T10" fmla="*/ 0 w 157"/>
                <a:gd name="T11" fmla="*/ 48 h 158"/>
                <a:gd name="T12" fmla="*/ 0 w 157"/>
                <a:gd name="T13" fmla="*/ 0 h 158"/>
                <a:gd name="T14" fmla="*/ 113 w 157"/>
                <a:gd name="T15" fmla="*/ 8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158">
                  <a:moveTo>
                    <a:pt x="113" y="8"/>
                  </a:moveTo>
                  <a:lnTo>
                    <a:pt x="138" y="54"/>
                  </a:lnTo>
                  <a:lnTo>
                    <a:pt x="157" y="81"/>
                  </a:lnTo>
                  <a:lnTo>
                    <a:pt x="131" y="158"/>
                  </a:lnTo>
                  <a:lnTo>
                    <a:pt x="81" y="123"/>
                  </a:lnTo>
                  <a:lnTo>
                    <a:pt x="0" y="48"/>
                  </a:lnTo>
                  <a:lnTo>
                    <a:pt x="0" y="0"/>
                  </a:lnTo>
                  <a:lnTo>
                    <a:pt x="113" y="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6" name="Freeform 241">
              <a:extLst>
                <a:ext uri="{FF2B5EF4-FFF2-40B4-BE49-F238E27FC236}">
                  <a16:creationId xmlns:a16="http://schemas.microsoft.com/office/drawing/2014/main" id="{96488E5C-D7D8-471E-A860-C5F9ADEC7C93}"/>
                </a:ext>
              </a:extLst>
            </p:cNvPr>
            <p:cNvSpPr>
              <a:spLocks/>
            </p:cNvSpPr>
            <p:nvPr/>
          </p:nvSpPr>
          <p:spPr bwMode="auto">
            <a:xfrm>
              <a:off x="3775869" y="3786981"/>
              <a:ext cx="161925" cy="74613"/>
            </a:xfrm>
            <a:custGeom>
              <a:avLst/>
              <a:gdLst>
                <a:gd name="T0" fmla="*/ 24 w 306"/>
                <a:gd name="T1" fmla="*/ 32 h 141"/>
                <a:gd name="T2" fmla="*/ 0 w 306"/>
                <a:gd name="T3" fmla="*/ 109 h 141"/>
                <a:gd name="T4" fmla="*/ 82 w 306"/>
                <a:gd name="T5" fmla="*/ 131 h 141"/>
                <a:gd name="T6" fmla="*/ 133 w 306"/>
                <a:gd name="T7" fmla="*/ 141 h 141"/>
                <a:gd name="T8" fmla="*/ 142 w 306"/>
                <a:gd name="T9" fmla="*/ 81 h 141"/>
                <a:gd name="T10" fmla="*/ 197 w 306"/>
                <a:gd name="T11" fmla="*/ 53 h 141"/>
                <a:gd name="T12" fmla="*/ 246 w 306"/>
                <a:gd name="T13" fmla="*/ 78 h 141"/>
                <a:gd name="T14" fmla="*/ 265 w 306"/>
                <a:gd name="T15" fmla="*/ 109 h 141"/>
                <a:gd name="T16" fmla="*/ 288 w 306"/>
                <a:gd name="T17" fmla="*/ 106 h 141"/>
                <a:gd name="T18" fmla="*/ 306 w 306"/>
                <a:gd name="T19" fmla="*/ 50 h 141"/>
                <a:gd name="T20" fmla="*/ 246 w 306"/>
                <a:gd name="T21" fmla="*/ 25 h 141"/>
                <a:gd name="T22" fmla="*/ 200 w 306"/>
                <a:gd name="T23" fmla="*/ 0 h 141"/>
                <a:gd name="T24" fmla="*/ 153 w 306"/>
                <a:gd name="T25" fmla="*/ 32 h 141"/>
                <a:gd name="T26" fmla="*/ 98 w 306"/>
                <a:gd name="T27" fmla="*/ 59 h 141"/>
                <a:gd name="T28" fmla="*/ 43 w 306"/>
                <a:gd name="T29" fmla="*/ 37 h 141"/>
                <a:gd name="T30" fmla="*/ 24 w 306"/>
                <a:gd name="T31" fmla="*/ 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6" h="141">
                  <a:moveTo>
                    <a:pt x="24" y="32"/>
                  </a:moveTo>
                  <a:lnTo>
                    <a:pt x="0" y="109"/>
                  </a:lnTo>
                  <a:lnTo>
                    <a:pt x="82" y="131"/>
                  </a:lnTo>
                  <a:lnTo>
                    <a:pt x="133" y="141"/>
                  </a:lnTo>
                  <a:lnTo>
                    <a:pt x="142" y="81"/>
                  </a:lnTo>
                  <a:lnTo>
                    <a:pt x="197" y="53"/>
                  </a:lnTo>
                  <a:lnTo>
                    <a:pt x="246" y="78"/>
                  </a:lnTo>
                  <a:lnTo>
                    <a:pt x="265" y="109"/>
                  </a:lnTo>
                  <a:lnTo>
                    <a:pt x="288" y="106"/>
                  </a:lnTo>
                  <a:lnTo>
                    <a:pt x="306" y="50"/>
                  </a:lnTo>
                  <a:lnTo>
                    <a:pt x="246" y="25"/>
                  </a:lnTo>
                  <a:lnTo>
                    <a:pt x="200" y="0"/>
                  </a:lnTo>
                  <a:lnTo>
                    <a:pt x="153" y="32"/>
                  </a:lnTo>
                  <a:lnTo>
                    <a:pt x="98" y="59"/>
                  </a:lnTo>
                  <a:lnTo>
                    <a:pt x="43" y="37"/>
                  </a:lnTo>
                  <a:lnTo>
                    <a:pt x="24" y="3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7" name="Freeform 242">
              <a:extLst>
                <a:ext uri="{FF2B5EF4-FFF2-40B4-BE49-F238E27FC236}">
                  <a16:creationId xmlns:a16="http://schemas.microsoft.com/office/drawing/2014/main" id="{AF45FE82-3687-4C4D-B5F4-4CB8B8D5F490}"/>
                </a:ext>
              </a:extLst>
            </p:cNvPr>
            <p:cNvSpPr>
              <a:spLocks/>
            </p:cNvSpPr>
            <p:nvPr/>
          </p:nvSpPr>
          <p:spPr bwMode="auto">
            <a:xfrm>
              <a:off x="3882232" y="3712368"/>
              <a:ext cx="282575" cy="476250"/>
            </a:xfrm>
            <a:custGeom>
              <a:avLst/>
              <a:gdLst>
                <a:gd name="T0" fmla="*/ 392 w 534"/>
                <a:gd name="T1" fmla="*/ 4 h 899"/>
                <a:gd name="T2" fmla="*/ 357 w 534"/>
                <a:gd name="T3" fmla="*/ 0 h 899"/>
                <a:gd name="T4" fmla="*/ 124 w 534"/>
                <a:gd name="T5" fmla="*/ 193 h 899"/>
                <a:gd name="T6" fmla="*/ 99 w 534"/>
                <a:gd name="T7" fmla="*/ 260 h 899"/>
                <a:gd name="T8" fmla="*/ 67 w 534"/>
                <a:gd name="T9" fmla="*/ 264 h 899"/>
                <a:gd name="T10" fmla="*/ 81 w 534"/>
                <a:gd name="T11" fmla="*/ 414 h 899"/>
                <a:gd name="T12" fmla="*/ 0 w 534"/>
                <a:gd name="T13" fmla="*/ 614 h 899"/>
                <a:gd name="T14" fmla="*/ 88 w 534"/>
                <a:gd name="T15" fmla="*/ 688 h 899"/>
                <a:gd name="T16" fmla="*/ 202 w 534"/>
                <a:gd name="T17" fmla="*/ 695 h 899"/>
                <a:gd name="T18" fmla="*/ 279 w 534"/>
                <a:gd name="T19" fmla="*/ 809 h 899"/>
                <a:gd name="T20" fmla="*/ 393 w 534"/>
                <a:gd name="T21" fmla="*/ 813 h 899"/>
                <a:gd name="T22" fmla="*/ 389 w 534"/>
                <a:gd name="T23" fmla="*/ 899 h 899"/>
                <a:gd name="T24" fmla="*/ 431 w 534"/>
                <a:gd name="T25" fmla="*/ 899 h 899"/>
                <a:gd name="T26" fmla="*/ 477 w 534"/>
                <a:gd name="T27" fmla="*/ 741 h 899"/>
                <a:gd name="T28" fmla="*/ 434 w 534"/>
                <a:gd name="T29" fmla="*/ 689 h 899"/>
                <a:gd name="T30" fmla="*/ 445 w 534"/>
                <a:gd name="T31" fmla="*/ 588 h 899"/>
                <a:gd name="T32" fmla="*/ 534 w 534"/>
                <a:gd name="T33" fmla="*/ 581 h 899"/>
                <a:gd name="T34" fmla="*/ 523 w 534"/>
                <a:gd name="T35" fmla="*/ 350 h 899"/>
                <a:gd name="T36" fmla="*/ 325 w 534"/>
                <a:gd name="T37" fmla="*/ 286 h 899"/>
                <a:gd name="T38" fmla="*/ 279 w 534"/>
                <a:gd name="T39" fmla="*/ 161 h 899"/>
                <a:gd name="T40" fmla="*/ 392 w 534"/>
                <a:gd name="T41" fmla="*/ 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4" h="899">
                  <a:moveTo>
                    <a:pt x="392" y="4"/>
                  </a:moveTo>
                  <a:lnTo>
                    <a:pt x="357" y="0"/>
                  </a:lnTo>
                  <a:lnTo>
                    <a:pt x="124" y="193"/>
                  </a:lnTo>
                  <a:lnTo>
                    <a:pt x="99" y="260"/>
                  </a:lnTo>
                  <a:lnTo>
                    <a:pt x="67" y="264"/>
                  </a:lnTo>
                  <a:lnTo>
                    <a:pt x="81" y="414"/>
                  </a:lnTo>
                  <a:lnTo>
                    <a:pt x="0" y="614"/>
                  </a:lnTo>
                  <a:lnTo>
                    <a:pt x="88" y="688"/>
                  </a:lnTo>
                  <a:lnTo>
                    <a:pt x="202" y="695"/>
                  </a:lnTo>
                  <a:lnTo>
                    <a:pt x="279" y="809"/>
                  </a:lnTo>
                  <a:lnTo>
                    <a:pt x="393" y="813"/>
                  </a:lnTo>
                  <a:lnTo>
                    <a:pt x="389" y="899"/>
                  </a:lnTo>
                  <a:lnTo>
                    <a:pt x="431" y="899"/>
                  </a:lnTo>
                  <a:lnTo>
                    <a:pt x="477" y="741"/>
                  </a:lnTo>
                  <a:lnTo>
                    <a:pt x="434" y="689"/>
                  </a:lnTo>
                  <a:lnTo>
                    <a:pt x="445" y="588"/>
                  </a:lnTo>
                  <a:lnTo>
                    <a:pt x="534" y="581"/>
                  </a:lnTo>
                  <a:lnTo>
                    <a:pt x="523" y="350"/>
                  </a:lnTo>
                  <a:lnTo>
                    <a:pt x="325" y="286"/>
                  </a:lnTo>
                  <a:lnTo>
                    <a:pt x="279" y="161"/>
                  </a:lnTo>
                  <a:lnTo>
                    <a:pt x="392"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8" name="Freeform 243">
              <a:extLst>
                <a:ext uri="{FF2B5EF4-FFF2-40B4-BE49-F238E27FC236}">
                  <a16:creationId xmlns:a16="http://schemas.microsoft.com/office/drawing/2014/main" id="{F05A32BE-BBEA-413A-9F9F-4D83B18C499B}"/>
                </a:ext>
              </a:extLst>
            </p:cNvPr>
            <p:cNvSpPr>
              <a:spLocks/>
            </p:cNvSpPr>
            <p:nvPr/>
          </p:nvSpPr>
          <p:spPr bwMode="auto">
            <a:xfrm>
              <a:off x="4040982" y="3728243"/>
              <a:ext cx="325438" cy="331788"/>
            </a:xfrm>
            <a:custGeom>
              <a:avLst/>
              <a:gdLst>
                <a:gd name="T0" fmla="*/ 37 w 616"/>
                <a:gd name="T1" fmla="*/ 80 h 626"/>
                <a:gd name="T2" fmla="*/ 45 w 616"/>
                <a:gd name="T3" fmla="*/ 125 h 626"/>
                <a:gd name="T4" fmla="*/ 101 w 616"/>
                <a:gd name="T5" fmla="*/ 142 h 626"/>
                <a:gd name="T6" fmla="*/ 113 w 616"/>
                <a:gd name="T7" fmla="*/ 61 h 626"/>
                <a:gd name="T8" fmla="*/ 172 w 616"/>
                <a:gd name="T9" fmla="*/ 0 h 626"/>
                <a:gd name="T10" fmla="*/ 231 w 616"/>
                <a:gd name="T11" fmla="*/ 69 h 626"/>
                <a:gd name="T12" fmla="*/ 366 w 616"/>
                <a:gd name="T13" fmla="*/ 105 h 626"/>
                <a:gd name="T14" fmla="*/ 480 w 616"/>
                <a:gd name="T15" fmla="*/ 81 h 626"/>
                <a:gd name="T16" fmla="*/ 557 w 616"/>
                <a:gd name="T17" fmla="*/ 177 h 626"/>
                <a:gd name="T18" fmla="*/ 616 w 616"/>
                <a:gd name="T19" fmla="*/ 214 h 626"/>
                <a:gd name="T20" fmla="*/ 552 w 616"/>
                <a:gd name="T21" fmla="*/ 312 h 626"/>
                <a:gd name="T22" fmla="*/ 574 w 616"/>
                <a:gd name="T23" fmla="*/ 387 h 626"/>
                <a:gd name="T24" fmla="*/ 537 w 616"/>
                <a:gd name="T25" fmla="*/ 432 h 626"/>
                <a:gd name="T26" fmla="*/ 499 w 616"/>
                <a:gd name="T27" fmla="*/ 465 h 626"/>
                <a:gd name="T28" fmla="*/ 416 w 616"/>
                <a:gd name="T29" fmla="*/ 423 h 626"/>
                <a:gd name="T30" fmla="*/ 397 w 616"/>
                <a:gd name="T31" fmla="*/ 442 h 626"/>
                <a:gd name="T32" fmla="*/ 397 w 616"/>
                <a:gd name="T33" fmla="*/ 501 h 626"/>
                <a:gd name="T34" fmla="*/ 458 w 616"/>
                <a:gd name="T35" fmla="*/ 530 h 626"/>
                <a:gd name="T36" fmla="*/ 413 w 616"/>
                <a:gd name="T37" fmla="*/ 578 h 626"/>
                <a:gd name="T38" fmla="*/ 369 w 616"/>
                <a:gd name="T39" fmla="*/ 626 h 626"/>
                <a:gd name="T40" fmla="*/ 310 w 616"/>
                <a:gd name="T41" fmla="*/ 621 h 626"/>
                <a:gd name="T42" fmla="*/ 251 w 616"/>
                <a:gd name="T43" fmla="*/ 556 h 626"/>
                <a:gd name="T44" fmla="*/ 238 w 616"/>
                <a:gd name="T45" fmla="*/ 312 h 626"/>
                <a:gd name="T46" fmla="*/ 37 w 616"/>
                <a:gd name="T47" fmla="*/ 243 h 626"/>
                <a:gd name="T48" fmla="*/ 0 w 616"/>
                <a:gd name="T49" fmla="*/ 136 h 626"/>
                <a:gd name="T50" fmla="*/ 37 w 616"/>
                <a:gd name="T51" fmla="*/ 8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6" h="626">
                  <a:moveTo>
                    <a:pt x="37" y="80"/>
                  </a:moveTo>
                  <a:lnTo>
                    <a:pt x="45" y="125"/>
                  </a:lnTo>
                  <a:lnTo>
                    <a:pt x="101" y="142"/>
                  </a:lnTo>
                  <a:lnTo>
                    <a:pt x="113" y="61"/>
                  </a:lnTo>
                  <a:lnTo>
                    <a:pt x="172" y="0"/>
                  </a:lnTo>
                  <a:lnTo>
                    <a:pt x="231" y="69"/>
                  </a:lnTo>
                  <a:lnTo>
                    <a:pt x="366" y="105"/>
                  </a:lnTo>
                  <a:lnTo>
                    <a:pt x="480" y="81"/>
                  </a:lnTo>
                  <a:lnTo>
                    <a:pt x="557" y="177"/>
                  </a:lnTo>
                  <a:lnTo>
                    <a:pt x="616" y="214"/>
                  </a:lnTo>
                  <a:lnTo>
                    <a:pt x="552" y="312"/>
                  </a:lnTo>
                  <a:lnTo>
                    <a:pt x="574" y="387"/>
                  </a:lnTo>
                  <a:lnTo>
                    <a:pt x="537" y="432"/>
                  </a:lnTo>
                  <a:lnTo>
                    <a:pt x="499" y="465"/>
                  </a:lnTo>
                  <a:lnTo>
                    <a:pt x="416" y="423"/>
                  </a:lnTo>
                  <a:lnTo>
                    <a:pt x="397" y="442"/>
                  </a:lnTo>
                  <a:lnTo>
                    <a:pt x="397" y="501"/>
                  </a:lnTo>
                  <a:lnTo>
                    <a:pt x="458" y="530"/>
                  </a:lnTo>
                  <a:lnTo>
                    <a:pt x="413" y="578"/>
                  </a:lnTo>
                  <a:lnTo>
                    <a:pt x="369" y="626"/>
                  </a:lnTo>
                  <a:lnTo>
                    <a:pt x="310" y="621"/>
                  </a:lnTo>
                  <a:lnTo>
                    <a:pt x="251" y="556"/>
                  </a:lnTo>
                  <a:lnTo>
                    <a:pt x="238" y="312"/>
                  </a:lnTo>
                  <a:lnTo>
                    <a:pt x="37" y="243"/>
                  </a:lnTo>
                  <a:lnTo>
                    <a:pt x="0" y="136"/>
                  </a:lnTo>
                  <a:lnTo>
                    <a:pt x="37" y="8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9" name="Freeform 244">
              <a:extLst>
                <a:ext uri="{FF2B5EF4-FFF2-40B4-BE49-F238E27FC236}">
                  <a16:creationId xmlns:a16="http://schemas.microsoft.com/office/drawing/2014/main" id="{AC826447-6AD7-4D95-9FED-738C6F5D0380}"/>
                </a:ext>
              </a:extLst>
            </p:cNvPr>
            <p:cNvSpPr>
              <a:spLocks/>
            </p:cNvSpPr>
            <p:nvPr/>
          </p:nvSpPr>
          <p:spPr bwMode="auto">
            <a:xfrm>
              <a:off x="4341019" y="3845718"/>
              <a:ext cx="104775" cy="198438"/>
            </a:xfrm>
            <a:custGeom>
              <a:avLst/>
              <a:gdLst>
                <a:gd name="T0" fmla="*/ 61 w 196"/>
                <a:gd name="T1" fmla="*/ 0 h 376"/>
                <a:gd name="T2" fmla="*/ 184 w 196"/>
                <a:gd name="T3" fmla="*/ 112 h 376"/>
                <a:gd name="T4" fmla="*/ 135 w 196"/>
                <a:gd name="T5" fmla="*/ 169 h 376"/>
                <a:gd name="T6" fmla="*/ 131 w 196"/>
                <a:gd name="T7" fmla="*/ 202 h 376"/>
                <a:gd name="T8" fmla="*/ 196 w 196"/>
                <a:gd name="T9" fmla="*/ 269 h 376"/>
                <a:gd name="T10" fmla="*/ 195 w 196"/>
                <a:gd name="T11" fmla="*/ 333 h 376"/>
                <a:gd name="T12" fmla="*/ 82 w 196"/>
                <a:gd name="T13" fmla="*/ 376 h 376"/>
                <a:gd name="T14" fmla="*/ 15 w 196"/>
                <a:gd name="T15" fmla="*/ 285 h 376"/>
                <a:gd name="T16" fmla="*/ 29 w 196"/>
                <a:gd name="T17" fmla="*/ 176 h 376"/>
                <a:gd name="T18" fmla="*/ 0 w 196"/>
                <a:gd name="T19" fmla="*/ 95 h 376"/>
                <a:gd name="T20" fmla="*/ 61 w 196"/>
                <a:gd name="T21"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376">
                  <a:moveTo>
                    <a:pt x="61" y="0"/>
                  </a:moveTo>
                  <a:lnTo>
                    <a:pt x="184" y="112"/>
                  </a:lnTo>
                  <a:lnTo>
                    <a:pt x="135" y="169"/>
                  </a:lnTo>
                  <a:lnTo>
                    <a:pt x="131" y="202"/>
                  </a:lnTo>
                  <a:lnTo>
                    <a:pt x="196" y="269"/>
                  </a:lnTo>
                  <a:lnTo>
                    <a:pt x="195" y="333"/>
                  </a:lnTo>
                  <a:lnTo>
                    <a:pt x="82" y="376"/>
                  </a:lnTo>
                  <a:lnTo>
                    <a:pt x="15" y="285"/>
                  </a:lnTo>
                  <a:lnTo>
                    <a:pt x="29" y="176"/>
                  </a:lnTo>
                  <a:lnTo>
                    <a:pt x="0" y="95"/>
                  </a:lnTo>
                  <a:lnTo>
                    <a:pt x="6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0" name="Freeform 245">
              <a:extLst>
                <a:ext uri="{FF2B5EF4-FFF2-40B4-BE49-F238E27FC236}">
                  <a16:creationId xmlns:a16="http://schemas.microsoft.com/office/drawing/2014/main" id="{76EDBDD9-82F6-431A-BEFE-BB72B79347D8}"/>
                </a:ext>
              </a:extLst>
            </p:cNvPr>
            <p:cNvSpPr>
              <a:spLocks/>
            </p:cNvSpPr>
            <p:nvPr/>
          </p:nvSpPr>
          <p:spPr bwMode="auto">
            <a:xfrm>
              <a:off x="4420394" y="3907631"/>
              <a:ext cx="100013" cy="112713"/>
            </a:xfrm>
            <a:custGeom>
              <a:avLst/>
              <a:gdLst>
                <a:gd name="T0" fmla="*/ 49 w 188"/>
                <a:gd name="T1" fmla="*/ 1 h 211"/>
                <a:gd name="T2" fmla="*/ 84 w 188"/>
                <a:gd name="T3" fmla="*/ 33 h 211"/>
                <a:gd name="T4" fmla="*/ 138 w 188"/>
                <a:gd name="T5" fmla="*/ 0 h 211"/>
                <a:gd name="T6" fmla="*/ 188 w 188"/>
                <a:gd name="T7" fmla="*/ 1 h 211"/>
                <a:gd name="T8" fmla="*/ 181 w 188"/>
                <a:gd name="T9" fmla="*/ 20 h 211"/>
                <a:gd name="T10" fmla="*/ 160 w 188"/>
                <a:gd name="T11" fmla="*/ 63 h 211"/>
                <a:gd name="T12" fmla="*/ 157 w 188"/>
                <a:gd name="T13" fmla="*/ 170 h 211"/>
                <a:gd name="T14" fmla="*/ 59 w 188"/>
                <a:gd name="T15" fmla="*/ 211 h 211"/>
                <a:gd name="T16" fmla="*/ 63 w 188"/>
                <a:gd name="T17" fmla="*/ 142 h 211"/>
                <a:gd name="T18" fmla="*/ 0 w 188"/>
                <a:gd name="T19" fmla="*/ 83 h 211"/>
                <a:gd name="T20" fmla="*/ 3 w 188"/>
                <a:gd name="T21" fmla="*/ 52 h 211"/>
                <a:gd name="T22" fmla="*/ 49 w 188"/>
                <a:gd name="T23" fmla="*/ 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8" h="211">
                  <a:moveTo>
                    <a:pt x="49" y="1"/>
                  </a:moveTo>
                  <a:lnTo>
                    <a:pt x="84" y="33"/>
                  </a:lnTo>
                  <a:lnTo>
                    <a:pt x="138" y="0"/>
                  </a:lnTo>
                  <a:lnTo>
                    <a:pt x="188" y="1"/>
                  </a:lnTo>
                  <a:lnTo>
                    <a:pt x="181" y="20"/>
                  </a:lnTo>
                  <a:lnTo>
                    <a:pt x="160" y="63"/>
                  </a:lnTo>
                  <a:lnTo>
                    <a:pt x="157" y="170"/>
                  </a:lnTo>
                  <a:lnTo>
                    <a:pt x="59" y="211"/>
                  </a:lnTo>
                  <a:lnTo>
                    <a:pt x="63" y="142"/>
                  </a:lnTo>
                  <a:lnTo>
                    <a:pt x="0" y="83"/>
                  </a:lnTo>
                  <a:lnTo>
                    <a:pt x="3" y="52"/>
                  </a:lnTo>
                  <a:lnTo>
                    <a:pt x="49" y="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1" name="Freeform 246">
              <a:extLst>
                <a:ext uri="{FF2B5EF4-FFF2-40B4-BE49-F238E27FC236}">
                  <a16:creationId xmlns:a16="http://schemas.microsoft.com/office/drawing/2014/main" id="{4583F230-71AF-4D8C-ADC9-CF239F77954D}"/>
                </a:ext>
              </a:extLst>
            </p:cNvPr>
            <p:cNvSpPr>
              <a:spLocks/>
            </p:cNvSpPr>
            <p:nvPr/>
          </p:nvSpPr>
          <p:spPr bwMode="auto">
            <a:xfrm>
              <a:off x="4514057" y="3913981"/>
              <a:ext cx="66675" cy="101600"/>
            </a:xfrm>
            <a:custGeom>
              <a:avLst/>
              <a:gdLst>
                <a:gd name="T0" fmla="*/ 27 w 127"/>
                <a:gd name="T1" fmla="*/ 0 h 191"/>
                <a:gd name="T2" fmla="*/ 127 w 127"/>
                <a:gd name="T3" fmla="*/ 63 h 191"/>
                <a:gd name="T4" fmla="*/ 75 w 127"/>
                <a:gd name="T5" fmla="*/ 167 h 191"/>
                <a:gd name="T6" fmla="*/ 56 w 127"/>
                <a:gd name="T7" fmla="*/ 191 h 191"/>
                <a:gd name="T8" fmla="*/ 0 w 127"/>
                <a:gd name="T9" fmla="*/ 158 h 191"/>
                <a:gd name="T10" fmla="*/ 1 w 127"/>
                <a:gd name="T11" fmla="*/ 47 h 191"/>
                <a:gd name="T12" fmla="*/ 27 w 127"/>
                <a:gd name="T13" fmla="*/ 0 h 191"/>
              </a:gdLst>
              <a:ahLst/>
              <a:cxnLst>
                <a:cxn ang="0">
                  <a:pos x="T0" y="T1"/>
                </a:cxn>
                <a:cxn ang="0">
                  <a:pos x="T2" y="T3"/>
                </a:cxn>
                <a:cxn ang="0">
                  <a:pos x="T4" y="T5"/>
                </a:cxn>
                <a:cxn ang="0">
                  <a:pos x="T6" y="T7"/>
                </a:cxn>
                <a:cxn ang="0">
                  <a:pos x="T8" y="T9"/>
                </a:cxn>
                <a:cxn ang="0">
                  <a:pos x="T10" y="T11"/>
                </a:cxn>
                <a:cxn ang="0">
                  <a:pos x="T12" y="T13"/>
                </a:cxn>
              </a:cxnLst>
              <a:rect l="0" t="0" r="r" b="b"/>
              <a:pathLst>
                <a:path w="127" h="191">
                  <a:moveTo>
                    <a:pt x="27" y="0"/>
                  </a:moveTo>
                  <a:lnTo>
                    <a:pt x="127" y="63"/>
                  </a:lnTo>
                  <a:lnTo>
                    <a:pt x="75" y="167"/>
                  </a:lnTo>
                  <a:lnTo>
                    <a:pt x="56" y="191"/>
                  </a:lnTo>
                  <a:lnTo>
                    <a:pt x="0" y="158"/>
                  </a:lnTo>
                  <a:lnTo>
                    <a:pt x="1" y="47"/>
                  </a:lnTo>
                  <a:lnTo>
                    <a:pt x="2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2" name="Freeform 247">
              <a:extLst>
                <a:ext uri="{FF2B5EF4-FFF2-40B4-BE49-F238E27FC236}">
                  <a16:creationId xmlns:a16="http://schemas.microsoft.com/office/drawing/2014/main" id="{167F5E4A-7304-4344-B2EE-0A8B2089321F}"/>
                </a:ext>
              </a:extLst>
            </p:cNvPr>
            <p:cNvSpPr>
              <a:spLocks/>
            </p:cNvSpPr>
            <p:nvPr/>
          </p:nvSpPr>
          <p:spPr bwMode="auto">
            <a:xfrm>
              <a:off x="3821907" y="4042568"/>
              <a:ext cx="139700" cy="161925"/>
            </a:xfrm>
            <a:custGeom>
              <a:avLst/>
              <a:gdLst>
                <a:gd name="T0" fmla="*/ 103 w 264"/>
                <a:gd name="T1" fmla="*/ 0 h 306"/>
                <a:gd name="T2" fmla="*/ 23 w 264"/>
                <a:gd name="T3" fmla="*/ 50 h 306"/>
                <a:gd name="T4" fmla="*/ 16 w 264"/>
                <a:gd name="T5" fmla="*/ 125 h 306"/>
                <a:gd name="T6" fmla="*/ 0 w 264"/>
                <a:gd name="T7" fmla="*/ 150 h 306"/>
                <a:gd name="T8" fmla="*/ 51 w 264"/>
                <a:gd name="T9" fmla="*/ 199 h 306"/>
                <a:gd name="T10" fmla="*/ 29 w 264"/>
                <a:gd name="T11" fmla="*/ 223 h 306"/>
                <a:gd name="T12" fmla="*/ 34 w 264"/>
                <a:gd name="T13" fmla="*/ 284 h 306"/>
                <a:gd name="T14" fmla="*/ 125 w 264"/>
                <a:gd name="T15" fmla="*/ 306 h 306"/>
                <a:gd name="T16" fmla="*/ 264 w 264"/>
                <a:gd name="T17" fmla="*/ 143 h 306"/>
                <a:gd name="T18" fmla="*/ 263 w 264"/>
                <a:gd name="T19" fmla="*/ 85 h 306"/>
                <a:gd name="T20" fmla="*/ 197 w 264"/>
                <a:gd name="T21" fmla="*/ 81 h 306"/>
                <a:gd name="T22" fmla="*/ 103 w 264"/>
                <a:gd name="T23"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4" h="306">
                  <a:moveTo>
                    <a:pt x="103" y="0"/>
                  </a:moveTo>
                  <a:lnTo>
                    <a:pt x="23" y="50"/>
                  </a:lnTo>
                  <a:lnTo>
                    <a:pt x="16" y="125"/>
                  </a:lnTo>
                  <a:lnTo>
                    <a:pt x="0" y="150"/>
                  </a:lnTo>
                  <a:lnTo>
                    <a:pt x="51" y="199"/>
                  </a:lnTo>
                  <a:lnTo>
                    <a:pt x="29" y="223"/>
                  </a:lnTo>
                  <a:lnTo>
                    <a:pt x="34" y="284"/>
                  </a:lnTo>
                  <a:lnTo>
                    <a:pt x="125" y="306"/>
                  </a:lnTo>
                  <a:lnTo>
                    <a:pt x="264" y="143"/>
                  </a:lnTo>
                  <a:lnTo>
                    <a:pt x="263" y="85"/>
                  </a:lnTo>
                  <a:lnTo>
                    <a:pt x="197" y="81"/>
                  </a:lnTo>
                  <a:lnTo>
                    <a:pt x="10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3" name="Freeform 248">
              <a:extLst>
                <a:ext uri="{FF2B5EF4-FFF2-40B4-BE49-F238E27FC236}">
                  <a16:creationId xmlns:a16="http://schemas.microsoft.com/office/drawing/2014/main" id="{168199C1-8EB1-4781-92CC-32FE19F258B7}"/>
                </a:ext>
              </a:extLst>
            </p:cNvPr>
            <p:cNvSpPr>
              <a:spLocks/>
            </p:cNvSpPr>
            <p:nvPr/>
          </p:nvSpPr>
          <p:spPr bwMode="auto">
            <a:xfrm>
              <a:off x="3812382" y="4088606"/>
              <a:ext cx="344488" cy="506413"/>
            </a:xfrm>
            <a:custGeom>
              <a:avLst/>
              <a:gdLst>
                <a:gd name="T0" fmla="*/ 33 w 652"/>
                <a:gd name="T1" fmla="*/ 147 h 957"/>
                <a:gd name="T2" fmla="*/ 0 w 652"/>
                <a:gd name="T3" fmla="*/ 181 h 957"/>
                <a:gd name="T4" fmla="*/ 3 w 652"/>
                <a:gd name="T5" fmla="*/ 234 h 957"/>
                <a:gd name="T6" fmla="*/ 293 w 652"/>
                <a:gd name="T7" fmla="*/ 763 h 957"/>
                <a:gd name="T8" fmla="*/ 594 w 652"/>
                <a:gd name="T9" fmla="*/ 957 h 957"/>
                <a:gd name="T10" fmla="*/ 640 w 652"/>
                <a:gd name="T11" fmla="*/ 879 h 957"/>
                <a:gd name="T12" fmla="*/ 652 w 652"/>
                <a:gd name="T13" fmla="*/ 708 h 957"/>
                <a:gd name="T14" fmla="*/ 627 w 652"/>
                <a:gd name="T15" fmla="*/ 600 h 957"/>
                <a:gd name="T16" fmla="*/ 545 w 652"/>
                <a:gd name="T17" fmla="*/ 462 h 957"/>
                <a:gd name="T18" fmla="*/ 496 w 652"/>
                <a:gd name="T19" fmla="*/ 478 h 957"/>
                <a:gd name="T20" fmla="*/ 475 w 652"/>
                <a:gd name="T21" fmla="*/ 502 h 957"/>
                <a:gd name="T22" fmla="*/ 377 w 652"/>
                <a:gd name="T23" fmla="*/ 391 h 957"/>
                <a:gd name="T24" fmla="*/ 402 w 652"/>
                <a:gd name="T25" fmla="*/ 259 h 957"/>
                <a:gd name="T26" fmla="*/ 514 w 652"/>
                <a:gd name="T27" fmla="*/ 185 h 957"/>
                <a:gd name="T28" fmla="*/ 505 w 652"/>
                <a:gd name="T29" fmla="*/ 116 h 957"/>
                <a:gd name="T30" fmla="*/ 391 w 652"/>
                <a:gd name="T31" fmla="*/ 112 h 957"/>
                <a:gd name="T32" fmla="*/ 331 w 652"/>
                <a:gd name="T33" fmla="*/ 11 h 957"/>
                <a:gd name="T34" fmla="*/ 297 w 652"/>
                <a:gd name="T35" fmla="*/ 0 h 957"/>
                <a:gd name="T36" fmla="*/ 299 w 652"/>
                <a:gd name="T37" fmla="*/ 60 h 957"/>
                <a:gd name="T38" fmla="*/ 151 w 652"/>
                <a:gd name="T39" fmla="*/ 237 h 957"/>
                <a:gd name="T40" fmla="*/ 41 w 652"/>
                <a:gd name="T41" fmla="*/ 210 h 957"/>
                <a:gd name="T42" fmla="*/ 33 w 652"/>
                <a:gd name="T43" fmla="*/ 14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2" h="957">
                  <a:moveTo>
                    <a:pt x="33" y="147"/>
                  </a:moveTo>
                  <a:lnTo>
                    <a:pt x="0" y="181"/>
                  </a:lnTo>
                  <a:lnTo>
                    <a:pt x="3" y="234"/>
                  </a:lnTo>
                  <a:lnTo>
                    <a:pt x="293" y="763"/>
                  </a:lnTo>
                  <a:lnTo>
                    <a:pt x="594" y="957"/>
                  </a:lnTo>
                  <a:lnTo>
                    <a:pt x="640" y="879"/>
                  </a:lnTo>
                  <a:lnTo>
                    <a:pt x="652" y="708"/>
                  </a:lnTo>
                  <a:lnTo>
                    <a:pt x="627" y="600"/>
                  </a:lnTo>
                  <a:lnTo>
                    <a:pt x="545" y="462"/>
                  </a:lnTo>
                  <a:lnTo>
                    <a:pt x="496" y="478"/>
                  </a:lnTo>
                  <a:lnTo>
                    <a:pt x="475" y="502"/>
                  </a:lnTo>
                  <a:lnTo>
                    <a:pt x="377" y="391"/>
                  </a:lnTo>
                  <a:lnTo>
                    <a:pt x="402" y="259"/>
                  </a:lnTo>
                  <a:lnTo>
                    <a:pt x="514" y="185"/>
                  </a:lnTo>
                  <a:lnTo>
                    <a:pt x="505" y="116"/>
                  </a:lnTo>
                  <a:lnTo>
                    <a:pt x="391" y="112"/>
                  </a:lnTo>
                  <a:lnTo>
                    <a:pt x="331" y="11"/>
                  </a:lnTo>
                  <a:lnTo>
                    <a:pt x="297" y="0"/>
                  </a:lnTo>
                  <a:lnTo>
                    <a:pt x="299" y="60"/>
                  </a:lnTo>
                  <a:lnTo>
                    <a:pt x="151" y="237"/>
                  </a:lnTo>
                  <a:lnTo>
                    <a:pt x="41" y="210"/>
                  </a:lnTo>
                  <a:lnTo>
                    <a:pt x="33" y="147"/>
                  </a:lnTo>
                  <a:close/>
                </a:path>
              </a:pathLst>
            </a:custGeom>
            <a:solidFill>
              <a:srgbClr val="EF95A0"/>
            </a:solidFill>
            <a:ln>
              <a:noFill/>
            </a:ln>
          </p:spPr>
          <p:txBody>
            <a:bodyPr vert="horz" wrap="square" lIns="91440" tIns="45720" rIns="91440" bIns="45720" numCol="1" anchor="t" anchorCtr="0" compatLnSpc="1">
              <a:prstTxWarp prst="textNoShape">
                <a:avLst/>
              </a:prstTxWarp>
            </a:bodyPr>
            <a:lstStyle/>
            <a:p>
              <a:endParaRPr lang="en-US"/>
            </a:p>
          </p:txBody>
        </p:sp>
        <p:sp>
          <p:nvSpPr>
            <p:cNvPr id="384" name="Freeform 249">
              <a:extLst>
                <a:ext uri="{FF2B5EF4-FFF2-40B4-BE49-F238E27FC236}">
                  <a16:creationId xmlns:a16="http://schemas.microsoft.com/office/drawing/2014/main" id="{429D5750-E360-412E-B554-0DA340C0E64F}"/>
                </a:ext>
              </a:extLst>
            </p:cNvPr>
            <p:cNvSpPr>
              <a:spLocks/>
            </p:cNvSpPr>
            <p:nvPr/>
          </p:nvSpPr>
          <p:spPr bwMode="auto">
            <a:xfrm>
              <a:off x="4134644" y="4344193"/>
              <a:ext cx="315913" cy="374650"/>
            </a:xfrm>
            <a:custGeom>
              <a:avLst/>
              <a:gdLst>
                <a:gd name="T0" fmla="*/ 0 w 595"/>
                <a:gd name="T1" fmla="*/ 62 h 707"/>
                <a:gd name="T2" fmla="*/ 140 w 595"/>
                <a:gd name="T3" fmla="*/ 0 h 707"/>
                <a:gd name="T4" fmla="*/ 187 w 595"/>
                <a:gd name="T5" fmla="*/ 4 h 707"/>
                <a:gd name="T6" fmla="*/ 218 w 595"/>
                <a:gd name="T7" fmla="*/ 134 h 707"/>
                <a:gd name="T8" fmla="*/ 432 w 595"/>
                <a:gd name="T9" fmla="*/ 205 h 707"/>
                <a:gd name="T10" fmla="*/ 468 w 595"/>
                <a:gd name="T11" fmla="*/ 315 h 707"/>
                <a:gd name="T12" fmla="*/ 557 w 595"/>
                <a:gd name="T13" fmla="*/ 326 h 707"/>
                <a:gd name="T14" fmla="*/ 595 w 595"/>
                <a:gd name="T15" fmla="*/ 419 h 707"/>
                <a:gd name="T16" fmla="*/ 568 w 595"/>
                <a:gd name="T17" fmla="*/ 505 h 707"/>
                <a:gd name="T18" fmla="*/ 424 w 595"/>
                <a:gd name="T19" fmla="*/ 516 h 707"/>
                <a:gd name="T20" fmla="*/ 370 w 595"/>
                <a:gd name="T21" fmla="*/ 652 h 707"/>
                <a:gd name="T22" fmla="*/ 258 w 595"/>
                <a:gd name="T23" fmla="*/ 650 h 707"/>
                <a:gd name="T24" fmla="*/ 222 w 595"/>
                <a:gd name="T25" fmla="*/ 643 h 707"/>
                <a:gd name="T26" fmla="*/ 157 w 595"/>
                <a:gd name="T27" fmla="*/ 707 h 707"/>
                <a:gd name="T28" fmla="*/ 125 w 595"/>
                <a:gd name="T29" fmla="*/ 704 h 707"/>
                <a:gd name="T30" fmla="*/ 14 w 595"/>
                <a:gd name="T31" fmla="*/ 447 h 707"/>
                <a:gd name="T32" fmla="*/ 45 w 595"/>
                <a:gd name="T33" fmla="*/ 400 h 707"/>
                <a:gd name="T34" fmla="*/ 56 w 595"/>
                <a:gd name="T35" fmla="*/ 219 h 707"/>
                <a:gd name="T36" fmla="*/ 28 w 595"/>
                <a:gd name="T37" fmla="*/ 111 h 707"/>
                <a:gd name="T38" fmla="*/ 0 w 595"/>
                <a:gd name="T39" fmla="*/ 62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5" h="707">
                  <a:moveTo>
                    <a:pt x="0" y="62"/>
                  </a:moveTo>
                  <a:lnTo>
                    <a:pt x="140" y="0"/>
                  </a:lnTo>
                  <a:lnTo>
                    <a:pt x="187" y="4"/>
                  </a:lnTo>
                  <a:lnTo>
                    <a:pt x="218" y="134"/>
                  </a:lnTo>
                  <a:lnTo>
                    <a:pt x="432" y="205"/>
                  </a:lnTo>
                  <a:lnTo>
                    <a:pt x="468" y="315"/>
                  </a:lnTo>
                  <a:lnTo>
                    <a:pt x="557" y="326"/>
                  </a:lnTo>
                  <a:lnTo>
                    <a:pt x="595" y="419"/>
                  </a:lnTo>
                  <a:lnTo>
                    <a:pt x="568" y="505"/>
                  </a:lnTo>
                  <a:lnTo>
                    <a:pt x="424" y="516"/>
                  </a:lnTo>
                  <a:lnTo>
                    <a:pt x="370" y="652"/>
                  </a:lnTo>
                  <a:lnTo>
                    <a:pt x="258" y="650"/>
                  </a:lnTo>
                  <a:lnTo>
                    <a:pt x="222" y="643"/>
                  </a:lnTo>
                  <a:lnTo>
                    <a:pt x="157" y="707"/>
                  </a:lnTo>
                  <a:lnTo>
                    <a:pt x="125" y="704"/>
                  </a:lnTo>
                  <a:lnTo>
                    <a:pt x="14" y="447"/>
                  </a:lnTo>
                  <a:lnTo>
                    <a:pt x="45" y="400"/>
                  </a:lnTo>
                  <a:lnTo>
                    <a:pt x="56" y="219"/>
                  </a:lnTo>
                  <a:lnTo>
                    <a:pt x="28" y="111"/>
                  </a:lnTo>
                  <a:lnTo>
                    <a:pt x="0" y="6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5" name="Freeform 250">
              <a:extLst>
                <a:ext uri="{FF2B5EF4-FFF2-40B4-BE49-F238E27FC236}">
                  <a16:creationId xmlns:a16="http://schemas.microsoft.com/office/drawing/2014/main" id="{6789212F-4E44-45D9-9630-2CD665A15627}"/>
                </a:ext>
              </a:extLst>
            </p:cNvPr>
            <p:cNvSpPr>
              <a:spLocks/>
            </p:cNvSpPr>
            <p:nvPr/>
          </p:nvSpPr>
          <p:spPr bwMode="auto">
            <a:xfrm>
              <a:off x="4339432" y="4618831"/>
              <a:ext cx="214313" cy="214313"/>
            </a:xfrm>
            <a:custGeom>
              <a:avLst/>
              <a:gdLst>
                <a:gd name="T0" fmla="*/ 178 w 403"/>
                <a:gd name="T1" fmla="*/ 0 h 405"/>
                <a:gd name="T2" fmla="*/ 216 w 403"/>
                <a:gd name="T3" fmla="*/ 42 h 405"/>
                <a:gd name="T4" fmla="*/ 212 w 403"/>
                <a:gd name="T5" fmla="*/ 129 h 405"/>
                <a:gd name="T6" fmla="*/ 320 w 403"/>
                <a:gd name="T7" fmla="*/ 122 h 405"/>
                <a:gd name="T8" fmla="*/ 403 w 403"/>
                <a:gd name="T9" fmla="*/ 226 h 405"/>
                <a:gd name="T10" fmla="*/ 395 w 403"/>
                <a:gd name="T11" fmla="*/ 321 h 405"/>
                <a:gd name="T12" fmla="*/ 343 w 403"/>
                <a:gd name="T13" fmla="*/ 401 h 405"/>
                <a:gd name="T14" fmla="*/ 234 w 403"/>
                <a:gd name="T15" fmla="*/ 405 h 405"/>
                <a:gd name="T16" fmla="*/ 229 w 403"/>
                <a:gd name="T17" fmla="*/ 360 h 405"/>
                <a:gd name="T18" fmla="*/ 260 w 403"/>
                <a:gd name="T19" fmla="*/ 287 h 405"/>
                <a:gd name="T20" fmla="*/ 154 w 403"/>
                <a:gd name="T21" fmla="*/ 220 h 405"/>
                <a:gd name="T22" fmla="*/ 66 w 403"/>
                <a:gd name="T23" fmla="*/ 220 h 405"/>
                <a:gd name="T24" fmla="*/ 0 w 403"/>
                <a:gd name="T25" fmla="*/ 148 h 405"/>
                <a:gd name="T26" fmla="*/ 47 w 403"/>
                <a:gd name="T27" fmla="*/ 10 h 405"/>
                <a:gd name="T28" fmla="*/ 178 w 403"/>
                <a:gd name="T29"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405">
                  <a:moveTo>
                    <a:pt x="178" y="0"/>
                  </a:moveTo>
                  <a:lnTo>
                    <a:pt x="216" y="42"/>
                  </a:lnTo>
                  <a:lnTo>
                    <a:pt x="212" y="129"/>
                  </a:lnTo>
                  <a:lnTo>
                    <a:pt x="320" y="122"/>
                  </a:lnTo>
                  <a:lnTo>
                    <a:pt x="403" y="226"/>
                  </a:lnTo>
                  <a:lnTo>
                    <a:pt x="395" y="321"/>
                  </a:lnTo>
                  <a:lnTo>
                    <a:pt x="343" y="401"/>
                  </a:lnTo>
                  <a:lnTo>
                    <a:pt x="234" y="405"/>
                  </a:lnTo>
                  <a:lnTo>
                    <a:pt x="229" y="360"/>
                  </a:lnTo>
                  <a:lnTo>
                    <a:pt x="260" y="287"/>
                  </a:lnTo>
                  <a:lnTo>
                    <a:pt x="154" y="220"/>
                  </a:lnTo>
                  <a:lnTo>
                    <a:pt x="66" y="220"/>
                  </a:lnTo>
                  <a:lnTo>
                    <a:pt x="0" y="148"/>
                  </a:lnTo>
                  <a:lnTo>
                    <a:pt x="47" y="10"/>
                  </a:lnTo>
                  <a:lnTo>
                    <a:pt x="17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6" name="Freeform 251">
              <a:extLst>
                <a:ext uri="{FF2B5EF4-FFF2-40B4-BE49-F238E27FC236}">
                  <a16:creationId xmlns:a16="http://schemas.microsoft.com/office/drawing/2014/main" id="{38B5AE6A-AF92-4F36-B634-243D9B8D1C51}"/>
                </a:ext>
              </a:extLst>
            </p:cNvPr>
            <p:cNvSpPr>
              <a:spLocks/>
            </p:cNvSpPr>
            <p:nvPr/>
          </p:nvSpPr>
          <p:spPr bwMode="auto">
            <a:xfrm>
              <a:off x="4493419" y="4912518"/>
              <a:ext cx="141288" cy="144463"/>
            </a:xfrm>
            <a:custGeom>
              <a:avLst/>
              <a:gdLst>
                <a:gd name="T0" fmla="*/ 34 w 265"/>
                <a:gd name="T1" fmla="*/ 0 h 272"/>
                <a:gd name="T2" fmla="*/ 0 w 265"/>
                <a:gd name="T3" fmla="*/ 38 h 272"/>
                <a:gd name="T4" fmla="*/ 14 w 265"/>
                <a:gd name="T5" fmla="*/ 240 h 272"/>
                <a:gd name="T6" fmla="*/ 125 w 265"/>
                <a:gd name="T7" fmla="*/ 272 h 272"/>
                <a:gd name="T8" fmla="*/ 265 w 265"/>
                <a:gd name="T9" fmla="*/ 131 h 272"/>
                <a:gd name="T10" fmla="*/ 34 w 265"/>
                <a:gd name="T11" fmla="*/ 0 h 272"/>
              </a:gdLst>
              <a:ahLst/>
              <a:cxnLst>
                <a:cxn ang="0">
                  <a:pos x="T0" y="T1"/>
                </a:cxn>
                <a:cxn ang="0">
                  <a:pos x="T2" y="T3"/>
                </a:cxn>
                <a:cxn ang="0">
                  <a:pos x="T4" y="T5"/>
                </a:cxn>
                <a:cxn ang="0">
                  <a:pos x="T6" y="T7"/>
                </a:cxn>
                <a:cxn ang="0">
                  <a:pos x="T8" y="T9"/>
                </a:cxn>
                <a:cxn ang="0">
                  <a:pos x="T10" y="T11"/>
                </a:cxn>
              </a:cxnLst>
              <a:rect l="0" t="0" r="r" b="b"/>
              <a:pathLst>
                <a:path w="265" h="272">
                  <a:moveTo>
                    <a:pt x="34" y="0"/>
                  </a:moveTo>
                  <a:lnTo>
                    <a:pt x="0" y="38"/>
                  </a:lnTo>
                  <a:lnTo>
                    <a:pt x="14" y="240"/>
                  </a:lnTo>
                  <a:lnTo>
                    <a:pt x="125" y="272"/>
                  </a:lnTo>
                  <a:lnTo>
                    <a:pt x="265" y="131"/>
                  </a:lnTo>
                  <a:lnTo>
                    <a:pt x="3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7" name="Freeform 252">
              <a:extLst>
                <a:ext uri="{FF2B5EF4-FFF2-40B4-BE49-F238E27FC236}">
                  <a16:creationId xmlns:a16="http://schemas.microsoft.com/office/drawing/2014/main" id="{4FC76F4D-10AD-4910-B4FE-EFD00B9946F5}"/>
                </a:ext>
              </a:extLst>
            </p:cNvPr>
            <p:cNvSpPr>
              <a:spLocks/>
            </p:cNvSpPr>
            <p:nvPr/>
          </p:nvSpPr>
          <p:spPr bwMode="auto">
            <a:xfrm>
              <a:off x="4174332" y="4693443"/>
              <a:ext cx="401638" cy="950913"/>
            </a:xfrm>
            <a:custGeom>
              <a:avLst/>
              <a:gdLst>
                <a:gd name="T0" fmla="*/ 726 w 758"/>
                <a:gd name="T1" fmla="*/ 180 h 1798"/>
                <a:gd name="T2" fmla="*/ 758 w 758"/>
                <a:gd name="T3" fmla="*/ 210 h 1798"/>
                <a:gd name="T4" fmla="*/ 632 w 758"/>
                <a:gd name="T5" fmla="*/ 398 h 1798"/>
                <a:gd name="T6" fmla="*/ 588 w 758"/>
                <a:gd name="T7" fmla="*/ 448 h 1798"/>
                <a:gd name="T8" fmla="*/ 603 w 758"/>
                <a:gd name="T9" fmla="*/ 662 h 1798"/>
                <a:gd name="T10" fmla="*/ 700 w 758"/>
                <a:gd name="T11" fmla="*/ 780 h 1798"/>
                <a:gd name="T12" fmla="*/ 619 w 758"/>
                <a:gd name="T13" fmla="*/ 923 h 1798"/>
                <a:gd name="T14" fmla="*/ 557 w 758"/>
                <a:gd name="T15" fmla="*/ 949 h 1798"/>
                <a:gd name="T16" fmla="*/ 486 w 758"/>
                <a:gd name="T17" fmla="*/ 949 h 1798"/>
                <a:gd name="T18" fmla="*/ 505 w 758"/>
                <a:gd name="T19" fmla="*/ 1061 h 1798"/>
                <a:gd name="T20" fmla="*/ 395 w 758"/>
                <a:gd name="T21" fmla="*/ 1099 h 1798"/>
                <a:gd name="T22" fmla="*/ 421 w 758"/>
                <a:gd name="T23" fmla="*/ 1193 h 1798"/>
                <a:gd name="T24" fmla="*/ 355 w 758"/>
                <a:gd name="T25" fmla="*/ 1405 h 1798"/>
                <a:gd name="T26" fmla="*/ 437 w 758"/>
                <a:gd name="T27" fmla="*/ 1472 h 1798"/>
                <a:gd name="T28" fmla="*/ 393 w 758"/>
                <a:gd name="T29" fmla="*/ 1581 h 1798"/>
                <a:gd name="T30" fmla="*/ 318 w 758"/>
                <a:gd name="T31" fmla="*/ 1699 h 1798"/>
                <a:gd name="T32" fmla="*/ 357 w 758"/>
                <a:gd name="T33" fmla="*/ 1782 h 1798"/>
                <a:gd name="T34" fmla="*/ 260 w 758"/>
                <a:gd name="T35" fmla="*/ 1798 h 1798"/>
                <a:gd name="T36" fmla="*/ 180 w 758"/>
                <a:gd name="T37" fmla="*/ 1699 h 1798"/>
                <a:gd name="T38" fmla="*/ 166 w 758"/>
                <a:gd name="T39" fmla="*/ 1394 h 1798"/>
                <a:gd name="T40" fmla="*/ 43 w 758"/>
                <a:gd name="T41" fmla="*/ 874 h 1798"/>
                <a:gd name="T42" fmla="*/ 80 w 758"/>
                <a:gd name="T43" fmla="*/ 692 h 1798"/>
                <a:gd name="T44" fmla="*/ 0 w 758"/>
                <a:gd name="T45" fmla="*/ 461 h 1798"/>
                <a:gd name="T46" fmla="*/ 54 w 758"/>
                <a:gd name="T47" fmla="*/ 159 h 1798"/>
                <a:gd name="T48" fmla="*/ 103 w 758"/>
                <a:gd name="T49" fmla="*/ 102 h 1798"/>
                <a:gd name="T50" fmla="*/ 90 w 758"/>
                <a:gd name="T51" fmla="*/ 57 h 1798"/>
                <a:gd name="T52" fmla="*/ 153 w 758"/>
                <a:gd name="T53" fmla="*/ 0 h 1798"/>
                <a:gd name="T54" fmla="*/ 292 w 758"/>
                <a:gd name="T55" fmla="*/ 9 h 1798"/>
                <a:gd name="T56" fmla="*/ 370 w 758"/>
                <a:gd name="T57" fmla="*/ 93 h 1798"/>
                <a:gd name="T58" fmla="*/ 461 w 758"/>
                <a:gd name="T59" fmla="*/ 94 h 1798"/>
                <a:gd name="T60" fmla="*/ 553 w 758"/>
                <a:gd name="T61" fmla="*/ 151 h 1798"/>
                <a:gd name="T62" fmla="*/ 527 w 758"/>
                <a:gd name="T63" fmla="*/ 215 h 1798"/>
                <a:gd name="T64" fmla="*/ 533 w 758"/>
                <a:gd name="T65" fmla="*/ 279 h 1798"/>
                <a:gd name="T66" fmla="*/ 664 w 758"/>
                <a:gd name="T67" fmla="*/ 273 h 1798"/>
                <a:gd name="T68" fmla="*/ 726 w 758"/>
                <a:gd name="T69" fmla="*/ 180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8" h="1798">
                  <a:moveTo>
                    <a:pt x="726" y="180"/>
                  </a:moveTo>
                  <a:lnTo>
                    <a:pt x="758" y="210"/>
                  </a:lnTo>
                  <a:lnTo>
                    <a:pt x="632" y="398"/>
                  </a:lnTo>
                  <a:lnTo>
                    <a:pt x="588" y="448"/>
                  </a:lnTo>
                  <a:lnTo>
                    <a:pt x="603" y="662"/>
                  </a:lnTo>
                  <a:lnTo>
                    <a:pt x="700" y="780"/>
                  </a:lnTo>
                  <a:lnTo>
                    <a:pt x="619" y="923"/>
                  </a:lnTo>
                  <a:lnTo>
                    <a:pt x="557" y="949"/>
                  </a:lnTo>
                  <a:lnTo>
                    <a:pt x="486" y="949"/>
                  </a:lnTo>
                  <a:lnTo>
                    <a:pt x="505" y="1061"/>
                  </a:lnTo>
                  <a:lnTo>
                    <a:pt x="395" y="1099"/>
                  </a:lnTo>
                  <a:lnTo>
                    <a:pt x="421" y="1193"/>
                  </a:lnTo>
                  <a:lnTo>
                    <a:pt x="355" y="1405"/>
                  </a:lnTo>
                  <a:lnTo>
                    <a:pt x="437" y="1472"/>
                  </a:lnTo>
                  <a:lnTo>
                    <a:pt x="393" y="1581"/>
                  </a:lnTo>
                  <a:lnTo>
                    <a:pt x="318" y="1699"/>
                  </a:lnTo>
                  <a:lnTo>
                    <a:pt x="357" y="1782"/>
                  </a:lnTo>
                  <a:lnTo>
                    <a:pt x="260" y="1798"/>
                  </a:lnTo>
                  <a:lnTo>
                    <a:pt x="180" y="1699"/>
                  </a:lnTo>
                  <a:lnTo>
                    <a:pt x="166" y="1394"/>
                  </a:lnTo>
                  <a:lnTo>
                    <a:pt x="43" y="874"/>
                  </a:lnTo>
                  <a:lnTo>
                    <a:pt x="80" y="692"/>
                  </a:lnTo>
                  <a:lnTo>
                    <a:pt x="0" y="461"/>
                  </a:lnTo>
                  <a:lnTo>
                    <a:pt x="54" y="159"/>
                  </a:lnTo>
                  <a:lnTo>
                    <a:pt x="103" y="102"/>
                  </a:lnTo>
                  <a:lnTo>
                    <a:pt x="90" y="57"/>
                  </a:lnTo>
                  <a:lnTo>
                    <a:pt x="153" y="0"/>
                  </a:lnTo>
                  <a:lnTo>
                    <a:pt x="292" y="9"/>
                  </a:lnTo>
                  <a:lnTo>
                    <a:pt x="370" y="93"/>
                  </a:lnTo>
                  <a:lnTo>
                    <a:pt x="461" y="94"/>
                  </a:lnTo>
                  <a:lnTo>
                    <a:pt x="553" y="151"/>
                  </a:lnTo>
                  <a:lnTo>
                    <a:pt x="527" y="215"/>
                  </a:lnTo>
                  <a:lnTo>
                    <a:pt x="533" y="279"/>
                  </a:lnTo>
                  <a:lnTo>
                    <a:pt x="664" y="273"/>
                  </a:lnTo>
                  <a:lnTo>
                    <a:pt x="726" y="18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8" name="Freeform 253">
              <a:extLst>
                <a:ext uri="{FF2B5EF4-FFF2-40B4-BE49-F238E27FC236}">
                  <a16:creationId xmlns:a16="http://schemas.microsoft.com/office/drawing/2014/main" id="{55420833-7341-485B-BF8C-73157EC88806}"/>
                </a:ext>
              </a:extLst>
            </p:cNvPr>
            <p:cNvSpPr>
              <a:spLocks/>
            </p:cNvSpPr>
            <p:nvPr/>
          </p:nvSpPr>
          <p:spPr bwMode="auto">
            <a:xfrm>
              <a:off x="4334669" y="5657056"/>
              <a:ext cx="68263" cy="92075"/>
            </a:xfrm>
            <a:custGeom>
              <a:avLst/>
              <a:gdLst>
                <a:gd name="T0" fmla="*/ 74 w 128"/>
                <a:gd name="T1" fmla="*/ 0 h 174"/>
                <a:gd name="T2" fmla="*/ 0 w 128"/>
                <a:gd name="T3" fmla="*/ 161 h 174"/>
                <a:gd name="T4" fmla="*/ 126 w 128"/>
                <a:gd name="T5" fmla="*/ 174 h 174"/>
                <a:gd name="T6" fmla="*/ 128 w 128"/>
                <a:gd name="T7" fmla="*/ 67 h 174"/>
                <a:gd name="T8" fmla="*/ 74 w 128"/>
                <a:gd name="T9" fmla="*/ 0 h 174"/>
              </a:gdLst>
              <a:ahLst/>
              <a:cxnLst>
                <a:cxn ang="0">
                  <a:pos x="T0" y="T1"/>
                </a:cxn>
                <a:cxn ang="0">
                  <a:pos x="T2" y="T3"/>
                </a:cxn>
                <a:cxn ang="0">
                  <a:pos x="T4" y="T5"/>
                </a:cxn>
                <a:cxn ang="0">
                  <a:pos x="T6" y="T7"/>
                </a:cxn>
                <a:cxn ang="0">
                  <a:pos x="T8" y="T9"/>
                </a:cxn>
              </a:cxnLst>
              <a:rect l="0" t="0" r="r" b="b"/>
              <a:pathLst>
                <a:path w="128" h="174">
                  <a:moveTo>
                    <a:pt x="74" y="0"/>
                  </a:moveTo>
                  <a:lnTo>
                    <a:pt x="0" y="161"/>
                  </a:lnTo>
                  <a:lnTo>
                    <a:pt x="126" y="174"/>
                  </a:lnTo>
                  <a:lnTo>
                    <a:pt x="128" y="67"/>
                  </a:lnTo>
                  <a:lnTo>
                    <a:pt x="7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9" name="Freeform 254">
              <a:extLst>
                <a:ext uri="{FF2B5EF4-FFF2-40B4-BE49-F238E27FC236}">
                  <a16:creationId xmlns:a16="http://schemas.microsoft.com/office/drawing/2014/main" id="{367FF727-11A8-49E9-BFDB-FC8B20A3C5BD}"/>
                </a:ext>
              </a:extLst>
            </p:cNvPr>
            <p:cNvSpPr>
              <a:spLocks/>
            </p:cNvSpPr>
            <p:nvPr/>
          </p:nvSpPr>
          <p:spPr bwMode="auto">
            <a:xfrm>
              <a:off x="4409282" y="5699918"/>
              <a:ext cx="76200" cy="52388"/>
            </a:xfrm>
            <a:custGeom>
              <a:avLst/>
              <a:gdLst>
                <a:gd name="T0" fmla="*/ 0 w 144"/>
                <a:gd name="T1" fmla="*/ 0 h 99"/>
                <a:gd name="T2" fmla="*/ 5 w 144"/>
                <a:gd name="T3" fmla="*/ 99 h 99"/>
                <a:gd name="T4" fmla="*/ 80 w 144"/>
                <a:gd name="T5" fmla="*/ 92 h 99"/>
                <a:gd name="T6" fmla="*/ 144 w 144"/>
                <a:gd name="T7" fmla="*/ 49 h 99"/>
                <a:gd name="T8" fmla="*/ 35 w 144"/>
                <a:gd name="T9" fmla="*/ 27 h 99"/>
                <a:gd name="T10" fmla="*/ 0 w 144"/>
                <a:gd name="T11" fmla="*/ 0 h 99"/>
              </a:gdLst>
              <a:ahLst/>
              <a:cxnLst>
                <a:cxn ang="0">
                  <a:pos x="T0" y="T1"/>
                </a:cxn>
                <a:cxn ang="0">
                  <a:pos x="T2" y="T3"/>
                </a:cxn>
                <a:cxn ang="0">
                  <a:pos x="T4" y="T5"/>
                </a:cxn>
                <a:cxn ang="0">
                  <a:pos x="T6" y="T7"/>
                </a:cxn>
                <a:cxn ang="0">
                  <a:pos x="T8" y="T9"/>
                </a:cxn>
                <a:cxn ang="0">
                  <a:pos x="T10" y="T11"/>
                </a:cxn>
              </a:cxnLst>
              <a:rect l="0" t="0" r="r" b="b"/>
              <a:pathLst>
                <a:path w="144" h="99">
                  <a:moveTo>
                    <a:pt x="0" y="0"/>
                  </a:moveTo>
                  <a:lnTo>
                    <a:pt x="5" y="99"/>
                  </a:lnTo>
                  <a:lnTo>
                    <a:pt x="80" y="92"/>
                  </a:lnTo>
                  <a:lnTo>
                    <a:pt x="144" y="49"/>
                  </a:lnTo>
                  <a:lnTo>
                    <a:pt x="35" y="27"/>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0" name="Freeform 255">
              <a:extLst>
                <a:ext uri="{FF2B5EF4-FFF2-40B4-BE49-F238E27FC236}">
                  <a16:creationId xmlns:a16="http://schemas.microsoft.com/office/drawing/2014/main" id="{148FEA41-69EE-4C70-9B5F-92F657D69372}"/>
                </a:ext>
              </a:extLst>
            </p:cNvPr>
            <p:cNvSpPr>
              <a:spLocks/>
            </p:cNvSpPr>
            <p:nvPr/>
          </p:nvSpPr>
          <p:spPr bwMode="auto">
            <a:xfrm>
              <a:off x="4129882" y="4588668"/>
              <a:ext cx="230188" cy="1125538"/>
            </a:xfrm>
            <a:custGeom>
              <a:avLst/>
              <a:gdLst>
                <a:gd name="T0" fmla="*/ 434 w 434"/>
                <a:gd name="T1" fmla="*/ 1995 h 2127"/>
                <a:gd name="T2" fmla="*/ 379 w 434"/>
                <a:gd name="T3" fmla="*/ 2056 h 2127"/>
                <a:gd name="T4" fmla="*/ 373 w 434"/>
                <a:gd name="T5" fmla="*/ 2127 h 2127"/>
                <a:gd name="T6" fmla="*/ 267 w 434"/>
                <a:gd name="T7" fmla="*/ 2067 h 2127"/>
                <a:gd name="T8" fmla="*/ 153 w 434"/>
                <a:gd name="T9" fmla="*/ 1903 h 2127"/>
                <a:gd name="T10" fmla="*/ 121 w 434"/>
                <a:gd name="T11" fmla="*/ 1846 h 2127"/>
                <a:gd name="T12" fmla="*/ 167 w 434"/>
                <a:gd name="T13" fmla="*/ 1786 h 2127"/>
                <a:gd name="T14" fmla="*/ 162 w 434"/>
                <a:gd name="T15" fmla="*/ 1710 h 2127"/>
                <a:gd name="T16" fmla="*/ 109 w 434"/>
                <a:gd name="T17" fmla="*/ 1687 h 2127"/>
                <a:gd name="T18" fmla="*/ 67 w 434"/>
                <a:gd name="T19" fmla="*/ 1656 h 2127"/>
                <a:gd name="T20" fmla="*/ 76 w 434"/>
                <a:gd name="T21" fmla="*/ 1614 h 2127"/>
                <a:gd name="T22" fmla="*/ 132 w 434"/>
                <a:gd name="T23" fmla="*/ 1598 h 2127"/>
                <a:gd name="T24" fmla="*/ 143 w 434"/>
                <a:gd name="T25" fmla="*/ 1352 h 2127"/>
                <a:gd name="T26" fmla="*/ 57 w 434"/>
                <a:gd name="T27" fmla="*/ 1304 h 2127"/>
                <a:gd name="T28" fmla="*/ 0 w 434"/>
                <a:gd name="T29" fmla="*/ 25 h 2127"/>
                <a:gd name="T30" fmla="*/ 14 w 434"/>
                <a:gd name="T31" fmla="*/ 0 h 2127"/>
                <a:gd name="T32" fmla="*/ 125 w 434"/>
                <a:gd name="T33" fmla="*/ 255 h 2127"/>
                <a:gd name="T34" fmla="*/ 160 w 434"/>
                <a:gd name="T35" fmla="*/ 256 h 2127"/>
                <a:gd name="T36" fmla="*/ 171 w 434"/>
                <a:gd name="T37" fmla="*/ 297 h 2127"/>
                <a:gd name="T38" fmla="*/ 125 w 434"/>
                <a:gd name="T39" fmla="*/ 353 h 2127"/>
                <a:gd name="T40" fmla="*/ 71 w 434"/>
                <a:gd name="T41" fmla="*/ 659 h 2127"/>
                <a:gd name="T42" fmla="*/ 147 w 434"/>
                <a:gd name="T43" fmla="*/ 894 h 2127"/>
                <a:gd name="T44" fmla="*/ 111 w 434"/>
                <a:gd name="T45" fmla="*/ 1073 h 2127"/>
                <a:gd name="T46" fmla="*/ 237 w 434"/>
                <a:gd name="T47" fmla="*/ 1598 h 2127"/>
                <a:gd name="T48" fmla="*/ 250 w 434"/>
                <a:gd name="T49" fmla="*/ 1905 h 2127"/>
                <a:gd name="T50" fmla="*/ 340 w 434"/>
                <a:gd name="T51" fmla="*/ 2009 h 2127"/>
                <a:gd name="T52" fmla="*/ 434 w 434"/>
                <a:gd name="T53" fmla="*/ 1995 h 2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4" h="2127">
                  <a:moveTo>
                    <a:pt x="434" y="1995"/>
                  </a:moveTo>
                  <a:lnTo>
                    <a:pt x="379" y="2056"/>
                  </a:lnTo>
                  <a:lnTo>
                    <a:pt x="373" y="2127"/>
                  </a:lnTo>
                  <a:lnTo>
                    <a:pt x="267" y="2067"/>
                  </a:lnTo>
                  <a:lnTo>
                    <a:pt x="153" y="1903"/>
                  </a:lnTo>
                  <a:lnTo>
                    <a:pt x="121" y="1846"/>
                  </a:lnTo>
                  <a:lnTo>
                    <a:pt x="167" y="1786"/>
                  </a:lnTo>
                  <a:lnTo>
                    <a:pt x="162" y="1710"/>
                  </a:lnTo>
                  <a:lnTo>
                    <a:pt x="109" y="1687"/>
                  </a:lnTo>
                  <a:lnTo>
                    <a:pt x="67" y="1656"/>
                  </a:lnTo>
                  <a:lnTo>
                    <a:pt x="76" y="1614"/>
                  </a:lnTo>
                  <a:lnTo>
                    <a:pt x="132" y="1598"/>
                  </a:lnTo>
                  <a:lnTo>
                    <a:pt x="143" y="1352"/>
                  </a:lnTo>
                  <a:lnTo>
                    <a:pt x="57" y="1304"/>
                  </a:lnTo>
                  <a:lnTo>
                    <a:pt x="0" y="25"/>
                  </a:lnTo>
                  <a:lnTo>
                    <a:pt x="14" y="0"/>
                  </a:lnTo>
                  <a:lnTo>
                    <a:pt x="125" y="255"/>
                  </a:lnTo>
                  <a:lnTo>
                    <a:pt x="160" y="256"/>
                  </a:lnTo>
                  <a:lnTo>
                    <a:pt x="171" y="297"/>
                  </a:lnTo>
                  <a:lnTo>
                    <a:pt x="125" y="353"/>
                  </a:lnTo>
                  <a:lnTo>
                    <a:pt x="71" y="659"/>
                  </a:lnTo>
                  <a:lnTo>
                    <a:pt x="147" y="894"/>
                  </a:lnTo>
                  <a:lnTo>
                    <a:pt x="111" y="1073"/>
                  </a:lnTo>
                  <a:lnTo>
                    <a:pt x="237" y="1598"/>
                  </a:lnTo>
                  <a:lnTo>
                    <a:pt x="250" y="1905"/>
                  </a:lnTo>
                  <a:lnTo>
                    <a:pt x="340" y="2009"/>
                  </a:lnTo>
                  <a:lnTo>
                    <a:pt x="434" y="199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1" name="Freeform 256">
              <a:extLst>
                <a:ext uri="{FF2B5EF4-FFF2-40B4-BE49-F238E27FC236}">
                  <a16:creationId xmlns:a16="http://schemas.microsoft.com/office/drawing/2014/main" id="{DF989149-59A1-4DAB-A1D7-64BD337591D0}"/>
                </a:ext>
              </a:extLst>
            </p:cNvPr>
            <p:cNvSpPr>
              <a:spLocks/>
            </p:cNvSpPr>
            <p:nvPr/>
          </p:nvSpPr>
          <p:spPr bwMode="auto">
            <a:xfrm>
              <a:off x="4155282" y="5304631"/>
              <a:ext cx="23813" cy="49213"/>
            </a:xfrm>
            <a:custGeom>
              <a:avLst/>
              <a:gdLst>
                <a:gd name="T0" fmla="*/ 23 w 45"/>
                <a:gd name="T1" fmla="*/ 0 h 95"/>
                <a:gd name="T2" fmla="*/ 0 w 45"/>
                <a:gd name="T3" fmla="*/ 34 h 95"/>
                <a:gd name="T4" fmla="*/ 12 w 45"/>
                <a:gd name="T5" fmla="*/ 92 h 95"/>
                <a:gd name="T6" fmla="*/ 34 w 45"/>
                <a:gd name="T7" fmla="*/ 95 h 95"/>
                <a:gd name="T8" fmla="*/ 45 w 45"/>
                <a:gd name="T9" fmla="*/ 21 h 95"/>
                <a:gd name="T10" fmla="*/ 23 w 45"/>
                <a:gd name="T11" fmla="*/ 0 h 95"/>
              </a:gdLst>
              <a:ahLst/>
              <a:cxnLst>
                <a:cxn ang="0">
                  <a:pos x="T0" y="T1"/>
                </a:cxn>
                <a:cxn ang="0">
                  <a:pos x="T2" y="T3"/>
                </a:cxn>
                <a:cxn ang="0">
                  <a:pos x="T4" y="T5"/>
                </a:cxn>
                <a:cxn ang="0">
                  <a:pos x="T6" y="T7"/>
                </a:cxn>
                <a:cxn ang="0">
                  <a:pos x="T8" y="T9"/>
                </a:cxn>
                <a:cxn ang="0">
                  <a:pos x="T10" y="T11"/>
                </a:cxn>
              </a:cxnLst>
              <a:rect l="0" t="0" r="r" b="b"/>
              <a:pathLst>
                <a:path w="45" h="95">
                  <a:moveTo>
                    <a:pt x="23" y="0"/>
                  </a:moveTo>
                  <a:lnTo>
                    <a:pt x="0" y="34"/>
                  </a:lnTo>
                  <a:lnTo>
                    <a:pt x="12" y="92"/>
                  </a:lnTo>
                  <a:lnTo>
                    <a:pt x="34" y="95"/>
                  </a:lnTo>
                  <a:lnTo>
                    <a:pt x="45" y="21"/>
                  </a:lnTo>
                  <a:lnTo>
                    <a:pt x="2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2" name="Freeform 257">
              <a:extLst>
                <a:ext uri="{FF2B5EF4-FFF2-40B4-BE49-F238E27FC236}">
                  <a16:creationId xmlns:a16="http://schemas.microsoft.com/office/drawing/2014/main" id="{F69472B7-18F4-4F97-9C15-52B79DFA4D66}"/>
                </a:ext>
              </a:extLst>
            </p:cNvPr>
            <p:cNvSpPr>
              <a:spLocks/>
            </p:cNvSpPr>
            <p:nvPr/>
          </p:nvSpPr>
          <p:spPr bwMode="auto">
            <a:xfrm>
              <a:off x="4018757" y="3944143"/>
              <a:ext cx="995363" cy="1031875"/>
            </a:xfrm>
            <a:custGeom>
              <a:avLst/>
              <a:gdLst>
                <a:gd name="T0" fmla="*/ 1169 w 1879"/>
                <a:gd name="T1" fmla="*/ 1948 h 1948"/>
                <a:gd name="T2" fmla="*/ 1276 w 1879"/>
                <a:gd name="T3" fmla="*/ 1742 h 1948"/>
                <a:gd name="T4" fmla="*/ 1281 w 1879"/>
                <a:gd name="T5" fmla="*/ 1569 h 1948"/>
                <a:gd name="T6" fmla="*/ 1480 w 1879"/>
                <a:gd name="T7" fmla="*/ 1440 h 1948"/>
                <a:gd name="T8" fmla="*/ 1592 w 1879"/>
                <a:gd name="T9" fmla="*/ 1440 h 1948"/>
                <a:gd name="T10" fmla="*/ 1679 w 1879"/>
                <a:gd name="T11" fmla="*/ 1291 h 1948"/>
                <a:gd name="T12" fmla="*/ 1696 w 1879"/>
                <a:gd name="T13" fmla="*/ 1006 h 1948"/>
                <a:gd name="T14" fmla="*/ 1660 w 1879"/>
                <a:gd name="T15" fmla="*/ 930 h 1948"/>
                <a:gd name="T16" fmla="*/ 1871 w 1879"/>
                <a:gd name="T17" fmla="*/ 736 h 1948"/>
                <a:gd name="T18" fmla="*/ 1879 w 1879"/>
                <a:gd name="T19" fmla="*/ 523 h 1948"/>
                <a:gd name="T20" fmla="*/ 1592 w 1879"/>
                <a:gd name="T21" fmla="*/ 383 h 1948"/>
                <a:gd name="T22" fmla="*/ 1245 w 1879"/>
                <a:gd name="T23" fmla="*/ 274 h 1948"/>
                <a:gd name="T24" fmla="*/ 1081 w 1879"/>
                <a:gd name="T25" fmla="*/ 258 h 1948"/>
                <a:gd name="T26" fmla="*/ 1125 w 1879"/>
                <a:gd name="T27" fmla="*/ 165 h 1948"/>
                <a:gd name="T28" fmla="*/ 1113 w 1879"/>
                <a:gd name="T29" fmla="*/ 24 h 1948"/>
                <a:gd name="T30" fmla="*/ 1078 w 1879"/>
                <a:gd name="T31" fmla="*/ 12 h 1948"/>
                <a:gd name="T32" fmla="*/ 1024 w 1879"/>
                <a:gd name="T33" fmla="*/ 118 h 1948"/>
                <a:gd name="T34" fmla="*/ 996 w 1879"/>
                <a:gd name="T35" fmla="*/ 152 h 1948"/>
                <a:gd name="T36" fmla="*/ 925 w 1879"/>
                <a:gd name="T37" fmla="*/ 121 h 1948"/>
                <a:gd name="T38" fmla="*/ 686 w 1879"/>
                <a:gd name="T39" fmla="*/ 205 h 1948"/>
                <a:gd name="T40" fmla="*/ 606 w 1879"/>
                <a:gd name="T41" fmla="*/ 104 h 1948"/>
                <a:gd name="T42" fmla="*/ 619 w 1879"/>
                <a:gd name="T43" fmla="*/ 0 h 1948"/>
                <a:gd name="T44" fmla="*/ 544 w 1879"/>
                <a:gd name="T45" fmla="*/ 76 h 1948"/>
                <a:gd name="T46" fmla="*/ 460 w 1879"/>
                <a:gd name="T47" fmla="*/ 31 h 1948"/>
                <a:gd name="T48" fmla="*/ 451 w 1879"/>
                <a:gd name="T49" fmla="*/ 44 h 1948"/>
                <a:gd name="T50" fmla="*/ 452 w 1879"/>
                <a:gd name="T51" fmla="*/ 80 h 1948"/>
                <a:gd name="T52" fmla="*/ 523 w 1879"/>
                <a:gd name="T53" fmla="*/ 119 h 1948"/>
                <a:gd name="T54" fmla="*/ 416 w 1879"/>
                <a:gd name="T55" fmla="*/ 232 h 1948"/>
                <a:gd name="T56" fmla="*/ 348 w 1879"/>
                <a:gd name="T57" fmla="*/ 231 h 1948"/>
                <a:gd name="T58" fmla="*/ 279 w 1879"/>
                <a:gd name="T59" fmla="*/ 161 h 1948"/>
                <a:gd name="T60" fmla="*/ 201 w 1879"/>
                <a:gd name="T61" fmla="*/ 163 h 1948"/>
                <a:gd name="T62" fmla="*/ 192 w 1879"/>
                <a:gd name="T63" fmla="*/ 247 h 1948"/>
                <a:gd name="T64" fmla="*/ 236 w 1879"/>
                <a:gd name="T65" fmla="*/ 301 h 1948"/>
                <a:gd name="T66" fmla="*/ 183 w 1879"/>
                <a:gd name="T67" fmla="*/ 470 h 1948"/>
                <a:gd name="T68" fmla="*/ 121 w 1879"/>
                <a:gd name="T69" fmla="*/ 475 h 1948"/>
                <a:gd name="T70" fmla="*/ 24 w 1879"/>
                <a:gd name="T71" fmla="*/ 537 h 1948"/>
                <a:gd name="T72" fmla="*/ 0 w 1879"/>
                <a:gd name="T73" fmla="*/ 659 h 1948"/>
                <a:gd name="T74" fmla="*/ 85 w 1879"/>
                <a:gd name="T75" fmla="*/ 750 h 1948"/>
                <a:gd name="T76" fmla="*/ 100 w 1879"/>
                <a:gd name="T77" fmla="*/ 732 h 1948"/>
                <a:gd name="T78" fmla="*/ 160 w 1879"/>
                <a:gd name="T79" fmla="*/ 717 h 1948"/>
                <a:gd name="T80" fmla="*/ 211 w 1879"/>
                <a:gd name="T81" fmla="*/ 802 h 1948"/>
                <a:gd name="T82" fmla="*/ 357 w 1879"/>
                <a:gd name="T83" fmla="*/ 740 h 1948"/>
                <a:gd name="T84" fmla="*/ 414 w 1879"/>
                <a:gd name="T85" fmla="*/ 743 h 1948"/>
                <a:gd name="T86" fmla="*/ 453 w 1879"/>
                <a:gd name="T87" fmla="*/ 881 h 1948"/>
                <a:gd name="T88" fmla="*/ 661 w 1879"/>
                <a:gd name="T89" fmla="*/ 947 h 1948"/>
                <a:gd name="T90" fmla="*/ 697 w 1879"/>
                <a:gd name="T91" fmla="*/ 1058 h 1948"/>
                <a:gd name="T92" fmla="*/ 786 w 1879"/>
                <a:gd name="T93" fmla="*/ 1068 h 1948"/>
                <a:gd name="T94" fmla="*/ 829 w 1879"/>
                <a:gd name="T95" fmla="*/ 1173 h 1948"/>
                <a:gd name="T96" fmla="*/ 799 w 1879"/>
                <a:gd name="T97" fmla="*/ 1267 h 1948"/>
                <a:gd name="T98" fmla="*/ 837 w 1879"/>
                <a:gd name="T99" fmla="*/ 1316 h 1948"/>
                <a:gd name="T100" fmla="*/ 832 w 1879"/>
                <a:gd name="T101" fmla="*/ 1389 h 1948"/>
                <a:gd name="T102" fmla="*/ 931 w 1879"/>
                <a:gd name="T103" fmla="*/ 1380 h 1948"/>
                <a:gd name="T104" fmla="*/ 1024 w 1879"/>
                <a:gd name="T105" fmla="*/ 1495 h 1948"/>
                <a:gd name="T106" fmla="*/ 1016 w 1879"/>
                <a:gd name="T107" fmla="*/ 1576 h 1948"/>
                <a:gd name="T108" fmla="*/ 1070 w 1879"/>
                <a:gd name="T109" fmla="*/ 1623 h 1948"/>
                <a:gd name="T110" fmla="*/ 941 w 1879"/>
                <a:gd name="T111" fmla="*/ 1820 h 1948"/>
                <a:gd name="T112" fmla="*/ 1169 w 1879"/>
                <a:gd name="T113" fmla="*/ 1948 h 1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79" h="1948">
                  <a:moveTo>
                    <a:pt x="1169" y="1948"/>
                  </a:moveTo>
                  <a:lnTo>
                    <a:pt x="1276" y="1742"/>
                  </a:lnTo>
                  <a:lnTo>
                    <a:pt x="1281" y="1569"/>
                  </a:lnTo>
                  <a:lnTo>
                    <a:pt x="1480" y="1440"/>
                  </a:lnTo>
                  <a:lnTo>
                    <a:pt x="1592" y="1440"/>
                  </a:lnTo>
                  <a:lnTo>
                    <a:pt x="1679" y="1291"/>
                  </a:lnTo>
                  <a:lnTo>
                    <a:pt x="1696" y="1006"/>
                  </a:lnTo>
                  <a:lnTo>
                    <a:pt x="1660" y="930"/>
                  </a:lnTo>
                  <a:lnTo>
                    <a:pt x="1871" y="736"/>
                  </a:lnTo>
                  <a:lnTo>
                    <a:pt x="1879" y="523"/>
                  </a:lnTo>
                  <a:lnTo>
                    <a:pt x="1592" y="383"/>
                  </a:lnTo>
                  <a:lnTo>
                    <a:pt x="1245" y="274"/>
                  </a:lnTo>
                  <a:lnTo>
                    <a:pt x="1081" y="258"/>
                  </a:lnTo>
                  <a:lnTo>
                    <a:pt x="1125" y="165"/>
                  </a:lnTo>
                  <a:lnTo>
                    <a:pt x="1113" y="24"/>
                  </a:lnTo>
                  <a:lnTo>
                    <a:pt x="1078" y="12"/>
                  </a:lnTo>
                  <a:lnTo>
                    <a:pt x="1024" y="118"/>
                  </a:lnTo>
                  <a:lnTo>
                    <a:pt x="996" y="152"/>
                  </a:lnTo>
                  <a:lnTo>
                    <a:pt x="925" y="121"/>
                  </a:lnTo>
                  <a:lnTo>
                    <a:pt x="686" y="205"/>
                  </a:lnTo>
                  <a:lnTo>
                    <a:pt x="606" y="104"/>
                  </a:lnTo>
                  <a:lnTo>
                    <a:pt x="619" y="0"/>
                  </a:lnTo>
                  <a:lnTo>
                    <a:pt x="544" y="76"/>
                  </a:lnTo>
                  <a:lnTo>
                    <a:pt x="460" y="31"/>
                  </a:lnTo>
                  <a:lnTo>
                    <a:pt x="451" y="44"/>
                  </a:lnTo>
                  <a:lnTo>
                    <a:pt x="452" y="80"/>
                  </a:lnTo>
                  <a:lnTo>
                    <a:pt x="523" y="119"/>
                  </a:lnTo>
                  <a:lnTo>
                    <a:pt x="416" y="232"/>
                  </a:lnTo>
                  <a:lnTo>
                    <a:pt x="348" y="231"/>
                  </a:lnTo>
                  <a:lnTo>
                    <a:pt x="279" y="161"/>
                  </a:lnTo>
                  <a:lnTo>
                    <a:pt x="201" y="163"/>
                  </a:lnTo>
                  <a:lnTo>
                    <a:pt x="192" y="247"/>
                  </a:lnTo>
                  <a:lnTo>
                    <a:pt x="236" y="301"/>
                  </a:lnTo>
                  <a:lnTo>
                    <a:pt x="183" y="470"/>
                  </a:lnTo>
                  <a:lnTo>
                    <a:pt x="121" y="475"/>
                  </a:lnTo>
                  <a:lnTo>
                    <a:pt x="24" y="537"/>
                  </a:lnTo>
                  <a:lnTo>
                    <a:pt x="0" y="659"/>
                  </a:lnTo>
                  <a:lnTo>
                    <a:pt x="85" y="750"/>
                  </a:lnTo>
                  <a:lnTo>
                    <a:pt x="100" y="732"/>
                  </a:lnTo>
                  <a:lnTo>
                    <a:pt x="160" y="717"/>
                  </a:lnTo>
                  <a:lnTo>
                    <a:pt x="211" y="802"/>
                  </a:lnTo>
                  <a:lnTo>
                    <a:pt x="357" y="740"/>
                  </a:lnTo>
                  <a:lnTo>
                    <a:pt x="414" y="743"/>
                  </a:lnTo>
                  <a:lnTo>
                    <a:pt x="453" y="881"/>
                  </a:lnTo>
                  <a:lnTo>
                    <a:pt x="661" y="947"/>
                  </a:lnTo>
                  <a:lnTo>
                    <a:pt x="697" y="1058"/>
                  </a:lnTo>
                  <a:lnTo>
                    <a:pt x="786" y="1068"/>
                  </a:lnTo>
                  <a:lnTo>
                    <a:pt x="829" y="1173"/>
                  </a:lnTo>
                  <a:lnTo>
                    <a:pt x="799" y="1267"/>
                  </a:lnTo>
                  <a:lnTo>
                    <a:pt x="837" y="1316"/>
                  </a:lnTo>
                  <a:lnTo>
                    <a:pt x="832" y="1389"/>
                  </a:lnTo>
                  <a:lnTo>
                    <a:pt x="931" y="1380"/>
                  </a:lnTo>
                  <a:lnTo>
                    <a:pt x="1024" y="1495"/>
                  </a:lnTo>
                  <a:lnTo>
                    <a:pt x="1016" y="1576"/>
                  </a:lnTo>
                  <a:lnTo>
                    <a:pt x="1070" y="1623"/>
                  </a:lnTo>
                  <a:lnTo>
                    <a:pt x="941" y="1820"/>
                  </a:lnTo>
                  <a:lnTo>
                    <a:pt x="1169" y="194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3" name="Freeform 258">
              <a:extLst>
                <a:ext uri="{FF2B5EF4-FFF2-40B4-BE49-F238E27FC236}">
                  <a16:creationId xmlns:a16="http://schemas.microsoft.com/office/drawing/2014/main" id="{1196E951-F6DF-4F60-A197-5555BF473D5E}"/>
                </a:ext>
              </a:extLst>
            </p:cNvPr>
            <p:cNvSpPr>
              <a:spLocks/>
            </p:cNvSpPr>
            <p:nvPr/>
          </p:nvSpPr>
          <p:spPr bwMode="auto">
            <a:xfrm>
              <a:off x="3644107" y="3542506"/>
              <a:ext cx="33338" cy="47625"/>
            </a:xfrm>
            <a:custGeom>
              <a:avLst/>
              <a:gdLst>
                <a:gd name="T0" fmla="*/ 1 w 63"/>
                <a:gd name="T1" fmla="*/ 28 h 91"/>
                <a:gd name="T2" fmla="*/ 0 w 63"/>
                <a:gd name="T3" fmla="*/ 91 h 91"/>
                <a:gd name="T4" fmla="*/ 14 w 63"/>
                <a:gd name="T5" fmla="*/ 91 h 91"/>
                <a:gd name="T6" fmla="*/ 63 w 63"/>
                <a:gd name="T7" fmla="*/ 0 h 91"/>
                <a:gd name="T8" fmla="*/ 31 w 63"/>
                <a:gd name="T9" fmla="*/ 0 h 91"/>
                <a:gd name="T10" fmla="*/ 1 w 63"/>
                <a:gd name="T11" fmla="*/ 28 h 91"/>
              </a:gdLst>
              <a:ahLst/>
              <a:cxnLst>
                <a:cxn ang="0">
                  <a:pos x="T0" y="T1"/>
                </a:cxn>
                <a:cxn ang="0">
                  <a:pos x="T2" y="T3"/>
                </a:cxn>
                <a:cxn ang="0">
                  <a:pos x="T4" y="T5"/>
                </a:cxn>
                <a:cxn ang="0">
                  <a:pos x="T6" y="T7"/>
                </a:cxn>
                <a:cxn ang="0">
                  <a:pos x="T8" y="T9"/>
                </a:cxn>
                <a:cxn ang="0">
                  <a:pos x="T10" y="T11"/>
                </a:cxn>
              </a:cxnLst>
              <a:rect l="0" t="0" r="r" b="b"/>
              <a:pathLst>
                <a:path w="63" h="91">
                  <a:moveTo>
                    <a:pt x="1" y="28"/>
                  </a:moveTo>
                  <a:lnTo>
                    <a:pt x="0" y="91"/>
                  </a:lnTo>
                  <a:lnTo>
                    <a:pt x="14" y="91"/>
                  </a:lnTo>
                  <a:lnTo>
                    <a:pt x="63" y="0"/>
                  </a:lnTo>
                  <a:lnTo>
                    <a:pt x="31" y="0"/>
                  </a:lnTo>
                  <a:lnTo>
                    <a:pt x="1" y="2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4" name="Freeform 259">
              <a:extLst>
                <a:ext uri="{FF2B5EF4-FFF2-40B4-BE49-F238E27FC236}">
                  <a16:creationId xmlns:a16="http://schemas.microsoft.com/office/drawing/2014/main" id="{EF9005F7-8230-49CA-A6CD-4377FCB5368B}"/>
                </a:ext>
              </a:extLst>
            </p:cNvPr>
            <p:cNvSpPr>
              <a:spLocks/>
            </p:cNvSpPr>
            <p:nvPr/>
          </p:nvSpPr>
          <p:spPr bwMode="auto">
            <a:xfrm>
              <a:off x="6463507" y="1140618"/>
              <a:ext cx="3235325" cy="1752600"/>
            </a:xfrm>
            <a:custGeom>
              <a:avLst/>
              <a:gdLst>
                <a:gd name="T0" fmla="*/ 5326 w 6114"/>
                <a:gd name="T1" fmla="*/ 1006 h 3312"/>
                <a:gd name="T2" fmla="*/ 5374 w 6114"/>
                <a:gd name="T3" fmla="*/ 928 h 3312"/>
                <a:gd name="T4" fmla="*/ 5262 w 6114"/>
                <a:gd name="T5" fmla="*/ 1592 h 3312"/>
                <a:gd name="T6" fmla="*/ 5601 w 6114"/>
                <a:gd name="T7" fmla="*/ 1626 h 3312"/>
                <a:gd name="T8" fmla="*/ 5447 w 6114"/>
                <a:gd name="T9" fmla="*/ 1344 h 3312"/>
                <a:gd name="T10" fmla="*/ 5640 w 6114"/>
                <a:gd name="T11" fmla="*/ 1023 h 3312"/>
                <a:gd name="T12" fmla="*/ 5872 w 6114"/>
                <a:gd name="T13" fmla="*/ 693 h 3312"/>
                <a:gd name="T14" fmla="*/ 5713 w 6114"/>
                <a:gd name="T15" fmla="*/ 512 h 3312"/>
                <a:gd name="T16" fmla="*/ 5816 w 6114"/>
                <a:gd name="T17" fmla="*/ 351 h 3312"/>
                <a:gd name="T18" fmla="*/ 6031 w 6114"/>
                <a:gd name="T19" fmla="*/ 277 h 3312"/>
                <a:gd name="T20" fmla="*/ 5820 w 6114"/>
                <a:gd name="T21" fmla="*/ 117 h 3312"/>
                <a:gd name="T22" fmla="*/ 5111 w 6114"/>
                <a:gd name="T23" fmla="*/ 109 h 3312"/>
                <a:gd name="T24" fmla="*/ 4771 w 6114"/>
                <a:gd name="T25" fmla="*/ 282 h 3312"/>
                <a:gd name="T26" fmla="*/ 4143 w 6114"/>
                <a:gd name="T27" fmla="*/ 204 h 3312"/>
                <a:gd name="T28" fmla="*/ 3867 w 6114"/>
                <a:gd name="T29" fmla="*/ 425 h 3312"/>
                <a:gd name="T30" fmla="*/ 3424 w 6114"/>
                <a:gd name="T31" fmla="*/ 386 h 3312"/>
                <a:gd name="T32" fmla="*/ 3040 w 6114"/>
                <a:gd name="T33" fmla="*/ 464 h 3312"/>
                <a:gd name="T34" fmla="*/ 2581 w 6114"/>
                <a:gd name="T35" fmla="*/ 676 h 3312"/>
                <a:gd name="T36" fmla="*/ 2650 w 6114"/>
                <a:gd name="T37" fmla="*/ 247 h 3312"/>
                <a:gd name="T38" fmla="*/ 2310 w 6114"/>
                <a:gd name="T39" fmla="*/ 316 h 3312"/>
                <a:gd name="T40" fmla="*/ 1759 w 6114"/>
                <a:gd name="T41" fmla="*/ 828 h 3312"/>
                <a:gd name="T42" fmla="*/ 1681 w 6114"/>
                <a:gd name="T43" fmla="*/ 958 h 3312"/>
                <a:gd name="T44" fmla="*/ 1612 w 6114"/>
                <a:gd name="T45" fmla="*/ 1257 h 3312"/>
                <a:gd name="T46" fmla="*/ 1741 w 6114"/>
                <a:gd name="T47" fmla="*/ 1314 h 3312"/>
                <a:gd name="T48" fmla="*/ 1643 w 6114"/>
                <a:gd name="T49" fmla="*/ 1522 h 3312"/>
                <a:gd name="T50" fmla="*/ 1595 w 6114"/>
                <a:gd name="T51" fmla="*/ 1308 h 3312"/>
                <a:gd name="T52" fmla="*/ 1328 w 6114"/>
                <a:gd name="T53" fmla="*/ 1049 h 3312"/>
                <a:gd name="T54" fmla="*/ 1401 w 6114"/>
                <a:gd name="T55" fmla="*/ 1296 h 3312"/>
                <a:gd name="T56" fmla="*/ 1100 w 6114"/>
                <a:gd name="T57" fmla="*/ 1369 h 3312"/>
                <a:gd name="T58" fmla="*/ 683 w 6114"/>
                <a:gd name="T59" fmla="*/ 1591 h 3312"/>
                <a:gd name="T60" fmla="*/ 537 w 6114"/>
                <a:gd name="T61" fmla="*/ 1453 h 3312"/>
                <a:gd name="T62" fmla="*/ 562 w 6114"/>
                <a:gd name="T63" fmla="*/ 1674 h 3312"/>
                <a:gd name="T64" fmla="*/ 454 w 6114"/>
                <a:gd name="T65" fmla="*/ 1777 h 3312"/>
                <a:gd name="T66" fmla="*/ 266 w 6114"/>
                <a:gd name="T67" fmla="*/ 1861 h 3312"/>
                <a:gd name="T68" fmla="*/ 106 w 6114"/>
                <a:gd name="T69" fmla="*/ 1634 h 3312"/>
                <a:gd name="T70" fmla="*/ 403 w 6114"/>
                <a:gd name="T71" fmla="*/ 1548 h 3312"/>
                <a:gd name="T72" fmla="*/ 10 w 6114"/>
                <a:gd name="T73" fmla="*/ 1555 h 3312"/>
                <a:gd name="T74" fmla="*/ 76 w 6114"/>
                <a:gd name="T75" fmla="*/ 2099 h 3312"/>
                <a:gd name="T76" fmla="*/ 46 w 6114"/>
                <a:gd name="T77" fmla="*/ 2192 h 3312"/>
                <a:gd name="T78" fmla="*/ 139 w 6114"/>
                <a:gd name="T79" fmla="*/ 2427 h 3312"/>
                <a:gd name="T80" fmla="*/ 267 w 6114"/>
                <a:gd name="T81" fmla="*/ 2635 h 3312"/>
                <a:gd name="T82" fmla="*/ 649 w 6114"/>
                <a:gd name="T83" fmla="*/ 2775 h 3312"/>
                <a:gd name="T84" fmla="*/ 524 w 6114"/>
                <a:gd name="T85" fmla="*/ 3052 h 3312"/>
                <a:gd name="T86" fmla="*/ 722 w 6114"/>
                <a:gd name="T87" fmla="*/ 3186 h 3312"/>
                <a:gd name="T88" fmla="*/ 997 w 6114"/>
                <a:gd name="T89" fmla="*/ 3131 h 3312"/>
                <a:gd name="T90" fmla="*/ 909 w 6114"/>
                <a:gd name="T91" fmla="*/ 2873 h 3312"/>
                <a:gd name="T92" fmla="*/ 1230 w 6114"/>
                <a:gd name="T93" fmla="*/ 2714 h 3312"/>
                <a:gd name="T94" fmla="*/ 1458 w 6114"/>
                <a:gd name="T95" fmla="*/ 2471 h 3312"/>
                <a:gd name="T96" fmla="*/ 2296 w 6114"/>
                <a:gd name="T97" fmla="*/ 2575 h 3312"/>
                <a:gd name="T98" fmla="*/ 2800 w 6114"/>
                <a:gd name="T99" fmla="*/ 2489 h 3312"/>
                <a:gd name="T100" fmla="*/ 3019 w 6114"/>
                <a:gd name="T101" fmla="*/ 2455 h 3312"/>
                <a:gd name="T102" fmla="*/ 3338 w 6114"/>
                <a:gd name="T103" fmla="*/ 2493 h 3312"/>
                <a:gd name="T104" fmla="*/ 3643 w 6114"/>
                <a:gd name="T105" fmla="*/ 2498 h 3312"/>
                <a:gd name="T106" fmla="*/ 3992 w 6114"/>
                <a:gd name="T107" fmla="*/ 2298 h 3312"/>
                <a:gd name="T108" fmla="*/ 4337 w 6114"/>
                <a:gd name="T109" fmla="*/ 2325 h 3312"/>
                <a:gd name="T110" fmla="*/ 4702 w 6114"/>
                <a:gd name="T111" fmla="*/ 2346 h 3312"/>
                <a:gd name="T112" fmla="*/ 4681 w 6114"/>
                <a:gd name="T113" fmla="*/ 2749 h 3312"/>
                <a:gd name="T114" fmla="*/ 4745 w 6114"/>
                <a:gd name="T115" fmla="*/ 2789 h 3312"/>
                <a:gd name="T116" fmla="*/ 4925 w 6114"/>
                <a:gd name="T117" fmla="*/ 2281 h 3312"/>
                <a:gd name="T118" fmla="*/ 4641 w 6114"/>
                <a:gd name="T119" fmla="*/ 1960 h 3312"/>
                <a:gd name="T120" fmla="*/ 4796 w 6114"/>
                <a:gd name="T121" fmla="*/ 1401 h 3312"/>
                <a:gd name="T122" fmla="*/ 4994 w 6114"/>
                <a:gd name="T123" fmla="*/ 1418 h 3312"/>
                <a:gd name="T124" fmla="*/ 5046 w 6114"/>
                <a:gd name="T125" fmla="*/ 1254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14" h="3312">
                  <a:moveTo>
                    <a:pt x="5176" y="980"/>
                  </a:moveTo>
                  <a:lnTo>
                    <a:pt x="5206" y="1084"/>
                  </a:lnTo>
                  <a:lnTo>
                    <a:pt x="5266" y="1101"/>
                  </a:lnTo>
                  <a:lnTo>
                    <a:pt x="5326" y="1006"/>
                  </a:lnTo>
                  <a:lnTo>
                    <a:pt x="5293" y="941"/>
                  </a:lnTo>
                  <a:lnTo>
                    <a:pt x="5305" y="884"/>
                  </a:lnTo>
                  <a:lnTo>
                    <a:pt x="5395" y="884"/>
                  </a:lnTo>
                  <a:lnTo>
                    <a:pt x="5374" y="928"/>
                  </a:lnTo>
                  <a:lnTo>
                    <a:pt x="5383" y="1084"/>
                  </a:lnTo>
                  <a:lnTo>
                    <a:pt x="5253" y="1405"/>
                  </a:lnTo>
                  <a:lnTo>
                    <a:pt x="5266" y="1474"/>
                  </a:lnTo>
                  <a:lnTo>
                    <a:pt x="5262" y="1592"/>
                  </a:lnTo>
                  <a:lnTo>
                    <a:pt x="5503" y="1943"/>
                  </a:lnTo>
                  <a:lnTo>
                    <a:pt x="5550" y="1956"/>
                  </a:lnTo>
                  <a:lnTo>
                    <a:pt x="5554" y="1670"/>
                  </a:lnTo>
                  <a:lnTo>
                    <a:pt x="5601" y="1626"/>
                  </a:lnTo>
                  <a:lnTo>
                    <a:pt x="5550" y="1514"/>
                  </a:lnTo>
                  <a:lnTo>
                    <a:pt x="5593" y="1466"/>
                  </a:lnTo>
                  <a:lnTo>
                    <a:pt x="5499" y="1340"/>
                  </a:lnTo>
                  <a:lnTo>
                    <a:pt x="5447" y="1344"/>
                  </a:lnTo>
                  <a:lnTo>
                    <a:pt x="5430" y="1136"/>
                  </a:lnTo>
                  <a:lnTo>
                    <a:pt x="5563" y="1101"/>
                  </a:lnTo>
                  <a:lnTo>
                    <a:pt x="5572" y="1040"/>
                  </a:lnTo>
                  <a:lnTo>
                    <a:pt x="5640" y="1023"/>
                  </a:lnTo>
                  <a:lnTo>
                    <a:pt x="5679" y="1058"/>
                  </a:lnTo>
                  <a:lnTo>
                    <a:pt x="5726" y="867"/>
                  </a:lnTo>
                  <a:lnTo>
                    <a:pt x="5808" y="729"/>
                  </a:lnTo>
                  <a:lnTo>
                    <a:pt x="5872" y="693"/>
                  </a:lnTo>
                  <a:lnTo>
                    <a:pt x="5928" y="698"/>
                  </a:lnTo>
                  <a:lnTo>
                    <a:pt x="5928" y="632"/>
                  </a:lnTo>
                  <a:lnTo>
                    <a:pt x="5838" y="615"/>
                  </a:lnTo>
                  <a:lnTo>
                    <a:pt x="5713" y="512"/>
                  </a:lnTo>
                  <a:lnTo>
                    <a:pt x="5774" y="442"/>
                  </a:lnTo>
                  <a:lnTo>
                    <a:pt x="5722" y="325"/>
                  </a:lnTo>
                  <a:lnTo>
                    <a:pt x="5765" y="281"/>
                  </a:lnTo>
                  <a:lnTo>
                    <a:pt x="5816" y="351"/>
                  </a:lnTo>
                  <a:lnTo>
                    <a:pt x="5945" y="399"/>
                  </a:lnTo>
                  <a:lnTo>
                    <a:pt x="6087" y="412"/>
                  </a:lnTo>
                  <a:lnTo>
                    <a:pt x="6105" y="351"/>
                  </a:lnTo>
                  <a:lnTo>
                    <a:pt x="6031" y="277"/>
                  </a:lnTo>
                  <a:lnTo>
                    <a:pt x="6114" y="164"/>
                  </a:lnTo>
                  <a:lnTo>
                    <a:pt x="5928" y="99"/>
                  </a:lnTo>
                  <a:lnTo>
                    <a:pt x="5881" y="195"/>
                  </a:lnTo>
                  <a:lnTo>
                    <a:pt x="5820" y="117"/>
                  </a:lnTo>
                  <a:lnTo>
                    <a:pt x="5480" y="0"/>
                  </a:lnTo>
                  <a:lnTo>
                    <a:pt x="5158" y="56"/>
                  </a:lnTo>
                  <a:lnTo>
                    <a:pt x="5111" y="82"/>
                  </a:lnTo>
                  <a:lnTo>
                    <a:pt x="5111" y="109"/>
                  </a:lnTo>
                  <a:lnTo>
                    <a:pt x="5180" y="143"/>
                  </a:lnTo>
                  <a:lnTo>
                    <a:pt x="5171" y="225"/>
                  </a:lnTo>
                  <a:lnTo>
                    <a:pt x="5046" y="174"/>
                  </a:lnTo>
                  <a:lnTo>
                    <a:pt x="4771" y="282"/>
                  </a:lnTo>
                  <a:lnTo>
                    <a:pt x="4723" y="182"/>
                  </a:lnTo>
                  <a:lnTo>
                    <a:pt x="4534" y="182"/>
                  </a:lnTo>
                  <a:lnTo>
                    <a:pt x="4448" y="273"/>
                  </a:lnTo>
                  <a:lnTo>
                    <a:pt x="4143" y="204"/>
                  </a:lnTo>
                  <a:lnTo>
                    <a:pt x="3863" y="260"/>
                  </a:lnTo>
                  <a:lnTo>
                    <a:pt x="3828" y="347"/>
                  </a:lnTo>
                  <a:lnTo>
                    <a:pt x="3872" y="360"/>
                  </a:lnTo>
                  <a:lnTo>
                    <a:pt x="3867" y="425"/>
                  </a:lnTo>
                  <a:lnTo>
                    <a:pt x="3596" y="455"/>
                  </a:lnTo>
                  <a:lnTo>
                    <a:pt x="3613" y="542"/>
                  </a:lnTo>
                  <a:lnTo>
                    <a:pt x="3363" y="498"/>
                  </a:lnTo>
                  <a:lnTo>
                    <a:pt x="3424" y="386"/>
                  </a:lnTo>
                  <a:lnTo>
                    <a:pt x="3169" y="372"/>
                  </a:lnTo>
                  <a:lnTo>
                    <a:pt x="3192" y="490"/>
                  </a:lnTo>
                  <a:lnTo>
                    <a:pt x="3109" y="529"/>
                  </a:lnTo>
                  <a:lnTo>
                    <a:pt x="3040" y="464"/>
                  </a:lnTo>
                  <a:lnTo>
                    <a:pt x="2761" y="512"/>
                  </a:lnTo>
                  <a:lnTo>
                    <a:pt x="2654" y="611"/>
                  </a:lnTo>
                  <a:lnTo>
                    <a:pt x="2650" y="672"/>
                  </a:lnTo>
                  <a:lnTo>
                    <a:pt x="2581" y="676"/>
                  </a:lnTo>
                  <a:lnTo>
                    <a:pt x="2572" y="607"/>
                  </a:lnTo>
                  <a:lnTo>
                    <a:pt x="2792" y="416"/>
                  </a:lnTo>
                  <a:lnTo>
                    <a:pt x="2792" y="286"/>
                  </a:lnTo>
                  <a:lnTo>
                    <a:pt x="2650" y="247"/>
                  </a:lnTo>
                  <a:lnTo>
                    <a:pt x="2464" y="308"/>
                  </a:lnTo>
                  <a:lnTo>
                    <a:pt x="2387" y="229"/>
                  </a:lnTo>
                  <a:lnTo>
                    <a:pt x="2352" y="229"/>
                  </a:lnTo>
                  <a:lnTo>
                    <a:pt x="2310" y="316"/>
                  </a:lnTo>
                  <a:lnTo>
                    <a:pt x="2344" y="355"/>
                  </a:lnTo>
                  <a:lnTo>
                    <a:pt x="2099" y="489"/>
                  </a:lnTo>
                  <a:lnTo>
                    <a:pt x="1887" y="650"/>
                  </a:lnTo>
                  <a:lnTo>
                    <a:pt x="1759" y="828"/>
                  </a:lnTo>
                  <a:lnTo>
                    <a:pt x="1759" y="901"/>
                  </a:lnTo>
                  <a:lnTo>
                    <a:pt x="1897" y="958"/>
                  </a:lnTo>
                  <a:lnTo>
                    <a:pt x="1828" y="1010"/>
                  </a:lnTo>
                  <a:lnTo>
                    <a:pt x="1681" y="958"/>
                  </a:lnTo>
                  <a:lnTo>
                    <a:pt x="1621" y="1010"/>
                  </a:lnTo>
                  <a:lnTo>
                    <a:pt x="1530" y="905"/>
                  </a:lnTo>
                  <a:lnTo>
                    <a:pt x="1513" y="945"/>
                  </a:lnTo>
                  <a:lnTo>
                    <a:pt x="1612" y="1257"/>
                  </a:lnTo>
                  <a:lnTo>
                    <a:pt x="1638" y="1266"/>
                  </a:lnTo>
                  <a:lnTo>
                    <a:pt x="1707" y="1231"/>
                  </a:lnTo>
                  <a:lnTo>
                    <a:pt x="1741" y="1257"/>
                  </a:lnTo>
                  <a:lnTo>
                    <a:pt x="1741" y="1314"/>
                  </a:lnTo>
                  <a:lnTo>
                    <a:pt x="1676" y="1287"/>
                  </a:lnTo>
                  <a:lnTo>
                    <a:pt x="1638" y="1318"/>
                  </a:lnTo>
                  <a:lnTo>
                    <a:pt x="1664" y="1374"/>
                  </a:lnTo>
                  <a:lnTo>
                    <a:pt x="1643" y="1522"/>
                  </a:lnTo>
                  <a:lnTo>
                    <a:pt x="1509" y="1535"/>
                  </a:lnTo>
                  <a:lnTo>
                    <a:pt x="1501" y="1487"/>
                  </a:lnTo>
                  <a:lnTo>
                    <a:pt x="1578" y="1439"/>
                  </a:lnTo>
                  <a:lnTo>
                    <a:pt x="1595" y="1308"/>
                  </a:lnTo>
                  <a:lnTo>
                    <a:pt x="1509" y="1196"/>
                  </a:lnTo>
                  <a:lnTo>
                    <a:pt x="1478" y="1001"/>
                  </a:lnTo>
                  <a:lnTo>
                    <a:pt x="1341" y="980"/>
                  </a:lnTo>
                  <a:lnTo>
                    <a:pt x="1328" y="1049"/>
                  </a:lnTo>
                  <a:lnTo>
                    <a:pt x="1355" y="1083"/>
                  </a:lnTo>
                  <a:lnTo>
                    <a:pt x="1298" y="1131"/>
                  </a:lnTo>
                  <a:lnTo>
                    <a:pt x="1320" y="1262"/>
                  </a:lnTo>
                  <a:lnTo>
                    <a:pt x="1401" y="1296"/>
                  </a:lnTo>
                  <a:lnTo>
                    <a:pt x="1419" y="1392"/>
                  </a:lnTo>
                  <a:lnTo>
                    <a:pt x="1337" y="1340"/>
                  </a:lnTo>
                  <a:lnTo>
                    <a:pt x="1126" y="1300"/>
                  </a:lnTo>
                  <a:lnTo>
                    <a:pt x="1100" y="1369"/>
                  </a:lnTo>
                  <a:lnTo>
                    <a:pt x="932" y="1430"/>
                  </a:lnTo>
                  <a:lnTo>
                    <a:pt x="907" y="1388"/>
                  </a:lnTo>
                  <a:lnTo>
                    <a:pt x="687" y="1508"/>
                  </a:lnTo>
                  <a:lnTo>
                    <a:pt x="683" y="1591"/>
                  </a:lnTo>
                  <a:lnTo>
                    <a:pt x="596" y="1604"/>
                  </a:lnTo>
                  <a:lnTo>
                    <a:pt x="623" y="1543"/>
                  </a:lnTo>
                  <a:lnTo>
                    <a:pt x="623" y="1483"/>
                  </a:lnTo>
                  <a:lnTo>
                    <a:pt x="537" y="1453"/>
                  </a:lnTo>
                  <a:lnTo>
                    <a:pt x="481" y="1474"/>
                  </a:lnTo>
                  <a:lnTo>
                    <a:pt x="527" y="1565"/>
                  </a:lnTo>
                  <a:lnTo>
                    <a:pt x="562" y="1626"/>
                  </a:lnTo>
                  <a:lnTo>
                    <a:pt x="562" y="1674"/>
                  </a:lnTo>
                  <a:lnTo>
                    <a:pt x="497" y="1661"/>
                  </a:lnTo>
                  <a:lnTo>
                    <a:pt x="485" y="1647"/>
                  </a:lnTo>
                  <a:lnTo>
                    <a:pt x="420" y="1717"/>
                  </a:lnTo>
                  <a:lnTo>
                    <a:pt x="454" y="1777"/>
                  </a:lnTo>
                  <a:lnTo>
                    <a:pt x="308" y="1773"/>
                  </a:lnTo>
                  <a:lnTo>
                    <a:pt x="356" y="1834"/>
                  </a:lnTo>
                  <a:lnTo>
                    <a:pt x="343" y="1861"/>
                  </a:lnTo>
                  <a:lnTo>
                    <a:pt x="266" y="1861"/>
                  </a:lnTo>
                  <a:lnTo>
                    <a:pt x="209" y="1821"/>
                  </a:lnTo>
                  <a:lnTo>
                    <a:pt x="197" y="1712"/>
                  </a:lnTo>
                  <a:lnTo>
                    <a:pt x="106" y="1678"/>
                  </a:lnTo>
                  <a:lnTo>
                    <a:pt x="106" y="1634"/>
                  </a:lnTo>
                  <a:lnTo>
                    <a:pt x="295" y="1674"/>
                  </a:lnTo>
                  <a:lnTo>
                    <a:pt x="399" y="1682"/>
                  </a:lnTo>
                  <a:lnTo>
                    <a:pt x="441" y="1617"/>
                  </a:lnTo>
                  <a:lnTo>
                    <a:pt x="403" y="1548"/>
                  </a:lnTo>
                  <a:lnTo>
                    <a:pt x="128" y="1439"/>
                  </a:lnTo>
                  <a:lnTo>
                    <a:pt x="32" y="1463"/>
                  </a:lnTo>
                  <a:lnTo>
                    <a:pt x="0" y="1491"/>
                  </a:lnTo>
                  <a:lnTo>
                    <a:pt x="10" y="1555"/>
                  </a:lnTo>
                  <a:lnTo>
                    <a:pt x="50" y="1562"/>
                  </a:lnTo>
                  <a:lnTo>
                    <a:pt x="41" y="1664"/>
                  </a:lnTo>
                  <a:lnTo>
                    <a:pt x="166" y="1956"/>
                  </a:lnTo>
                  <a:lnTo>
                    <a:pt x="76" y="2099"/>
                  </a:lnTo>
                  <a:lnTo>
                    <a:pt x="70" y="2132"/>
                  </a:lnTo>
                  <a:lnTo>
                    <a:pt x="115" y="2163"/>
                  </a:lnTo>
                  <a:lnTo>
                    <a:pt x="74" y="2191"/>
                  </a:lnTo>
                  <a:lnTo>
                    <a:pt x="46" y="2192"/>
                  </a:lnTo>
                  <a:lnTo>
                    <a:pt x="51" y="2317"/>
                  </a:lnTo>
                  <a:lnTo>
                    <a:pt x="90" y="2370"/>
                  </a:lnTo>
                  <a:lnTo>
                    <a:pt x="90" y="2423"/>
                  </a:lnTo>
                  <a:lnTo>
                    <a:pt x="139" y="2427"/>
                  </a:lnTo>
                  <a:lnTo>
                    <a:pt x="213" y="2456"/>
                  </a:lnTo>
                  <a:lnTo>
                    <a:pt x="291" y="2563"/>
                  </a:lnTo>
                  <a:lnTo>
                    <a:pt x="292" y="2592"/>
                  </a:lnTo>
                  <a:lnTo>
                    <a:pt x="267" y="2635"/>
                  </a:lnTo>
                  <a:lnTo>
                    <a:pt x="325" y="2632"/>
                  </a:lnTo>
                  <a:lnTo>
                    <a:pt x="382" y="2648"/>
                  </a:lnTo>
                  <a:lnTo>
                    <a:pt x="459" y="2758"/>
                  </a:lnTo>
                  <a:lnTo>
                    <a:pt x="649" y="2775"/>
                  </a:lnTo>
                  <a:lnTo>
                    <a:pt x="640" y="2905"/>
                  </a:lnTo>
                  <a:lnTo>
                    <a:pt x="575" y="2961"/>
                  </a:lnTo>
                  <a:lnTo>
                    <a:pt x="588" y="2983"/>
                  </a:lnTo>
                  <a:lnTo>
                    <a:pt x="524" y="3052"/>
                  </a:lnTo>
                  <a:lnTo>
                    <a:pt x="507" y="3117"/>
                  </a:lnTo>
                  <a:lnTo>
                    <a:pt x="546" y="3173"/>
                  </a:lnTo>
                  <a:lnTo>
                    <a:pt x="671" y="3217"/>
                  </a:lnTo>
                  <a:lnTo>
                    <a:pt x="722" y="3186"/>
                  </a:lnTo>
                  <a:lnTo>
                    <a:pt x="1053" y="3312"/>
                  </a:lnTo>
                  <a:lnTo>
                    <a:pt x="1066" y="3278"/>
                  </a:lnTo>
                  <a:lnTo>
                    <a:pt x="997" y="3213"/>
                  </a:lnTo>
                  <a:lnTo>
                    <a:pt x="997" y="3131"/>
                  </a:lnTo>
                  <a:lnTo>
                    <a:pt x="955" y="3117"/>
                  </a:lnTo>
                  <a:lnTo>
                    <a:pt x="963" y="3047"/>
                  </a:lnTo>
                  <a:lnTo>
                    <a:pt x="1032" y="2965"/>
                  </a:lnTo>
                  <a:lnTo>
                    <a:pt x="909" y="2873"/>
                  </a:lnTo>
                  <a:lnTo>
                    <a:pt x="917" y="2744"/>
                  </a:lnTo>
                  <a:lnTo>
                    <a:pt x="1049" y="2658"/>
                  </a:lnTo>
                  <a:lnTo>
                    <a:pt x="1204" y="2667"/>
                  </a:lnTo>
                  <a:lnTo>
                    <a:pt x="1230" y="2714"/>
                  </a:lnTo>
                  <a:lnTo>
                    <a:pt x="1389" y="2723"/>
                  </a:lnTo>
                  <a:lnTo>
                    <a:pt x="1506" y="2658"/>
                  </a:lnTo>
                  <a:lnTo>
                    <a:pt x="1445" y="2593"/>
                  </a:lnTo>
                  <a:lnTo>
                    <a:pt x="1458" y="2471"/>
                  </a:lnTo>
                  <a:lnTo>
                    <a:pt x="1760" y="2324"/>
                  </a:lnTo>
                  <a:lnTo>
                    <a:pt x="1991" y="2428"/>
                  </a:lnTo>
                  <a:lnTo>
                    <a:pt x="2068" y="2359"/>
                  </a:lnTo>
                  <a:lnTo>
                    <a:pt x="2296" y="2575"/>
                  </a:lnTo>
                  <a:lnTo>
                    <a:pt x="2469" y="2558"/>
                  </a:lnTo>
                  <a:lnTo>
                    <a:pt x="2529" y="2619"/>
                  </a:lnTo>
                  <a:lnTo>
                    <a:pt x="2692" y="2636"/>
                  </a:lnTo>
                  <a:lnTo>
                    <a:pt x="2800" y="2489"/>
                  </a:lnTo>
                  <a:lnTo>
                    <a:pt x="2938" y="2550"/>
                  </a:lnTo>
                  <a:lnTo>
                    <a:pt x="3011" y="2562"/>
                  </a:lnTo>
                  <a:lnTo>
                    <a:pt x="3084" y="2497"/>
                  </a:lnTo>
                  <a:lnTo>
                    <a:pt x="3019" y="2455"/>
                  </a:lnTo>
                  <a:lnTo>
                    <a:pt x="3076" y="2367"/>
                  </a:lnTo>
                  <a:lnTo>
                    <a:pt x="3234" y="2420"/>
                  </a:lnTo>
                  <a:lnTo>
                    <a:pt x="3269" y="2489"/>
                  </a:lnTo>
                  <a:lnTo>
                    <a:pt x="3338" y="2493"/>
                  </a:lnTo>
                  <a:lnTo>
                    <a:pt x="3381" y="2463"/>
                  </a:lnTo>
                  <a:lnTo>
                    <a:pt x="3497" y="2459"/>
                  </a:lnTo>
                  <a:lnTo>
                    <a:pt x="3510" y="2489"/>
                  </a:lnTo>
                  <a:lnTo>
                    <a:pt x="3643" y="2498"/>
                  </a:lnTo>
                  <a:lnTo>
                    <a:pt x="3734" y="2403"/>
                  </a:lnTo>
                  <a:lnTo>
                    <a:pt x="3919" y="2424"/>
                  </a:lnTo>
                  <a:lnTo>
                    <a:pt x="3975" y="2403"/>
                  </a:lnTo>
                  <a:lnTo>
                    <a:pt x="3992" y="2298"/>
                  </a:lnTo>
                  <a:lnTo>
                    <a:pt x="3937" y="2172"/>
                  </a:lnTo>
                  <a:lnTo>
                    <a:pt x="3992" y="2125"/>
                  </a:lnTo>
                  <a:lnTo>
                    <a:pt x="4169" y="2125"/>
                  </a:lnTo>
                  <a:lnTo>
                    <a:pt x="4337" y="2325"/>
                  </a:lnTo>
                  <a:lnTo>
                    <a:pt x="4552" y="2445"/>
                  </a:lnTo>
                  <a:lnTo>
                    <a:pt x="4616" y="2445"/>
                  </a:lnTo>
                  <a:lnTo>
                    <a:pt x="4625" y="2394"/>
                  </a:lnTo>
                  <a:lnTo>
                    <a:pt x="4702" y="2346"/>
                  </a:lnTo>
                  <a:lnTo>
                    <a:pt x="4711" y="2628"/>
                  </a:lnTo>
                  <a:lnTo>
                    <a:pt x="4642" y="2632"/>
                  </a:lnTo>
                  <a:lnTo>
                    <a:pt x="4642" y="2701"/>
                  </a:lnTo>
                  <a:lnTo>
                    <a:pt x="4681" y="2749"/>
                  </a:lnTo>
                  <a:lnTo>
                    <a:pt x="4673" y="2811"/>
                  </a:lnTo>
                  <a:lnTo>
                    <a:pt x="4702" y="2823"/>
                  </a:lnTo>
                  <a:lnTo>
                    <a:pt x="4719" y="2779"/>
                  </a:lnTo>
                  <a:lnTo>
                    <a:pt x="4745" y="2789"/>
                  </a:lnTo>
                  <a:lnTo>
                    <a:pt x="4762" y="2806"/>
                  </a:lnTo>
                  <a:lnTo>
                    <a:pt x="4840" y="2789"/>
                  </a:lnTo>
                  <a:lnTo>
                    <a:pt x="4917" y="2563"/>
                  </a:lnTo>
                  <a:lnTo>
                    <a:pt x="4925" y="2281"/>
                  </a:lnTo>
                  <a:lnTo>
                    <a:pt x="4827" y="2056"/>
                  </a:lnTo>
                  <a:lnTo>
                    <a:pt x="4702" y="1903"/>
                  </a:lnTo>
                  <a:lnTo>
                    <a:pt x="4641" y="1912"/>
                  </a:lnTo>
                  <a:lnTo>
                    <a:pt x="4641" y="1960"/>
                  </a:lnTo>
                  <a:lnTo>
                    <a:pt x="4495" y="1903"/>
                  </a:lnTo>
                  <a:lnTo>
                    <a:pt x="4551" y="1783"/>
                  </a:lnTo>
                  <a:lnTo>
                    <a:pt x="4598" y="1462"/>
                  </a:lnTo>
                  <a:lnTo>
                    <a:pt x="4796" y="1401"/>
                  </a:lnTo>
                  <a:lnTo>
                    <a:pt x="4891" y="1340"/>
                  </a:lnTo>
                  <a:lnTo>
                    <a:pt x="4994" y="1340"/>
                  </a:lnTo>
                  <a:lnTo>
                    <a:pt x="4969" y="1374"/>
                  </a:lnTo>
                  <a:lnTo>
                    <a:pt x="4994" y="1418"/>
                  </a:lnTo>
                  <a:lnTo>
                    <a:pt x="5085" y="1323"/>
                  </a:lnTo>
                  <a:lnTo>
                    <a:pt x="5136" y="1327"/>
                  </a:lnTo>
                  <a:lnTo>
                    <a:pt x="5128" y="1271"/>
                  </a:lnTo>
                  <a:lnTo>
                    <a:pt x="5046" y="1254"/>
                  </a:lnTo>
                  <a:lnTo>
                    <a:pt x="5102" y="1050"/>
                  </a:lnTo>
                  <a:lnTo>
                    <a:pt x="5176" y="98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95" name="Freeform 260">
              <a:extLst>
                <a:ext uri="{FF2B5EF4-FFF2-40B4-BE49-F238E27FC236}">
                  <a16:creationId xmlns:a16="http://schemas.microsoft.com/office/drawing/2014/main" id="{C93A7A47-EEDF-4B91-B36A-02386C0CB29C}"/>
                </a:ext>
              </a:extLst>
            </p:cNvPr>
            <p:cNvSpPr>
              <a:spLocks/>
            </p:cNvSpPr>
            <p:nvPr/>
          </p:nvSpPr>
          <p:spPr bwMode="auto">
            <a:xfrm>
              <a:off x="7636669" y="2272506"/>
              <a:ext cx="1311275" cy="1150938"/>
            </a:xfrm>
            <a:custGeom>
              <a:avLst/>
              <a:gdLst>
                <a:gd name="T0" fmla="*/ 375 w 2478"/>
                <a:gd name="T1" fmla="*/ 653 h 2174"/>
                <a:gd name="T2" fmla="*/ 206 w 2478"/>
                <a:gd name="T3" fmla="*/ 836 h 2174"/>
                <a:gd name="T4" fmla="*/ 129 w 2478"/>
                <a:gd name="T5" fmla="*/ 1138 h 2174"/>
                <a:gd name="T6" fmla="*/ 0 w 2478"/>
                <a:gd name="T7" fmla="*/ 1191 h 2174"/>
                <a:gd name="T8" fmla="*/ 73 w 2478"/>
                <a:gd name="T9" fmla="*/ 1233 h 2174"/>
                <a:gd name="T10" fmla="*/ 164 w 2478"/>
                <a:gd name="T11" fmla="*/ 1315 h 2174"/>
                <a:gd name="T12" fmla="*/ 348 w 2478"/>
                <a:gd name="T13" fmla="*/ 1676 h 2174"/>
                <a:gd name="T14" fmla="*/ 538 w 2478"/>
                <a:gd name="T15" fmla="*/ 1715 h 2174"/>
                <a:gd name="T16" fmla="*/ 813 w 2478"/>
                <a:gd name="T17" fmla="*/ 1832 h 2174"/>
                <a:gd name="T18" fmla="*/ 969 w 2478"/>
                <a:gd name="T19" fmla="*/ 1815 h 2174"/>
                <a:gd name="T20" fmla="*/ 1197 w 2478"/>
                <a:gd name="T21" fmla="*/ 1710 h 2174"/>
                <a:gd name="T22" fmla="*/ 1266 w 2478"/>
                <a:gd name="T23" fmla="*/ 1775 h 2174"/>
                <a:gd name="T24" fmla="*/ 1287 w 2478"/>
                <a:gd name="T25" fmla="*/ 1966 h 2174"/>
                <a:gd name="T26" fmla="*/ 1386 w 2478"/>
                <a:gd name="T27" fmla="*/ 2058 h 2174"/>
                <a:gd name="T28" fmla="*/ 1485 w 2478"/>
                <a:gd name="T29" fmla="*/ 2145 h 2174"/>
                <a:gd name="T30" fmla="*/ 1623 w 2478"/>
                <a:gd name="T31" fmla="*/ 2040 h 2174"/>
                <a:gd name="T32" fmla="*/ 1791 w 2478"/>
                <a:gd name="T33" fmla="*/ 2144 h 2174"/>
                <a:gd name="T34" fmla="*/ 1889 w 2478"/>
                <a:gd name="T35" fmla="*/ 2122 h 2174"/>
                <a:gd name="T36" fmla="*/ 1937 w 2478"/>
                <a:gd name="T37" fmla="*/ 2174 h 2174"/>
                <a:gd name="T38" fmla="*/ 2152 w 2478"/>
                <a:gd name="T39" fmla="*/ 2048 h 2174"/>
                <a:gd name="T40" fmla="*/ 2359 w 2478"/>
                <a:gd name="T41" fmla="*/ 1684 h 2174"/>
                <a:gd name="T42" fmla="*/ 2290 w 2478"/>
                <a:gd name="T43" fmla="*/ 1554 h 2174"/>
                <a:gd name="T44" fmla="*/ 2320 w 2478"/>
                <a:gd name="T45" fmla="*/ 1441 h 2174"/>
                <a:gd name="T46" fmla="*/ 2156 w 2478"/>
                <a:gd name="T47" fmla="*/ 1195 h 2174"/>
                <a:gd name="T48" fmla="*/ 2251 w 2478"/>
                <a:gd name="T49" fmla="*/ 1112 h 2174"/>
                <a:gd name="T50" fmla="*/ 2135 w 2478"/>
                <a:gd name="T51" fmla="*/ 1065 h 2174"/>
                <a:gd name="T52" fmla="*/ 2058 w 2478"/>
                <a:gd name="T53" fmla="*/ 1116 h 2174"/>
                <a:gd name="T54" fmla="*/ 2031 w 2478"/>
                <a:gd name="T55" fmla="*/ 930 h 2174"/>
                <a:gd name="T56" fmla="*/ 2148 w 2478"/>
                <a:gd name="T57" fmla="*/ 869 h 2174"/>
                <a:gd name="T58" fmla="*/ 2169 w 2478"/>
                <a:gd name="T59" fmla="*/ 995 h 2174"/>
                <a:gd name="T60" fmla="*/ 2268 w 2478"/>
                <a:gd name="T61" fmla="*/ 917 h 2174"/>
                <a:gd name="T62" fmla="*/ 2329 w 2478"/>
                <a:gd name="T63" fmla="*/ 778 h 2174"/>
                <a:gd name="T64" fmla="*/ 2411 w 2478"/>
                <a:gd name="T65" fmla="*/ 687 h 2174"/>
                <a:gd name="T66" fmla="*/ 2449 w 2478"/>
                <a:gd name="T67" fmla="*/ 609 h 2174"/>
                <a:gd name="T68" fmla="*/ 2412 w 2478"/>
                <a:gd name="T69" fmla="*/ 479 h 2174"/>
                <a:gd name="T70" fmla="*/ 2474 w 2478"/>
                <a:gd name="T71" fmla="*/ 233 h 2174"/>
                <a:gd name="T72" fmla="*/ 2410 w 2478"/>
                <a:gd name="T73" fmla="*/ 323 h 2174"/>
                <a:gd name="T74" fmla="*/ 2109 w 2478"/>
                <a:gd name="T75" fmla="*/ 197 h 2174"/>
                <a:gd name="T76" fmla="*/ 1784 w 2478"/>
                <a:gd name="T77" fmla="*/ 0 h 2174"/>
                <a:gd name="T78" fmla="*/ 1795 w 2478"/>
                <a:gd name="T79" fmla="*/ 158 h 2174"/>
                <a:gd name="T80" fmla="*/ 1710 w 2478"/>
                <a:gd name="T81" fmla="*/ 299 h 2174"/>
                <a:gd name="T82" fmla="*/ 1670 w 2478"/>
                <a:gd name="T83" fmla="*/ 409 h 2174"/>
                <a:gd name="T84" fmla="*/ 1777 w 2478"/>
                <a:gd name="T85" fmla="*/ 388 h 2174"/>
                <a:gd name="T86" fmla="*/ 1868 w 2478"/>
                <a:gd name="T87" fmla="*/ 474 h 2174"/>
                <a:gd name="T88" fmla="*/ 1752 w 2478"/>
                <a:gd name="T89" fmla="*/ 592 h 2174"/>
                <a:gd name="T90" fmla="*/ 1537 w 2478"/>
                <a:gd name="T91" fmla="*/ 817 h 2174"/>
                <a:gd name="T92" fmla="*/ 1240 w 2478"/>
                <a:gd name="T93" fmla="*/ 903 h 2174"/>
                <a:gd name="T94" fmla="*/ 1042 w 2478"/>
                <a:gd name="T95" fmla="*/ 908 h 2174"/>
                <a:gd name="T96" fmla="*/ 886 w 2478"/>
                <a:gd name="T97" fmla="*/ 787 h 2174"/>
                <a:gd name="T98" fmla="*/ 565 w 2478"/>
                <a:gd name="T99" fmla="*/ 592 h 2174"/>
                <a:gd name="T100" fmla="*/ 479 w 2478"/>
                <a:gd name="T101" fmla="*/ 507 h 2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78" h="2174">
                  <a:moveTo>
                    <a:pt x="434" y="503"/>
                  </a:moveTo>
                  <a:lnTo>
                    <a:pt x="375" y="653"/>
                  </a:lnTo>
                  <a:lnTo>
                    <a:pt x="293" y="649"/>
                  </a:lnTo>
                  <a:lnTo>
                    <a:pt x="206" y="836"/>
                  </a:lnTo>
                  <a:lnTo>
                    <a:pt x="279" y="930"/>
                  </a:lnTo>
                  <a:lnTo>
                    <a:pt x="129" y="1138"/>
                  </a:lnTo>
                  <a:lnTo>
                    <a:pt x="52" y="1125"/>
                  </a:lnTo>
                  <a:lnTo>
                    <a:pt x="0" y="1191"/>
                  </a:lnTo>
                  <a:lnTo>
                    <a:pt x="12" y="1229"/>
                  </a:lnTo>
                  <a:lnTo>
                    <a:pt x="73" y="1233"/>
                  </a:lnTo>
                  <a:lnTo>
                    <a:pt x="103" y="1303"/>
                  </a:lnTo>
                  <a:lnTo>
                    <a:pt x="164" y="1315"/>
                  </a:lnTo>
                  <a:lnTo>
                    <a:pt x="348" y="1554"/>
                  </a:lnTo>
                  <a:lnTo>
                    <a:pt x="348" y="1676"/>
                  </a:lnTo>
                  <a:lnTo>
                    <a:pt x="439" y="1733"/>
                  </a:lnTo>
                  <a:lnTo>
                    <a:pt x="538" y="1715"/>
                  </a:lnTo>
                  <a:lnTo>
                    <a:pt x="663" y="1789"/>
                  </a:lnTo>
                  <a:lnTo>
                    <a:pt x="813" y="1832"/>
                  </a:lnTo>
                  <a:lnTo>
                    <a:pt x="886" y="1823"/>
                  </a:lnTo>
                  <a:lnTo>
                    <a:pt x="969" y="1815"/>
                  </a:lnTo>
                  <a:lnTo>
                    <a:pt x="1141" y="1702"/>
                  </a:lnTo>
                  <a:lnTo>
                    <a:pt x="1197" y="1710"/>
                  </a:lnTo>
                  <a:lnTo>
                    <a:pt x="1218" y="1761"/>
                  </a:lnTo>
                  <a:lnTo>
                    <a:pt x="1266" y="1775"/>
                  </a:lnTo>
                  <a:lnTo>
                    <a:pt x="1330" y="1871"/>
                  </a:lnTo>
                  <a:lnTo>
                    <a:pt x="1287" y="1966"/>
                  </a:lnTo>
                  <a:lnTo>
                    <a:pt x="1313" y="2031"/>
                  </a:lnTo>
                  <a:lnTo>
                    <a:pt x="1386" y="2058"/>
                  </a:lnTo>
                  <a:lnTo>
                    <a:pt x="1399" y="2136"/>
                  </a:lnTo>
                  <a:lnTo>
                    <a:pt x="1485" y="2145"/>
                  </a:lnTo>
                  <a:lnTo>
                    <a:pt x="1498" y="2105"/>
                  </a:lnTo>
                  <a:lnTo>
                    <a:pt x="1623" y="2040"/>
                  </a:lnTo>
                  <a:lnTo>
                    <a:pt x="1700" y="2044"/>
                  </a:lnTo>
                  <a:lnTo>
                    <a:pt x="1791" y="2144"/>
                  </a:lnTo>
                  <a:lnTo>
                    <a:pt x="1851" y="2118"/>
                  </a:lnTo>
                  <a:lnTo>
                    <a:pt x="1889" y="2122"/>
                  </a:lnTo>
                  <a:lnTo>
                    <a:pt x="1906" y="2170"/>
                  </a:lnTo>
                  <a:lnTo>
                    <a:pt x="1937" y="2174"/>
                  </a:lnTo>
                  <a:lnTo>
                    <a:pt x="1980" y="2113"/>
                  </a:lnTo>
                  <a:lnTo>
                    <a:pt x="2152" y="2048"/>
                  </a:lnTo>
                  <a:lnTo>
                    <a:pt x="2307" y="1863"/>
                  </a:lnTo>
                  <a:lnTo>
                    <a:pt x="2359" y="1684"/>
                  </a:lnTo>
                  <a:lnTo>
                    <a:pt x="2355" y="1567"/>
                  </a:lnTo>
                  <a:lnTo>
                    <a:pt x="2290" y="1554"/>
                  </a:lnTo>
                  <a:lnTo>
                    <a:pt x="2329" y="1511"/>
                  </a:lnTo>
                  <a:lnTo>
                    <a:pt x="2320" y="1441"/>
                  </a:lnTo>
                  <a:lnTo>
                    <a:pt x="2156" y="1277"/>
                  </a:lnTo>
                  <a:lnTo>
                    <a:pt x="2156" y="1195"/>
                  </a:lnTo>
                  <a:lnTo>
                    <a:pt x="2204" y="1134"/>
                  </a:lnTo>
                  <a:lnTo>
                    <a:pt x="2251" y="1112"/>
                  </a:lnTo>
                  <a:lnTo>
                    <a:pt x="2255" y="1065"/>
                  </a:lnTo>
                  <a:lnTo>
                    <a:pt x="2135" y="1065"/>
                  </a:lnTo>
                  <a:lnTo>
                    <a:pt x="2113" y="1130"/>
                  </a:lnTo>
                  <a:lnTo>
                    <a:pt x="2058" y="1116"/>
                  </a:lnTo>
                  <a:lnTo>
                    <a:pt x="1989" y="1042"/>
                  </a:lnTo>
                  <a:lnTo>
                    <a:pt x="2031" y="930"/>
                  </a:lnTo>
                  <a:lnTo>
                    <a:pt x="2092" y="865"/>
                  </a:lnTo>
                  <a:lnTo>
                    <a:pt x="2148" y="869"/>
                  </a:lnTo>
                  <a:lnTo>
                    <a:pt x="2139" y="969"/>
                  </a:lnTo>
                  <a:lnTo>
                    <a:pt x="2169" y="995"/>
                  </a:lnTo>
                  <a:lnTo>
                    <a:pt x="2242" y="922"/>
                  </a:lnTo>
                  <a:lnTo>
                    <a:pt x="2268" y="917"/>
                  </a:lnTo>
                  <a:lnTo>
                    <a:pt x="2260" y="861"/>
                  </a:lnTo>
                  <a:lnTo>
                    <a:pt x="2329" y="778"/>
                  </a:lnTo>
                  <a:lnTo>
                    <a:pt x="2380" y="783"/>
                  </a:lnTo>
                  <a:lnTo>
                    <a:pt x="2411" y="687"/>
                  </a:lnTo>
                  <a:lnTo>
                    <a:pt x="2445" y="669"/>
                  </a:lnTo>
                  <a:lnTo>
                    <a:pt x="2449" y="609"/>
                  </a:lnTo>
                  <a:lnTo>
                    <a:pt x="2415" y="573"/>
                  </a:lnTo>
                  <a:lnTo>
                    <a:pt x="2412" y="479"/>
                  </a:lnTo>
                  <a:lnTo>
                    <a:pt x="2478" y="475"/>
                  </a:lnTo>
                  <a:lnTo>
                    <a:pt x="2474" y="233"/>
                  </a:lnTo>
                  <a:lnTo>
                    <a:pt x="2427" y="261"/>
                  </a:lnTo>
                  <a:lnTo>
                    <a:pt x="2410" y="323"/>
                  </a:lnTo>
                  <a:lnTo>
                    <a:pt x="2333" y="323"/>
                  </a:lnTo>
                  <a:lnTo>
                    <a:pt x="2109" y="197"/>
                  </a:lnTo>
                  <a:lnTo>
                    <a:pt x="1947" y="2"/>
                  </a:lnTo>
                  <a:lnTo>
                    <a:pt x="1784" y="0"/>
                  </a:lnTo>
                  <a:lnTo>
                    <a:pt x="1742" y="36"/>
                  </a:lnTo>
                  <a:lnTo>
                    <a:pt x="1795" y="158"/>
                  </a:lnTo>
                  <a:lnTo>
                    <a:pt x="1776" y="272"/>
                  </a:lnTo>
                  <a:lnTo>
                    <a:pt x="1710" y="299"/>
                  </a:lnTo>
                  <a:lnTo>
                    <a:pt x="1673" y="296"/>
                  </a:lnTo>
                  <a:lnTo>
                    <a:pt x="1670" y="409"/>
                  </a:lnTo>
                  <a:lnTo>
                    <a:pt x="1708" y="418"/>
                  </a:lnTo>
                  <a:lnTo>
                    <a:pt x="1777" y="388"/>
                  </a:lnTo>
                  <a:lnTo>
                    <a:pt x="1868" y="431"/>
                  </a:lnTo>
                  <a:lnTo>
                    <a:pt x="1868" y="474"/>
                  </a:lnTo>
                  <a:lnTo>
                    <a:pt x="1804" y="479"/>
                  </a:lnTo>
                  <a:lnTo>
                    <a:pt x="1752" y="592"/>
                  </a:lnTo>
                  <a:lnTo>
                    <a:pt x="1704" y="596"/>
                  </a:lnTo>
                  <a:lnTo>
                    <a:pt x="1537" y="817"/>
                  </a:lnTo>
                  <a:lnTo>
                    <a:pt x="1360" y="895"/>
                  </a:lnTo>
                  <a:lnTo>
                    <a:pt x="1240" y="903"/>
                  </a:lnTo>
                  <a:lnTo>
                    <a:pt x="1158" y="847"/>
                  </a:lnTo>
                  <a:lnTo>
                    <a:pt x="1042" y="908"/>
                  </a:lnTo>
                  <a:lnTo>
                    <a:pt x="917" y="869"/>
                  </a:lnTo>
                  <a:lnTo>
                    <a:pt x="886" y="787"/>
                  </a:lnTo>
                  <a:lnTo>
                    <a:pt x="676" y="773"/>
                  </a:lnTo>
                  <a:lnTo>
                    <a:pt x="565" y="592"/>
                  </a:lnTo>
                  <a:lnTo>
                    <a:pt x="517" y="592"/>
                  </a:lnTo>
                  <a:lnTo>
                    <a:pt x="479" y="507"/>
                  </a:lnTo>
                  <a:lnTo>
                    <a:pt x="434" y="50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6" name="Freeform 261">
              <a:extLst>
                <a:ext uri="{FF2B5EF4-FFF2-40B4-BE49-F238E27FC236}">
                  <a16:creationId xmlns:a16="http://schemas.microsoft.com/office/drawing/2014/main" id="{698D4551-0175-40EE-9EDF-EEE444C45CDB}"/>
                </a:ext>
              </a:extLst>
            </p:cNvPr>
            <p:cNvSpPr>
              <a:spLocks/>
            </p:cNvSpPr>
            <p:nvPr/>
          </p:nvSpPr>
          <p:spPr bwMode="auto">
            <a:xfrm>
              <a:off x="7897019" y="2402681"/>
              <a:ext cx="719138" cy="342900"/>
            </a:xfrm>
            <a:custGeom>
              <a:avLst/>
              <a:gdLst>
                <a:gd name="T0" fmla="*/ 0 w 1359"/>
                <a:gd name="T1" fmla="*/ 259 h 646"/>
                <a:gd name="T2" fmla="*/ 100 w 1359"/>
                <a:gd name="T3" fmla="*/ 127 h 646"/>
                <a:gd name="T4" fmla="*/ 220 w 1359"/>
                <a:gd name="T5" fmla="*/ 182 h 646"/>
                <a:gd name="T6" fmla="*/ 301 w 1359"/>
                <a:gd name="T7" fmla="*/ 204 h 646"/>
                <a:gd name="T8" fmla="*/ 400 w 1359"/>
                <a:gd name="T9" fmla="*/ 112 h 646"/>
                <a:gd name="T10" fmla="*/ 332 w 1359"/>
                <a:gd name="T11" fmla="*/ 62 h 646"/>
                <a:gd name="T12" fmla="*/ 377 w 1359"/>
                <a:gd name="T13" fmla="*/ 0 h 646"/>
                <a:gd name="T14" fmla="*/ 510 w 1359"/>
                <a:gd name="T15" fmla="*/ 47 h 646"/>
                <a:gd name="T16" fmla="*/ 556 w 1359"/>
                <a:gd name="T17" fmla="*/ 122 h 646"/>
                <a:gd name="T18" fmla="*/ 639 w 1359"/>
                <a:gd name="T19" fmla="*/ 124 h 646"/>
                <a:gd name="T20" fmla="*/ 683 w 1359"/>
                <a:gd name="T21" fmla="*/ 92 h 646"/>
                <a:gd name="T22" fmla="*/ 773 w 1359"/>
                <a:gd name="T23" fmla="*/ 89 h 646"/>
                <a:gd name="T24" fmla="*/ 792 w 1359"/>
                <a:gd name="T25" fmla="*/ 121 h 646"/>
                <a:gd name="T26" fmla="*/ 940 w 1359"/>
                <a:gd name="T27" fmla="*/ 129 h 646"/>
                <a:gd name="T28" fmla="*/ 1035 w 1359"/>
                <a:gd name="T29" fmla="*/ 33 h 646"/>
                <a:gd name="T30" fmla="*/ 1166 w 1359"/>
                <a:gd name="T31" fmla="*/ 47 h 646"/>
                <a:gd name="T32" fmla="*/ 1158 w 1359"/>
                <a:gd name="T33" fmla="*/ 178 h 646"/>
                <a:gd name="T34" fmla="*/ 1214 w 1359"/>
                <a:gd name="T35" fmla="*/ 190 h 646"/>
                <a:gd name="T36" fmla="*/ 1284 w 1359"/>
                <a:gd name="T37" fmla="*/ 159 h 646"/>
                <a:gd name="T38" fmla="*/ 1359 w 1359"/>
                <a:gd name="T39" fmla="*/ 195 h 646"/>
                <a:gd name="T40" fmla="*/ 1358 w 1359"/>
                <a:gd name="T41" fmla="*/ 214 h 646"/>
                <a:gd name="T42" fmla="*/ 1304 w 1359"/>
                <a:gd name="T43" fmla="*/ 216 h 646"/>
                <a:gd name="T44" fmla="*/ 1248 w 1359"/>
                <a:gd name="T45" fmla="*/ 333 h 646"/>
                <a:gd name="T46" fmla="*/ 1204 w 1359"/>
                <a:gd name="T47" fmla="*/ 338 h 646"/>
                <a:gd name="T48" fmla="*/ 1035 w 1359"/>
                <a:gd name="T49" fmla="*/ 559 h 646"/>
                <a:gd name="T50" fmla="*/ 862 w 1359"/>
                <a:gd name="T51" fmla="*/ 635 h 646"/>
                <a:gd name="T52" fmla="*/ 754 w 1359"/>
                <a:gd name="T53" fmla="*/ 643 h 646"/>
                <a:gd name="T54" fmla="*/ 664 w 1359"/>
                <a:gd name="T55" fmla="*/ 585 h 646"/>
                <a:gd name="T56" fmla="*/ 550 w 1359"/>
                <a:gd name="T57" fmla="*/ 646 h 646"/>
                <a:gd name="T58" fmla="*/ 437 w 1359"/>
                <a:gd name="T59" fmla="*/ 612 h 646"/>
                <a:gd name="T60" fmla="*/ 404 w 1359"/>
                <a:gd name="T61" fmla="*/ 529 h 646"/>
                <a:gd name="T62" fmla="*/ 190 w 1359"/>
                <a:gd name="T63" fmla="*/ 514 h 646"/>
                <a:gd name="T64" fmla="*/ 81 w 1359"/>
                <a:gd name="T65" fmla="*/ 328 h 646"/>
                <a:gd name="T66" fmla="*/ 28 w 1359"/>
                <a:gd name="T67" fmla="*/ 325 h 646"/>
                <a:gd name="T68" fmla="*/ 0 w 1359"/>
                <a:gd name="T69" fmla="*/ 25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9" h="646">
                  <a:moveTo>
                    <a:pt x="0" y="259"/>
                  </a:moveTo>
                  <a:lnTo>
                    <a:pt x="100" y="127"/>
                  </a:lnTo>
                  <a:lnTo>
                    <a:pt x="220" y="182"/>
                  </a:lnTo>
                  <a:lnTo>
                    <a:pt x="301" y="204"/>
                  </a:lnTo>
                  <a:lnTo>
                    <a:pt x="400" y="112"/>
                  </a:lnTo>
                  <a:lnTo>
                    <a:pt x="332" y="62"/>
                  </a:lnTo>
                  <a:lnTo>
                    <a:pt x="377" y="0"/>
                  </a:lnTo>
                  <a:lnTo>
                    <a:pt x="510" y="47"/>
                  </a:lnTo>
                  <a:lnTo>
                    <a:pt x="556" y="122"/>
                  </a:lnTo>
                  <a:lnTo>
                    <a:pt x="639" y="124"/>
                  </a:lnTo>
                  <a:lnTo>
                    <a:pt x="683" y="92"/>
                  </a:lnTo>
                  <a:lnTo>
                    <a:pt x="773" y="89"/>
                  </a:lnTo>
                  <a:lnTo>
                    <a:pt x="792" y="121"/>
                  </a:lnTo>
                  <a:lnTo>
                    <a:pt x="940" y="129"/>
                  </a:lnTo>
                  <a:lnTo>
                    <a:pt x="1035" y="33"/>
                  </a:lnTo>
                  <a:lnTo>
                    <a:pt x="1166" y="47"/>
                  </a:lnTo>
                  <a:lnTo>
                    <a:pt x="1158" y="178"/>
                  </a:lnTo>
                  <a:lnTo>
                    <a:pt x="1214" y="190"/>
                  </a:lnTo>
                  <a:lnTo>
                    <a:pt x="1284" y="159"/>
                  </a:lnTo>
                  <a:lnTo>
                    <a:pt x="1359" y="195"/>
                  </a:lnTo>
                  <a:lnTo>
                    <a:pt x="1358" y="214"/>
                  </a:lnTo>
                  <a:lnTo>
                    <a:pt x="1304" y="216"/>
                  </a:lnTo>
                  <a:lnTo>
                    <a:pt x="1248" y="333"/>
                  </a:lnTo>
                  <a:lnTo>
                    <a:pt x="1204" y="338"/>
                  </a:lnTo>
                  <a:lnTo>
                    <a:pt x="1035" y="559"/>
                  </a:lnTo>
                  <a:lnTo>
                    <a:pt x="862" y="635"/>
                  </a:lnTo>
                  <a:lnTo>
                    <a:pt x="754" y="643"/>
                  </a:lnTo>
                  <a:lnTo>
                    <a:pt x="664" y="585"/>
                  </a:lnTo>
                  <a:lnTo>
                    <a:pt x="550" y="646"/>
                  </a:lnTo>
                  <a:lnTo>
                    <a:pt x="437" y="612"/>
                  </a:lnTo>
                  <a:lnTo>
                    <a:pt x="404" y="529"/>
                  </a:lnTo>
                  <a:lnTo>
                    <a:pt x="190" y="514"/>
                  </a:lnTo>
                  <a:lnTo>
                    <a:pt x="81" y="328"/>
                  </a:lnTo>
                  <a:lnTo>
                    <a:pt x="28" y="325"/>
                  </a:lnTo>
                  <a:lnTo>
                    <a:pt x="0" y="25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7" name="Freeform 262">
              <a:extLst>
                <a:ext uri="{FF2B5EF4-FFF2-40B4-BE49-F238E27FC236}">
                  <a16:creationId xmlns:a16="http://schemas.microsoft.com/office/drawing/2014/main" id="{699BB81B-B39B-4B3F-8F8C-7A1E6514815A}"/>
                </a:ext>
              </a:extLst>
            </p:cNvPr>
            <p:cNvSpPr>
              <a:spLocks/>
            </p:cNvSpPr>
            <p:nvPr/>
          </p:nvSpPr>
          <p:spPr bwMode="auto">
            <a:xfrm>
              <a:off x="8839994" y="2634456"/>
              <a:ext cx="107950" cy="192088"/>
            </a:xfrm>
            <a:custGeom>
              <a:avLst/>
              <a:gdLst>
                <a:gd name="T0" fmla="*/ 7 w 206"/>
                <a:gd name="T1" fmla="*/ 235 h 362"/>
                <a:gd name="T2" fmla="*/ 38 w 206"/>
                <a:gd name="T3" fmla="*/ 248 h 362"/>
                <a:gd name="T4" fmla="*/ 48 w 206"/>
                <a:gd name="T5" fmla="*/ 358 h 362"/>
                <a:gd name="T6" fmla="*/ 110 w 206"/>
                <a:gd name="T7" fmla="*/ 362 h 362"/>
                <a:gd name="T8" fmla="*/ 169 w 206"/>
                <a:gd name="T9" fmla="*/ 293 h 362"/>
                <a:gd name="T10" fmla="*/ 149 w 206"/>
                <a:gd name="T11" fmla="*/ 275 h 362"/>
                <a:gd name="T12" fmla="*/ 152 w 206"/>
                <a:gd name="T13" fmla="*/ 201 h 362"/>
                <a:gd name="T14" fmla="*/ 206 w 206"/>
                <a:gd name="T15" fmla="*/ 135 h 362"/>
                <a:gd name="T16" fmla="*/ 178 w 206"/>
                <a:gd name="T17" fmla="*/ 85 h 362"/>
                <a:gd name="T18" fmla="*/ 197 w 206"/>
                <a:gd name="T19" fmla="*/ 65 h 362"/>
                <a:gd name="T20" fmla="*/ 206 w 206"/>
                <a:gd name="T21" fmla="*/ 14 h 362"/>
                <a:gd name="T22" fmla="*/ 174 w 206"/>
                <a:gd name="T23" fmla="*/ 0 h 362"/>
                <a:gd name="T24" fmla="*/ 148 w 206"/>
                <a:gd name="T25" fmla="*/ 13 h 362"/>
                <a:gd name="T26" fmla="*/ 115 w 206"/>
                <a:gd name="T27" fmla="*/ 114 h 362"/>
                <a:gd name="T28" fmla="*/ 62 w 206"/>
                <a:gd name="T29" fmla="*/ 109 h 362"/>
                <a:gd name="T30" fmla="*/ 0 w 206"/>
                <a:gd name="T31" fmla="*/ 182 h 362"/>
                <a:gd name="T32" fmla="*/ 7 w 206"/>
                <a:gd name="T33" fmla="*/ 23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362">
                  <a:moveTo>
                    <a:pt x="7" y="235"/>
                  </a:moveTo>
                  <a:lnTo>
                    <a:pt x="38" y="248"/>
                  </a:lnTo>
                  <a:lnTo>
                    <a:pt x="48" y="358"/>
                  </a:lnTo>
                  <a:lnTo>
                    <a:pt x="110" y="362"/>
                  </a:lnTo>
                  <a:lnTo>
                    <a:pt x="169" y="293"/>
                  </a:lnTo>
                  <a:lnTo>
                    <a:pt x="149" y="275"/>
                  </a:lnTo>
                  <a:lnTo>
                    <a:pt x="152" y="201"/>
                  </a:lnTo>
                  <a:lnTo>
                    <a:pt x="206" y="135"/>
                  </a:lnTo>
                  <a:lnTo>
                    <a:pt x="178" y="85"/>
                  </a:lnTo>
                  <a:lnTo>
                    <a:pt x="197" y="65"/>
                  </a:lnTo>
                  <a:lnTo>
                    <a:pt x="206" y="14"/>
                  </a:lnTo>
                  <a:lnTo>
                    <a:pt x="174" y="0"/>
                  </a:lnTo>
                  <a:lnTo>
                    <a:pt x="148" y="13"/>
                  </a:lnTo>
                  <a:lnTo>
                    <a:pt x="115" y="114"/>
                  </a:lnTo>
                  <a:lnTo>
                    <a:pt x="62" y="109"/>
                  </a:lnTo>
                  <a:lnTo>
                    <a:pt x="0" y="182"/>
                  </a:lnTo>
                  <a:lnTo>
                    <a:pt x="7" y="23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8" name="Freeform 263">
              <a:extLst>
                <a:ext uri="{FF2B5EF4-FFF2-40B4-BE49-F238E27FC236}">
                  <a16:creationId xmlns:a16="http://schemas.microsoft.com/office/drawing/2014/main" id="{40675BB0-B97E-4A6D-A10D-EAB612F3F5D9}"/>
                </a:ext>
              </a:extLst>
            </p:cNvPr>
            <p:cNvSpPr>
              <a:spLocks/>
            </p:cNvSpPr>
            <p:nvPr/>
          </p:nvSpPr>
          <p:spPr bwMode="auto">
            <a:xfrm>
              <a:off x="8905082" y="2794793"/>
              <a:ext cx="95250" cy="146050"/>
            </a:xfrm>
            <a:custGeom>
              <a:avLst/>
              <a:gdLst>
                <a:gd name="T0" fmla="*/ 54 w 178"/>
                <a:gd name="T1" fmla="*/ 0 h 275"/>
                <a:gd name="T2" fmla="*/ 160 w 178"/>
                <a:gd name="T3" fmla="*/ 86 h 275"/>
                <a:gd name="T4" fmla="*/ 178 w 178"/>
                <a:gd name="T5" fmla="*/ 169 h 275"/>
                <a:gd name="T6" fmla="*/ 175 w 178"/>
                <a:gd name="T7" fmla="*/ 214 h 275"/>
                <a:gd name="T8" fmla="*/ 123 w 178"/>
                <a:gd name="T9" fmla="*/ 273 h 275"/>
                <a:gd name="T10" fmla="*/ 79 w 178"/>
                <a:gd name="T11" fmla="*/ 275 h 275"/>
                <a:gd name="T12" fmla="*/ 28 w 178"/>
                <a:gd name="T13" fmla="*/ 166 h 275"/>
                <a:gd name="T14" fmla="*/ 9 w 178"/>
                <a:gd name="T15" fmla="*/ 113 h 275"/>
                <a:gd name="T16" fmla="*/ 29 w 178"/>
                <a:gd name="T17" fmla="*/ 98 h 275"/>
                <a:gd name="T18" fmla="*/ 24 w 178"/>
                <a:gd name="T19" fmla="*/ 76 h 275"/>
                <a:gd name="T20" fmla="*/ 0 w 178"/>
                <a:gd name="T21" fmla="*/ 65 h 275"/>
                <a:gd name="T22" fmla="*/ 54 w 178"/>
                <a:gd name="T23"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275">
                  <a:moveTo>
                    <a:pt x="54" y="0"/>
                  </a:moveTo>
                  <a:lnTo>
                    <a:pt x="160" y="86"/>
                  </a:lnTo>
                  <a:lnTo>
                    <a:pt x="178" y="169"/>
                  </a:lnTo>
                  <a:lnTo>
                    <a:pt x="175" y="214"/>
                  </a:lnTo>
                  <a:lnTo>
                    <a:pt x="123" y="273"/>
                  </a:lnTo>
                  <a:lnTo>
                    <a:pt x="79" y="275"/>
                  </a:lnTo>
                  <a:lnTo>
                    <a:pt x="28" y="166"/>
                  </a:lnTo>
                  <a:lnTo>
                    <a:pt x="9" y="113"/>
                  </a:lnTo>
                  <a:lnTo>
                    <a:pt x="29" y="98"/>
                  </a:lnTo>
                  <a:lnTo>
                    <a:pt x="24" y="76"/>
                  </a:lnTo>
                  <a:lnTo>
                    <a:pt x="0" y="65"/>
                  </a:lnTo>
                  <a:lnTo>
                    <a:pt x="5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9" name="Freeform 264">
              <a:extLst>
                <a:ext uri="{FF2B5EF4-FFF2-40B4-BE49-F238E27FC236}">
                  <a16:creationId xmlns:a16="http://schemas.microsoft.com/office/drawing/2014/main" id="{85C36609-6F80-4DA9-8ED8-E7416CBA3FCE}"/>
                </a:ext>
              </a:extLst>
            </p:cNvPr>
            <p:cNvSpPr>
              <a:spLocks/>
            </p:cNvSpPr>
            <p:nvPr/>
          </p:nvSpPr>
          <p:spPr bwMode="auto">
            <a:xfrm>
              <a:off x="6954044" y="2378868"/>
              <a:ext cx="903288" cy="495300"/>
            </a:xfrm>
            <a:custGeom>
              <a:avLst/>
              <a:gdLst>
                <a:gd name="T0" fmla="*/ 119 w 1708"/>
                <a:gd name="T1" fmla="*/ 620 h 934"/>
                <a:gd name="T2" fmla="*/ 189 w 1708"/>
                <a:gd name="T3" fmla="*/ 591 h 934"/>
                <a:gd name="T4" fmla="*/ 267 w 1708"/>
                <a:gd name="T5" fmla="*/ 588 h 934"/>
                <a:gd name="T6" fmla="*/ 273 w 1708"/>
                <a:gd name="T7" fmla="*/ 707 h 934"/>
                <a:gd name="T8" fmla="*/ 227 w 1708"/>
                <a:gd name="T9" fmla="*/ 707 h 934"/>
                <a:gd name="T10" fmla="*/ 192 w 1708"/>
                <a:gd name="T11" fmla="*/ 764 h 934"/>
                <a:gd name="T12" fmla="*/ 238 w 1708"/>
                <a:gd name="T13" fmla="*/ 840 h 934"/>
                <a:gd name="T14" fmla="*/ 306 w 1708"/>
                <a:gd name="T15" fmla="*/ 879 h 934"/>
                <a:gd name="T16" fmla="*/ 312 w 1708"/>
                <a:gd name="T17" fmla="*/ 923 h 934"/>
                <a:gd name="T18" fmla="*/ 336 w 1708"/>
                <a:gd name="T19" fmla="*/ 914 h 934"/>
                <a:gd name="T20" fmla="*/ 360 w 1708"/>
                <a:gd name="T21" fmla="*/ 887 h 934"/>
                <a:gd name="T22" fmla="*/ 397 w 1708"/>
                <a:gd name="T23" fmla="*/ 895 h 934"/>
                <a:gd name="T24" fmla="*/ 416 w 1708"/>
                <a:gd name="T25" fmla="*/ 934 h 934"/>
                <a:gd name="T26" fmla="*/ 465 w 1708"/>
                <a:gd name="T27" fmla="*/ 934 h 934"/>
                <a:gd name="T28" fmla="*/ 465 w 1708"/>
                <a:gd name="T29" fmla="*/ 885 h 934"/>
                <a:gd name="T30" fmla="*/ 435 w 1708"/>
                <a:gd name="T31" fmla="*/ 798 h 934"/>
                <a:gd name="T32" fmla="*/ 422 w 1708"/>
                <a:gd name="T33" fmla="*/ 727 h 934"/>
                <a:gd name="T34" fmla="*/ 508 w 1708"/>
                <a:gd name="T35" fmla="*/ 688 h 934"/>
                <a:gd name="T36" fmla="*/ 624 w 1708"/>
                <a:gd name="T37" fmla="*/ 707 h 934"/>
                <a:gd name="T38" fmla="*/ 698 w 1708"/>
                <a:gd name="T39" fmla="*/ 781 h 934"/>
                <a:gd name="T40" fmla="*/ 862 w 1708"/>
                <a:gd name="T41" fmla="*/ 765 h 934"/>
                <a:gd name="T42" fmla="*/ 954 w 1708"/>
                <a:gd name="T43" fmla="*/ 895 h 934"/>
                <a:gd name="T44" fmla="*/ 1062 w 1708"/>
                <a:gd name="T45" fmla="*/ 901 h 934"/>
                <a:gd name="T46" fmla="*/ 1092 w 1708"/>
                <a:gd name="T47" fmla="*/ 852 h 934"/>
                <a:gd name="T48" fmla="*/ 1130 w 1708"/>
                <a:gd name="T49" fmla="*/ 843 h 934"/>
                <a:gd name="T50" fmla="*/ 1135 w 1708"/>
                <a:gd name="T51" fmla="*/ 790 h 934"/>
                <a:gd name="T52" fmla="*/ 1192 w 1708"/>
                <a:gd name="T53" fmla="*/ 787 h 934"/>
                <a:gd name="T54" fmla="*/ 1222 w 1708"/>
                <a:gd name="T55" fmla="*/ 822 h 934"/>
                <a:gd name="T56" fmla="*/ 1252 w 1708"/>
                <a:gd name="T57" fmla="*/ 751 h 934"/>
                <a:gd name="T58" fmla="*/ 1509 w 1708"/>
                <a:gd name="T59" fmla="*/ 787 h 934"/>
                <a:gd name="T60" fmla="*/ 1551 w 1708"/>
                <a:gd name="T61" fmla="*/ 730 h 934"/>
                <a:gd name="T62" fmla="*/ 1479 w 1708"/>
                <a:gd name="T63" fmla="*/ 639 h 934"/>
                <a:gd name="T64" fmla="*/ 1575 w 1708"/>
                <a:gd name="T65" fmla="*/ 427 h 934"/>
                <a:gd name="T66" fmla="*/ 1655 w 1708"/>
                <a:gd name="T67" fmla="*/ 432 h 934"/>
                <a:gd name="T68" fmla="*/ 1708 w 1708"/>
                <a:gd name="T69" fmla="*/ 302 h 934"/>
                <a:gd name="T70" fmla="*/ 1601 w 1708"/>
                <a:gd name="T71" fmla="*/ 291 h 934"/>
                <a:gd name="T72" fmla="*/ 1538 w 1708"/>
                <a:gd name="T73" fmla="*/ 231 h 934"/>
                <a:gd name="T74" fmla="*/ 1367 w 1708"/>
                <a:gd name="T75" fmla="*/ 251 h 934"/>
                <a:gd name="T76" fmla="*/ 1146 w 1708"/>
                <a:gd name="T77" fmla="*/ 37 h 934"/>
                <a:gd name="T78" fmla="*/ 1069 w 1708"/>
                <a:gd name="T79" fmla="*/ 106 h 934"/>
                <a:gd name="T80" fmla="*/ 833 w 1708"/>
                <a:gd name="T81" fmla="*/ 0 h 934"/>
                <a:gd name="T82" fmla="*/ 543 w 1708"/>
                <a:gd name="T83" fmla="*/ 141 h 934"/>
                <a:gd name="T84" fmla="*/ 535 w 1708"/>
                <a:gd name="T85" fmla="*/ 242 h 934"/>
                <a:gd name="T86" fmla="*/ 603 w 1708"/>
                <a:gd name="T87" fmla="*/ 321 h 934"/>
                <a:gd name="T88" fmla="*/ 471 w 1708"/>
                <a:gd name="T89" fmla="*/ 396 h 934"/>
                <a:gd name="T90" fmla="*/ 301 w 1708"/>
                <a:gd name="T91" fmla="*/ 392 h 934"/>
                <a:gd name="T92" fmla="*/ 264 w 1708"/>
                <a:gd name="T93" fmla="*/ 339 h 934"/>
                <a:gd name="T94" fmla="*/ 130 w 1708"/>
                <a:gd name="T95" fmla="*/ 332 h 934"/>
                <a:gd name="T96" fmla="*/ 3 w 1708"/>
                <a:gd name="T97" fmla="*/ 413 h 934"/>
                <a:gd name="T98" fmla="*/ 0 w 1708"/>
                <a:gd name="T99" fmla="*/ 525 h 934"/>
                <a:gd name="T100" fmla="*/ 119 w 1708"/>
                <a:gd name="T101" fmla="*/ 620 h 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8" h="934">
                  <a:moveTo>
                    <a:pt x="119" y="620"/>
                  </a:moveTo>
                  <a:lnTo>
                    <a:pt x="189" y="591"/>
                  </a:lnTo>
                  <a:lnTo>
                    <a:pt x="267" y="588"/>
                  </a:lnTo>
                  <a:lnTo>
                    <a:pt x="273" y="707"/>
                  </a:lnTo>
                  <a:lnTo>
                    <a:pt x="227" y="707"/>
                  </a:lnTo>
                  <a:lnTo>
                    <a:pt x="192" y="764"/>
                  </a:lnTo>
                  <a:lnTo>
                    <a:pt x="238" y="840"/>
                  </a:lnTo>
                  <a:lnTo>
                    <a:pt x="306" y="879"/>
                  </a:lnTo>
                  <a:lnTo>
                    <a:pt x="312" y="923"/>
                  </a:lnTo>
                  <a:lnTo>
                    <a:pt x="336" y="914"/>
                  </a:lnTo>
                  <a:lnTo>
                    <a:pt x="360" y="887"/>
                  </a:lnTo>
                  <a:lnTo>
                    <a:pt x="397" y="895"/>
                  </a:lnTo>
                  <a:lnTo>
                    <a:pt x="416" y="934"/>
                  </a:lnTo>
                  <a:lnTo>
                    <a:pt x="465" y="934"/>
                  </a:lnTo>
                  <a:lnTo>
                    <a:pt x="465" y="885"/>
                  </a:lnTo>
                  <a:lnTo>
                    <a:pt x="435" y="798"/>
                  </a:lnTo>
                  <a:lnTo>
                    <a:pt x="422" y="727"/>
                  </a:lnTo>
                  <a:lnTo>
                    <a:pt x="508" y="688"/>
                  </a:lnTo>
                  <a:lnTo>
                    <a:pt x="624" y="707"/>
                  </a:lnTo>
                  <a:lnTo>
                    <a:pt x="698" y="781"/>
                  </a:lnTo>
                  <a:lnTo>
                    <a:pt x="862" y="765"/>
                  </a:lnTo>
                  <a:lnTo>
                    <a:pt x="954" y="895"/>
                  </a:lnTo>
                  <a:lnTo>
                    <a:pt x="1062" y="901"/>
                  </a:lnTo>
                  <a:lnTo>
                    <a:pt x="1092" y="852"/>
                  </a:lnTo>
                  <a:lnTo>
                    <a:pt x="1130" y="843"/>
                  </a:lnTo>
                  <a:lnTo>
                    <a:pt x="1135" y="790"/>
                  </a:lnTo>
                  <a:lnTo>
                    <a:pt x="1192" y="787"/>
                  </a:lnTo>
                  <a:lnTo>
                    <a:pt x="1222" y="822"/>
                  </a:lnTo>
                  <a:lnTo>
                    <a:pt x="1252" y="751"/>
                  </a:lnTo>
                  <a:lnTo>
                    <a:pt x="1509" y="787"/>
                  </a:lnTo>
                  <a:lnTo>
                    <a:pt x="1551" y="730"/>
                  </a:lnTo>
                  <a:lnTo>
                    <a:pt x="1479" y="639"/>
                  </a:lnTo>
                  <a:lnTo>
                    <a:pt x="1575" y="427"/>
                  </a:lnTo>
                  <a:lnTo>
                    <a:pt x="1655" y="432"/>
                  </a:lnTo>
                  <a:lnTo>
                    <a:pt x="1708" y="302"/>
                  </a:lnTo>
                  <a:lnTo>
                    <a:pt x="1601" y="291"/>
                  </a:lnTo>
                  <a:lnTo>
                    <a:pt x="1538" y="231"/>
                  </a:lnTo>
                  <a:lnTo>
                    <a:pt x="1367" y="251"/>
                  </a:lnTo>
                  <a:lnTo>
                    <a:pt x="1146" y="37"/>
                  </a:lnTo>
                  <a:lnTo>
                    <a:pt x="1069" y="106"/>
                  </a:lnTo>
                  <a:lnTo>
                    <a:pt x="833" y="0"/>
                  </a:lnTo>
                  <a:lnTo>
                    <a:pt x="543" y="141"/>
                  </a:lnTo>
                  <a:lnTo>
                    <a:pt x="535" y="242"/>
                  </a:lnTo>
                  <a:lnTo>
                    <a:pt x="603" y="321"/>
                  </a:lnTo>
                  <a:lnTo>
                    <a:pt x="471" y="396"/>
                  </a:lnTo>
                  <a:lnTo>
                    <a:pt x="301" y="392"/>
                  </a:lnTo>
                  <a:lnTo>
                    <a:pt x="264" y="339"/>
                  </a:lnTo>
                  <a:lnTo>
                    <a:pt x="130" y="332"/>
                  </a:lnTo>
                  <a:lnTo>
                    <a:pt x="3" y="413"/>
                  </a:lnTo>
                  <a:lnTo>
                    <a:pt x="0" y="525"/>
                  </a:lnTo>
                  <a:lnTo>
                    <a:pt x="119" y="62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0" name="Freeform 265">
              <a:extLst>
                <a:ext uri="{FF2B5EF4-FFF2-40B4-BE49-F238E27FC236}">
                  <a16:creationId xmlns:a16="http://schemas.microsoft.com/office/drawing/2014/main" id="{470DB3FA-5250-4AD3-A5A5-89CFF863804F}"/>
                </a:ext>
              </a:extLst>
            </p:cNvPr>
            <p:cNvSpPr>
              <a:spLocks/>
            </p:cNvSpPr>
            <p:nvPr/>
          </p:nvSpPr>
          <p:spPr bwMode="auto">
            <a:xfrm>
              <a:off x="7128669" y="2840831"/>
              <a:ext cx="352425" cy="212725"/>
            </a:xfrm>
            <a:custGeom>
              <a:avLst/>
              <a:gdLst>
                <a:gd name="T0" fmla="*/ 81 w 666"/>
                <a:gd name="T1" fmla="*/ 74 h 403"/>
                <a:gd name="T2" fmla="*/ 71 w 666"/>
                <a:gd name="T3" fmla="*/ 120 h 403"/>
                <a:gd name="T4" fmla="*/ 0 w 666"/>
                <a:gd name="T5" fmla="*/ 120 h 403"/>
                <a:gd name="T6" fmla="*/ 0 w 666"/>
                <a:gd name="T7" fmla="*/ 181 h 403"/>
                <a:gd name="T8" fmla="*/ 76 w 666"/>
                <a:gd name="T9" fmla="*/ 230 h 403"/>
                <a:gd name="T10" fmla="*/ 53 w 666"/>
                <a:gd name="T11" fmla="*/ 299 h 403"/>
                <a:gd name="T12" fmla="*/ 53 w 666"/>
                <a:gd name="T13" fmla="*/ 332 h 403"/>
                <a:gd name="T14" fmla="*/ 84 w 666"/>
                <a:gd name="T15" fmla="*/ 337 h 403"/>
                <a:gd name="T16" fmla="*/ 127 w 666"/>
                <a:gd name="T17" fmla="*/ 281 h 403"/>
                <a:gd name="T18" fmla="*/ 221 w 666"/>
                <a:gd name="T19" fmla="*/ 260 h 403"/>
                <a:gd name="T20" fmla="*/ 424 w 666"/>
                <a:gd name="T21" fmla="*/ 337 h 403"/>
                <a:gd name="T22" fmla="*/ 426 w 666"/>
                <a:gd name="T23" fmla="*/ 393 h 403"/>
                <a:gd name="T24" fmla="*/ 540 w 666"/>
                <a:gd name="T25" fmla="*/ 403 h 403"/>
                <a:gd name="T26" fmla="*/ 666 w 666"/>
                <a:gd name="T27" fmla="*/ 270 h 403"/>
                <a:gd name="T28" fmla="*/ 651 w 666"/>
                <a:gd name="T29" fmla="*/ 228 h 403"/>
                <a:gd name="T30" fmla="*/ 567 w 666"/>
                <a:gd name="T31" fmla="*/ 209 h 403"/>
                <a:gd name="T32" fmla="*/ 329 w 666"/>
                <a:gd name="T33" fmla="*/ 56 h 403"/>
                <a:gd name="T34" fmla="*/ 319 w 666"/>
                <a:gd name="T35" fmla="*/ 0 h 403"/>
                <a:gd name="T36" fmla="*/ 230 w 666"/>
                <a:gd name="T37" fmla="*/ 0 h 403"/>
                <a:gd name="T38" fmla="*/ 190 w 666"/>
                <a:gd name="T39" fmla="*/ 74 h 403"/>
                <a:gd name="T40" fmla="*/ 150 w 666"/>
                <a:gd name="T41" fmla="*/ 74 h 403"/>
                <a:gd name="T42" fmla="*/ 81 w 666"/>
                <a:gd name="T43" fmla="*/ 74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6" h="403">
                  <a:moveTo>
                    <a:pt x="81" y="74"/>
                  </a:moveTo>
                  <a:lnTo>
                    <a:pt x="71" y="120"/>
                  </a:lnTo>
                  <a:lnTo>
                    <a:pt x="0" y="120"/>
                  </a:lnTo>
                  <a:lnTo>
                    <a:pt x="0" y="181"/>
                  </a:lnTo>
                  <a:lnTo>
                    <a:pt x="76" y="230"/>
                  </a:lnTo>
                  <a:lnTo>
                    <a:pt x="53" y="299"/>
                  </a:lnTo>
                  <a:lnTo>
                    <a:pt x="53" y="332"/>
                  </a:lnTo>
                  <a:lnTo>
                    <a:pt x="84" y="337"/>
                  </a:lnTo>
                  <a:lnTo>
                    <a:pt x="127" y="281"/>
                  </a:lnTo>
                  <a:lnTo>
                    <a:pt x="221" y="260"/>
                  </a:lnTo>
                  <a:lnTo>
                    <a:pt x="424" y="337"/>
                  </a:lnTo>
                  <a:lnTo>
                    <a:pt x="426" y="393"/>
                  </a:lnTo>
                  <a:lnTo>
                    <a:pt x="540" y="403"/>
                  </a:lnTo>
                  <a:lnTo>
                    <a:pt x="666" y="270"/>
                  </a:lnTo>
                  <a:lnTo>
                    <a:pt x="651" y="228"/>
                  </a:lnTo>
                  <a:lnTo>
                    <a:pt x="567" y="209"/>
                  </a:lnTo>
                  <a:lnTo>
                    <a:pt x="329" y="56"/>
                  </a:lnTo>
                  <a:lnTo>
                    <a:pt x="319" y="0"/>
                  </a:lnTo>
                  <a:lnTo>
                    <a:pt x="230" y="0"/>
                  </a:lnTo>
                  <a:lnTo>
                    <a:pt x="190" y="74"/>
                  </a:lnTo>
                  <a:lnTo>
                    <a:pt x="150" y="74"/>
                  </a:lnTo>
                  <a:lnTo>
                    <a:pt x="81" y="7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1" name="Freeform 266">
              <a:extLst>
                <a:ext uri="{FF2B5EF4-FFF2-40B4-BE49-F238E27FC236}">
                  <a16:creationId xmlns:a16="http://schemas.microsoft.com/office/drawing/2014/main" id="{3073E892-7716-4CB9-9573-220D6AEA0A59}"/>
                </a:ext>
              </a:extLst>
            </p:cNvPr>
            <p:cNvSpPr>
              <a:spLocks/>
            </p:cNvSpPr>
            <p:nvPr/>
          </p:nvSpPr>
          <p:spPr bwMode="auto">
            <a:xfrm>
              <a:off x="7182644" y="2750343"/>
              <a:ext cx="436563" cy="234950"/>
            </a:xfrm>
            <a:custGeom>
              <a:avLst/>
              <a:gdLst>
                <a:gd name="T0" fmla="*/ 579 w 825"/>
                <a:gd name="T1" fmla="*/ 441 h 443"/>
                <a:gd name="T2" fmla="*/ 632 w 825"/>
                <a:gd name="T3" fmla="*/ 443 h 443"/>
                <a:gd name="T4" fmla="*/ 632 w 825"/>
                <a:gd name="T5" fmla="*/ 353 h 443"/>
                <a:gd name="T6" fmla="*/ 582 w 825"/>
                <a:gd name="T7" fmla="*/ 324 h 443"/>
                <a:gd name="T8" fmla="*/ 667 w 825"/>
                <a:gd name="T9" fmla="*/ 218 h 443"/>
                <a:gd name="T10" fmla="*/ 701 w 825"/>
                <a:gd name="T11" fmla="*/ 218 h 443"/>
                <a:gd name="T12" fmla="*/ 735 w 825"/>
                <a:gd name="T13" fmla="*/ 257 h 443"/>
                <a:gd name="T14" fmla="*/ 825 w 825"/>
                <a:gd name="T15" fmla="*/ 224 h 443"/>
                <a:gd name="T16" fmla="*/ 701 w 825"/>
                <a:gd name="T17" fmla="*/ 181 h 443"/>
                <a:gd name="T18" fmla="*/ 696 w 825"/>
                <a:gd name="T19" fmla="*/ 155 h 443"/>
                <a:gd name="T20" fmla="*/ 667 w 825"/>
                <a:gd name="T21" fmla="*/ 163 h 443"/>
                <a:gd name="T22" fmla="*/ 637 w 825"/>
                <a:gd name="T23" fmla="*/ 212 h 443"/>
                <a:gd name="T24" fmla="*/ 512 w 825"/>
                <a:gd name="T25" fmla="*/ 208 h 443"/>
                <a:gd name="T26" fmla="*/ 421 w 825"/>
                <a:gd name="T27" fmla="*/ 78 h 443"/>
                <a:gd name="T28" fmla="*/ 260 w 825"/>
                <a:gd name="T29" fmla="*/ 95 h 443"/>
                <a:gd name="T30" fmla="*/ 183 w 825"/>
                <a:gd name="T31" fmla="*/ 19 h 443"/>
                <a:gd name="T32" fmla="*/ 77 w 825"/>
                <a:gd name="T33" fmla="*/ 0 h 443"/>
                <a:gd name="T34" fmla="*/ 0 w 825"/>
                <a:gd name="T35" fmla="*/ 32 h 443"/>
                <a:gd name="T36" fmla="*/ 44 w 825"/>
                <a:gd name="T37" fmla="*/ 181 h 443"/>
                <a:gd name="T38" fmla="*/ 45 w 825"/>
                <a:gd name="T39" fmla="*/ 231 h 443"/>
                <a:gd name="T40" fmla="*/ 78 w 825"/>
                <a:gd name="T41" fmla="*/ 232 h 443"/>
                <a:gd name="T42" fmla="*/ 117 w 825"/>
                <a:gd name="T43" fmla="*/ 156 h 443"/>
                <a:gd name="T44" fmla="*/ 224 w 825"/>
                <a:gd name="T45" fmla="*/ 157 h 443"/>
                <a:gd name="T46" fmla="*/ 239 w 825"/>
                <a:gd name="T47" fmla="*/ 216 h 443"/>
                <a:gd name="T48" fmla="*/ 468 w 825"/>
                <a:gd name="T49" fmla="*/ 366 h 443"/>
                <a:gd name="T50" fmla="*/ 555 w 825"/>
                <a:gd name="T51" fmla="*/ 386 h 443"/>
                <a:gd name="T52" fmla="*/ 579 w 825"/>
                <a:gd name="T53" fmla="*/ 441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5" h="443">
                  <a:moveTo>
                    <a:pt x="579" y="441"/>
                  </a:moveTo>
                  <a:lnTo>
                    <a:pt x="632" y="443"/>
                  </a:lnTo>
                  <a:lnTo>
                    <a:pt x="632" y="353"/>
                  </a:lnTo>
                  <a:lnTo>
                    <a:pt x="582" y="324"/>
                  </a:lnTo>
                  <a:lnTo>
                    <a:pt x="667" y="218"/>
                  </a:lnTo>
                  <a:lnTo>
                    <a:pt x="701" y="218"/>
                  </a:lnTo>
                  <a:lnTo>
                    <a:pt x="735" y="257"/>
                  </a:lnTo>
                  <a:lnTo>
                    <a:pt x="825" y="224"/>
                  </a:lnTo>
                  <a:lnTo>
                    <a:pt x="701" y="181"/>
                  </a:lnTo>
                  <a:lnTo>
                    <a:pt x="696" y="155"/>
                  </a:lnTo>
                  <a:lnTo>
                    <a:pt x="667" y="163"/>
                  </a:lnTo>
                  <a:lnTo>
                    <a:pt x="637" y="212"/>
                  </a:lnTo>
                  <a:lnTo>
                    <a:pt x="512" y="208"/>
                  </a:lnTo>
                  <a:lnTo>
                    <a:pt x="421" y="78"/>
                  </a:lnTo>
                  <a:lnTo>
                    <a:pt x="260" y="95"/>
                  </a:lnTo>
                  <a:lnTo>
                    <a:pt x="183" y="19"/>
                  </a:lnTo>
                  <a:lnTo>
                    <a:pt x="77" y="0"/>
                  </a:lnTo>
                  <a:lnTo>
                    <a:pt x="0" y="32"/>
                  </a:lnTo>
                  <a:lnTo>
                    <a:pt x="44" y="181"/>
                  </a:lnTo>
                  <a:lnTo>
                    <a:pt x="45" y="231"/>
                  </a:lnTo>
                  <a:lnTo>
                    <a:pt x="78" y="232"/>
                  </a:lnTo>
                  <a:lnTo>
                    <a:pt x="117" y="156"/>
                  </a:lnTo>
                  <a:lnTo>
                    <a:pt x="224" y="157"/>
                  </a:lnTo>
                  <a:lnTo>
                    <a:pt x="239" y="216"/>
                  </a:lnTo>
                  <a:lnTo>
                    <a:pt x="468" y="366"/>
                  </a:lnTo>
                  <a:lnTo>
                    <a:pt x="555" y="386"/>
                  </a:lnTo>
                  <a:lnTo>
                    <a:pt x="579" y="44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2" name="Freeform 267">
              <a:extLst>
                <a:ext uri="{FF2B5EF4-FFF2-40B4-BE49-F238E27FC236}">
                  <a16:creationId xmlns:a16="http://schemas.microsoft.com/office/drawing/2014/main" id="{72C77BA4-46EF-456C-8420-146EE5B768A1}"/>
                </a:ext>
              </a:extLst>
            </p:cNvPr>
            <p:cNvSpPr>
              <a:spLocks/>
            </p:cNvSpPr>
            <p:nvPr/>
          </p:nvSpPr>
          <p:spPr bwMode="auto">
            <a:xfrm>
              <a:off x="7501732" y="2872581"/>
              <a:ext cx="184150" cy="115888"/>
            </a:xfrm>
            <a:custGeom>
              <a:avLst/>
              <a:gdLst>
                <a:gd name="T0" fmla="*/ 0 w 348"/>
                <a:gd name="T1" fmla="*/ 87 h 219"/>
                <a:gd name="T2" fmla="*/ 70 w 348"/>
                <a:gd name="T3" fmla="*/ 0 h 219"/>
                <a:gd name="T4" fmla="*/ 96 w 348"/>
                <a:gd name="T5" fmla="*/ 0 h 219"/>
                <a:gd name="T6" fmla="*/ 105 w 348"/>
                <a:gd name="T7" fmla="*/ 19 h 219"/>
                <a:gd name="T8" fmla="*/ 73 w 348"/>
                <a:gd name="T9" fmla="*/ 42 h 219"/>
                <a:gd name="T10" fmla="*/ 73 w 348"/>
                <a:gd name="T11" fmla="*/ 63 h 219"/>
                <a:gd name="T12" fmla="*/ 94 w 348"/>
                <a:gd name="T13" fmla="*/ 78 h 219"/>
                <a:gd name="T14" fmla="*/ 197 w 348"/>
                <a:gd name="T15" fmla="*/ 84 h 219"/>
                <a:gd name="T16" fmla="*/ 231 w 348"/>
                <a:gd name="T17" fmla="*/ 70 h 219"/>
                <a:gd name="T18" fmla="*/ 246 w 348"/>
                <a:gd name="T19" fmla="*/ 73 h 219"/>
                <a:gd name="T20" fmla="*/ 256 w 348"/>
                <a:gd name="T21" fmla="*/ 105 h 219"/>
                <a:gd name="T22" fmla="*/ 317 w 348"/>
                <a:gd name="T23" fmla="*/ 111 h 219"/>
                <a:gd name="T24" fmla="*/ 348 w 348"/>
                <a:gd name="T25" fmla="*/ 176 h 219"/>
                <a:gd name="T26" fmla="*/ 339 w 348"/>
                <a:gd name="T27" fmla="*/ 196 h 219"/>
                <a:gd name="T28" fmla="*/ 326 w 348"/>
                <a:gd name="T29" fmla="*/ 197 h 219"/>
                <a:gd name="T30" fmla="*/ 314 w 348"/>
                <a:gd name="T31" fmla="*/ 172 h 219"/>
                <a:gd name="T32" fmla="*/ 288 w 348"/>
                <a:gd name="T33" fmla="*/ 170 h 219"/>
                <a:gd name="T34" fmla="*/ 242 w 348"/>
                <a:gd name="T35" fmla="*/ 176 h 219"/>
                <a:gd name="T36" fmla="*/ 239 w 348"/>
                <a:gd name="T37" fmla="*/ 219 h 219"/>
                <a:gd name="T38" fmla="*/ 193 w 348"/>
                <a:gd name="T39" fmla="*/ 216 h 219"/>
                <a:gd name="T40" fmla="*/ 195 w 348"/>
                <a:gd name="T41" fmla="*/ 162 h 219"/>
                <a:gd name="T42" fmla="*/ 162 w 348"/>
                <a:gd name="T43" fmla="*/ 129 h 219"/>
                <a:gd name="T44" fmla="*/ 110 w 348"/>
                <a:gd name="T45" fmla="*/ 171 h 219"/>
                <a:gd name="T46" fmla="*/ 111 w 348"/>
                <a:gd name="T47" fmla="*/ 199 h 219"/>
                <a:gd name="T48" fmla="*/ 67 w 348"/>
                <a:gd name="T49" fmla="*/ 214 h 219"/>
                <a:gd name="T50" fmla="*/ 40 w 348"/>
                <a:gd name="T51" fmla="*/ 214 h 219"/>
                <a:gd name="T52" fmla="*/ 42 w 348"/>
                <a:gd name="T53" fmla="*/ 118 h 219"/>
                <a:gd name="T54" fmla="*/ 0 w 348"/>
                <a:gd name="T55"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8" h="219">
                  <a:moveTo>
                    <a:pt x="0" y="87"/>
                  </a:moveTo>
                  <a:lnTo>
                    <a:pt x="70" y="0"/>
                  </a:lnTo>
                  <a:lnTo>
                    <a:pt x="96" y="0"/>
                  </a:lnTo>
                  <a:lnTo>
                    <a:pt x="105" y="19"/>
                  </a:lnTo>
                  <a:lnTo>
                    <a:pt x="73" y="42"/>
                  </a:lnTo>
                  <a:lnTo>
                    <a:pt x="73" y="63"/>
                  </a:lnTo>
                  <a:lnTo>
                    <a:pt x="94" y="78"/>
                  </a:lnTo>
                  <a:lnTo>
                    <a:pt x="197" y="84"/>
                  </a:lnTo>
                  <a:lnTo>
                    <a:pt x="231" y="70"/>
                  </a:lnTo>
                  <a:lnTo>
                    <a:pt x="246" y="73"/>
                  </a:lnTo>
                  <a:lnTo>
                    <a:pt x="256" y="105"/>
                  </a:lnTo>
                  <a:lnTo>
                    <a:pt x="317" y="111"/>
                  </a:lnTo>
                  <a:lnTo>
                    <a:pt x="348" y="176"/>
                  </a:lnTo>
                  <a:lnTo>
                    <a:pt x="339" y="196"/>
                  </a:lnTo>
                  <a:lnTo>
                    <a:pt x="326" y="197"/>
                  </a:lnTo>
                  <a:lnTo>
                    <a:pt x="314" y="172"/>
                  </a:lnTo>
                  <a:lnTo>
                    <a:pt x="288" y="170"/>
                  </a:lnTo>
                  <a:lnTo>
                    <a:pt x="242" y="176"/>
                  </a:lnTo>
                  <a:lnTo>
                    <a:pt x="239" y="219"/>
                  </a:lnTo>
                  <a:lnTo>
                    <a:pt x="193" y="216"/>
                  </a:lnTo>
                  <a:lnTo>
                    <a:pt x="195" y="162"/>
                  </a:lnTo>
                  <a:lnTo>
                    <a:pt x="162" y="129"/>
                  </a:lnTo>
                  <a:lnTo>
                    <a:pt x="110" y="171"/>
                  </a:lnTo>
                  <a:lnTo>
                    <a:pt x="111" y="199"/>
                  </a:lnTo>
                  <a:lnTo>
                    <a:pt x="67" y="214"/>
                  </a:lnTo>
                  <a:lnTo>
                    <a:pt x="40" y="214"/>
                  </a:lnTo>
                  <a:lnTo>
                    <a:pt x="42" y="118"/>
                  </a:lnTo>
                  <a:lnTo>
                    <a:pt x="0" y="8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3" name="Freeform 268">
              <a:extLst>
                <a:ext uri="{FF2B5EF4-FFF2-40B4-BE49-F238E27FC236}">
                  <a16:creationId xmlns:a16="http://schemas.microsoft.com/office/drawing/2014/main" id="{57A3DBD1-5B00-487F-ADF2-0BAD181C5019}"/>
                </a:ext>
              </a:extLst>
            </p:cNvPr>
            <p:cNvSpPr>
              <a:spLocks/>
            </p:cNvSpPr>
            <p:nvPr/>
          </p:nvSpPr>
          <p:spPr bwMode="auto">
            <a:xfrm>
              <a:off x="7547769" y="2783681"/>
              <a:ext cx="200025" cy="125413"/>
            </a:xfrm>
            <a:custGeom>
              <a:avLst/>
              <a:gdLst>
                <a:gd name="T0" fmla="*/ 25 w 379"/>
                <a:gd name="T1" fmla="*/ 37 h 235"/>
                <a:gd name="T2" fmla="*/ 20 w 379"/>
                <a:gd name="T3" fmla="*/ 79 h 235"/>
                <a:gd name="T4" fmla="*/ 24 w 379"/>
                <a:gd name="T5" fmla="*/ 107 h 235"/>
                <a:gd name="T6" fmla="*/ 173 w 379"/>
                <a:gd name="T7" fmla="*/ 157 h 235"/>
                <a:gd name="T8" fmla="*/ 42 w 379"/>
                <a:gd name="T9" fmla="*/ 209 h 235"/>
                <a:gd name="T10" fmla="*/ 27 w 379"/>
                <a:gd name="T11" fmla="*/ 197 h 235"/>
                <a:gd name="T12" fmla="*/ 0 w 379"/>
                <a:gd name="T13" fmla="*/ 215 h 235"/>
                <a:gd name="T14" fmla="*/ 1 w 379"/>
                <a:gd name="T15" fmla="*/ 226 h 235"/>
                <a:gd name="T16" fmla="*/ 16 w 379"/>
                <a:gd name="T17" fmla="*/ 232 h 235"/>
                <a:gd name="T18" fmla="*/ 107 w 379"/>
                <a:gd name="T19" fmla="*/ 235 h 235"/>
                <a:gd name="T20" fmla="*/ 154 w 379"/>
                <a:gd name="T21" fmla="*/ 221 h 235"/>
                <a:gd name="T22" fmla="*/ 214 w 379"/>
                <a:gd name="T23" fmla="*/ 145 h 235"/>
                <a:gd name="T24" fmla="*/ 289 w 379"/>
                <a:gd name="T25" fmla="*/ 158 h 235"/>
                <a:gd name="T26" fmla="*/ 379 w 379"/>
                <a:gd name="T27" fmla="*/ 33 h 235"/>
                <a:gd name="T28" fmla="*/ 138 w 379"/>
                <a:gd name="T29" fmla="*/ 0 h 235"/>
                <a:gd name="T30" fmla="*/ 104 w 379"/>
                <a:gd name="T31" fmla="*/ 81 h 235"/>
                <a:gd name="T32" fmla="*/ 62 w 379"/>
                <a:gd name="T33" fmla="*/ 36 h 235"/>
                <a:gd name="T34" fmla="*/ 25 w 379"/>
                <a:gd name="T35" fmla="*/ 3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9" h="235">
                  <a:moveTo>
                    <a:pt x="25" y="37"/>
                  </a:moveTo>
                  <a:lnTo>
                    <a:pt x="20" y="79"/>
                  </a:lnTo>
                  <a:lnTo>
                    <a:pt x="24" y="107"/>
                  </a:lnTo>
                  <a:lnTo>
                    <a:pt x="173" y="157"/>
                  </a:lnTo>
                  <a:lnTo>
                    <a:pt x="42" y="209"/>
                  </a:lnTo>
                  <a:lnTo>
                    <a:pt x="27" y="197"/>
                  </a:lnTo>
                  <a:lnTo>
                    <a:pt x="0" y="215"/>
                  </a:lnTo>
                  <a:lnTo>
                    <a:pt x="1" y="226"/>
                  </a:lnTo>
                  <a:lnTo>
                    <a:pt x="16" y="232"/>
                  </a:lnTo>
                  <a:lnTo>
                    <a:pt x="107" y="235"/>
                  </a:lnTo>
                  <a:lnTo>
                    <a:pt x="154" y="221"/>
                  </a:lnTo>
                  <a:lnTo>
                    <a:pt x="214" y="145"/>
                  </a:lnTo>
                  <a:lnTo>
                    <a:pt x="289" y="158"/>
                  </a:lnTo>
                  <a:lnTo>
                    <a:pt x="379" y="33"/>
                  </a:lnTo>
                  <a:lnTo>
                    <a:pt x="138" y="0"/>
                  </a:lnTo>
                  <a:lnTo>
                    <a:pt x="104" y="81"/>
                  </a:lnTo>
                  <a:lnTo>
                    <a:pt x="62" y="36"/>
                  </a:lnTo>
                  <a:lnTo>
                    <a:pt x="25" y="3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4" name="Freeform 269">
              <a:extLst>
                <a:ext uri="{FF2B5EF4-FFF2-40B4-BE49-F238E27FC236}">
                  <a16:creationId xmlns:a16="http://schemas.microsoft.com/office/drawing/2014/main" id="{80C1C042-39D6-4D33-B21E-32459E2CE342}"/>
                </a:ext>
              </a:extLst>
            </p:cNvPr>
            <p:cNvSpPr>
              <a:spLocks/>
            </p:cNvSpPr>
            <p:nvPr/>
          </p:nvSpPr>
          <p:spPr bwMode="auto">
            <a:xfrm>
              <a:off x="7355682" y="2948781"/>
              <a:ext cx="312738" cy="307975"/>
            </a:xfrm>
            <a:custGeom>
              <a:avLst/>
              <a:gdLst>
                <a:gd name="T0" fmla="*/ 0 w 593"/>
                <a:gd name="T1" fmla="*/ 203 h 583"/>
                <a:gd name="T2" fmla="*/ 28 w 593"/>
                <a:gd name="T3" fmla="*/ 416 h 583"/>
                <a:gd name="T4" fmla="*/ 96 w 593"/>
                <a:gd name="T5" fmla="*/ 430 h 583"/>
                <a:gd name="T6" fmla="*/ 102 w 593"/>
                <a:gd name="T7" fmla="*/ 469 h 583"/>
                <a:gd name="T8" fmla="*/ 53 w 593"/>
                <a:gd name="T9" fmla="*/ 509 h 583"/>
                <a:gd name="T10" fmla="*/ 145 w 593"/>
                <a:gd name="T11" fmla="*/ 583 h 583"/>
                <a:gd name="T12" fmla="*/ 320 w 593"/>
                <a:gd name="T13" fmla="*/ 520 h 583"/>
                <a:gd name="T14" fmla="*/ 334 w 593"/>
                <a:gd name="T15" fmla="*/ 445 h 583"/>
                <a:gd name="T16" fmla="*/ 445 w 593"/>
                <a:gd name="T17" fmla="*/ 375 h 583"/>
                <a:gd name="T18" fmla="*/ 488 w 593"/>
                <a:gd name="T19" fmla="*/ 215 h 583"/>
                <a:gd name="T20" fmla="*/ 519 w 593"/>
                <a:gd name="T21" fmla="*/ 181 h 583"/>
                <a:gd name="T22" fmla="*/ 487 w 593"/>
                <a:gd name="T23" fmla="*/ 124 h 583"/>
                <a:gd name="T24" fmla="*/ 593 w 593"/>
                <a:gd name="T25" fmla="*/ 58 h 583"/>
                <a:gd name="T26" fmla="*/ 580 w 593"/>
                <a:gd name="T27" fmla="*/ 38 h 583"/>
                <a:gd name="T28" fmla="*/ 530 w 593"/>
                <a:gd name="T29" fmla="*/ 41 h 583"/>
                <a:gd name="T30" fmla="*/ 526 w 593"/>
                <a:gd name="T31" fmla="*/ 87 h 583"/>
                <a:gd name="T32" fmla="*/ 459 w 593"/>
                <a:gd name="T33" fmla="*/ 86 h 583"/>
                <a:gd name="T34" fmla="*/ 458 w 593"/>
                <a:gd name="T35" fmla="*/ 25 h 583"/>
                <a:gd name="T36" fmla="*/ 437 w 593"/>
                <a:gd name="T37" fmla="*/ 0 h 583"/>
                <a:gd name="T38" fmla="*/ 401 w 593"/>
                <a:gd name="T39" fmla="*/ 32 h 583"/>
                <a:gd name="T40" fmla="*/ 402 w 593"/>
                <a:gd name="T41" fmla="*/ 63 h 583"/>
                <a:gd name="T42" fmla="*/ 348 w 593"/>
                <a:gd name="T43" fmla="*/ 83 h 583"/>
                <a:gd name="T44" fmla="*/ 247 w 593"/>
                <a:gd name="T45" fmla="*/ 77 h 583"/>
                <a:gd name="T46" fmla="*/ 117 w 593"/>
                <a:gd name="T47" fmla="*/ 213 h 583"/>
                <a:gd name="T48" fmla="*/ 0 w 593"/>
                <a:gd name="T49" fmla="*/ 203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3" h="583">
                  <a:moveTo>
                    <a:pt x="0" y="203"/>
                  </a:moveTo>
                  <a:lnTo>
                    <a:pt x="28" y="416"/>
                  </a:lnTo>
                  <a:lnTo>
                    <a:pt x="96" y="430"/>
                  </a:lnTo>
                  <a:lnTo>
                    <a:pt x="102" y="469"/>
                  </a:lnTo>
                  <a:lnTo>
                    <a:pt x="53" y="509"/>
                  </a:lnTo>
                  <a:lnTo>
                    <a:pt x="145" y="583"/>
                  </a:lnTo>
                  <a:lnTo>
                    <a:pt x="320" y="520"/>
                  </a:lnTo>
                  <a:lnTo>
                    <a:pt x="334" y="445"/>
                  </a:lnTo>
                  <a:lnTo>
                    <a:pt x="445" y="375"/>
                  </a:lnTo>
                  <a:lnTo>
                    <a:pt x="488" y="215"/>
                  </a:lnTo>
                  <a:lnTo>
                    <a:pt x="519" y="181"/>
                  </a:lnTo>
                  <a:lnTo>
                    <a:pt x="487" y="124"/>
                  </a:lnTo>
                  <a:lnTo>
                    <a:pt x="593" y="58"/>
                  </a:lnTo>
                  <a:lnTo>
                    <a:pt x="580" y="38"/>
                  </a:lnTo>
                  <a:lnTo>
                    <a:pt x="530" y="41"/>
                  </a:lnTo>
                  <a:lnTo>
                    <a:pt x="526" y="87"/>
                  </a:lnTo>
                  <a:lnTo>
                    <a:pt x="459" y="86"/>
                  </a:lnTo>
                  <a:lnTo>
                    <a:pt x="458" y="25"/>
                  </a:lnTo>
                  <a:lnTo>
                    <a:pt x="437" y="0"/>
                  </a:lnTo>
                  <a:lnTo>
                    <a:pt x="401" y="32"/>
                  </a:lnTo>
                  <a:lnTo>
                    <a:pt x="402" y="63"/>
                  </a:lnTo>
                  <a:lnTo>
                    <a:pt x="348" y="83"/>
                  </a:lnTo>
                  <a:lnTo>
                    <a:pt x="247" y="77"/>
                  </a:lnTo>
                  <a:lnTo>
                    <a:pt x="117" y="213"/>
                  </a:lnTo>
                  <a:lnTo>
                    <a:pt x="0" y="20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5" name="Freeform 270">
              <a:extLst>
                <a:ext uri="{FF2B5EF4-FFF2-40B4-BE49-F238E27FC236}">
                  <a16:creationId xmlns:a16="http://schemas.microsoft.com/office/drawing/2014/main" id="{595867F5-C06D-4E45-8ADA-6327D313A9BB}"/>
                </a:ext>
              </a:extLst>
            </p:cNvPr>
            <p:cNvSpPr>
              <a:spLocks/>
            </p:cNvSpPr>
            <p:nvPr/>
          </p:nvSpPr>
          <p:spPr bwMode="auto">
            <a:xfrm>
              <a:off x="7423944" y="2969418"/>
              <a:ext cx="347663" cy="431800"/>
            </a:xfrm>
            <a:custGeom>
              <a:avLst/>
              <a:gdLst>
                <a:gd name="T0" fmla="*/ 24 w 657"/>
                <a:gd name="T1" fmla="*/ 554 h 817"/>
                <a:gd name="T2" fmla="*/ 68 w 657"/>
                <a:gd name="T3" fmla="*/ 620 h 817"/>
                <a:gd name="T4" fmla="*/ 64 w 657"/>
                <a:gd name="T5" fmla="*/ 654 h 817"/>
                <a:gd name="T6" fmla="*/ 5 w 657"/>
                <a:gd name="T7" fmla="*/ 678 h 817"/>
                <a:gd name="T8" fmla="*/ 0 w 657"/>
                <a:gd name="T9" fmla="*/ 733 h 817"/>
                <a:gd name="T10" fmla="*/ 68 w 657"/>
                <a:gd name="T11" fmla="*/ 733 h 817"/>
                <a:gd name="T12" fmla="*/ 92 w 657"/>
                <a:gd name="T13" fmla="*/ 714 h 817"/>
                <a:gd name="T14" fmla="*/ 221 w 657"/>
                <a:gd name="T15" fmla="*/ 714 h 817"/>
                <a:gd name="T16" fmla="*/ 337 w 657"/>
                <a:gd name="T17" fmla="*/ 817 h 817"/>
                <a:gd name="T18" fmla="*/ 353 w 657"/>
                <a:gd name="T19" fmla="*/ 767 h 817"/>
                <a:gd name="T20" fmla="*/ 439 w 657"/>
                <a:gd name="T21" fmla="*/ 767 h 817"/>
                <a:gd name="T22" fmla="*/ 441 w 657"/>
                <a:gd name="T23" fmla="*/ 705 h 817"/>
                <a:gd name="T24" fmla="*/ 353 w 657"/>
                <a:gd name="T25" fmla="*/ 620 h 817"/>
                <a:gd name="T26" fmla="*/ 372 w 657"/>
                <a:gd name="T27" fmla="*/ 573 h 817"/>
                <a:gd name="T28" fmla="*/ 462 w 657"/>
                <a:gd name="T29" fmla="*/ 567 h 817"/>
                <a:gd name="T30" fmla="*/ 585 w 657"/>
                <a:gd name="T31" fmla="*/ 310 h 817"/>
                <a:gd name="T32" fmla="*/ 518 w 657"/>
                <a:gd name="T33" fmla="*/ 257 h 817"/>
                <a:gd name="T34" fmla="*/ 493 w 657"/>
                <a:gd name="T35" fmla="*/ 168 h 817"/>
                <a:gd name="T36" fmla="*/ 657 w 657"/>
                <a:gd name="T37" fmla="*/ 153 h 817"/>
                <a:gd name="T38" fmla="*/ 560 w 657"/>
                <a:gd name="T39" fmla="*/ 14 h 817"/>
                <a:gd name="T40" fmla="*/ 508 w 657"/>
                <a:gd name="T41" fmla="*/ 0 h 817"/>
                <a:gd name="T42" fmla="*/ 487 w 657"/>
                <a:gd name="T43" fmla="*/ 26 h 817"/>
                <a:gd name="T44" fmla="*/ 470 w 657"/>
                <a:gd name="T45" fmla="*/ 27 h 817"/>
                <a:gd name="T46" fmla="*/ 373 w 657"/>
                <a:gd name="T47" fmla="*/ 89 h 817"/>
                <a:gd name="T48" fmla="*/ 405 w 657"/>
                <a:gd name="T49" fmla="*/ 143 h 817"/>
                <a:gd name="T50" fmla="*/ 369 w 657"/>
                <a:gd name="T51" fmla="*/ 180 h 817"/>
                <a:gd name="T52" fmla="*/ 325 w 657"/>
                <a:gd name="T53" fmla="*/ 345 h 817"/>
                <a:gd name="T54" fmla="*/ 215 w 657"/>
                <a:gd name="T55" fmla="*/ 416 h 817"/>
                <a:gd name="T56" fmla="*/ 199 w 657"/>
                <a:gd name="T57" fmla="*/ 492 h 817"/>
                <a:gd name="T58" fmla="*/ 24 w 657"/>
                <a:gd name="T59" fmla="*/ 554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7" h="817">
                  <a:moveTo>
                    <a:pt x="24" y="554"/>
                  </a:moveTo>
                  <a:lnTo>
                    <a:pt x="68" y="620"/>
                  </a:lnTo>
                  <a:lnTo>
                    <a:pt x="64" y="654"/>
                  </a:lnTo>
                  <a:lnTo>
                    <a:pt x="5" y="678"/>
                  </a:lnTo>
                  <a:lnTo>
                    <a:pt x="0" y="733"/>
                  </a:lnTo>
                  <a:lnTo>
                    <a:pt x="68" y="733"/>
                  </a:lnTo>
                  <a:lnTo>
                    <a:pt x="92" y="714"/>
                  </a:lnTo>
                  <a:lnTo>
                    <a:pt x="221" y="714"/>
                  </a:lnTo>
                  <a:lnTo>
                    <a:pt x="337" y="817"/>
                  </a:lnTo>
                  <a:lnTo>
                    <a:pt x="353" y="767"/>
                  </a:lnTo>
                  <a:lnTo>
                    <a:pt x="439" y="767"/>
                  </a:lnTo>
                  <a:lnTo>
                    <a:pt x="441" y="705"/>
                  </a:lnTo>
                  <a:lnTo>
                    <a:pt x="353" y="620"/>
                  </a:lnTo>
                  <a:lnTo>
                    <a:pt x="372" y="573"/>
                  </a:lnTo>
                  <a:lnTo>
                    <a:pt x="462" y="567"/>
                  </a:lnTo>
                  <a:lnTo>
                    <a:pt x="585" y="310"/>
                  </a:lnTo>
                  <a:lnTo>
                    <a:pt x="518" y="257"/>
                  </a:lnTo>
                  <a:lnTo>
                    <a:pt x="493" y="168"/>
                  </a:lnTo>
                  <a:lnTo>
                    <a:pt x="657" y="153"/>
                  </a:lnTo>
                  <a:lnTo>
                    <a:pt x="560" y="14"/>
                  </a:lnTo>
                  <a:lnTo>
                    <a:pt x="508" y="0"/>
                  </a:lnTo>
                  <a:lnTo>
                    <a:pt x="487" y="26"/>
                  </a:lnTo>
                  <a:lnTo>
                    <a:pt x="470" y="27"/>
                  </a:lnTo>
                  <a:lnTo>
                    <a:pt x="373" y="89"/>
                  </a:lnTo>
                  <a:lnTo>
                    <a:pt x="405" y="143"/>
                  </a:lnTo>
                  <a:lnTo>
                    <a:pt x="369" y="180"/>
                  </a:lnTo>
                  <a:lnTo>
                    <a:pt x="325" y="345"/>
                  </a:lnTo>
                  <a:lnTo>
                    <a:pt x="215" y="416"/>
                  </a:lnTo>
                  <a:lnTo>
                    <a:pt x="199" y="492"/>
                  </a:lnTo>
                  <a:lnTo>
                    <a:pt x="24" y="55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6" name="Freeform 271">
              <a:extLst>
                <a:ext uri="{FF2B5EF4-FFF2-40B4-BE49-F238E27FC236}">
                  <a16:creationId xmlns:a16="http://schemas.microsoft.com/office/drawing/2014/main" id="{1EB670BE-4691-4FFD-BDDC-C5649A73D334}"/>
                </a:ext>
              </a:extLst>
            </p:cNvPr>
            <p:cNvSpPr>
              <a:spLocks/>
            </p:cNvSpPr>
            <p:nvPr/>
          </p:nvSpPr>
          <p:spPr bwMode="auto">
            <a:xfrm>
              <a:off x="7611269" y="3056731"/>
              <a:ext cx="663575" cy="777875"/>
            </a:xfrm>
            <a:custGeom>
              <a:avLst/>
              <a:gdLst>
                <a:gd name="T0" fmla="*/ 491 w 1253"/>
                <a:gd name="T1" fmla="*/ 1471 h 1471"/>
                <a:gd name="T2" fmla="*/ 569 w 1253"/>
                <a:gd name="T3" fmla="*/ 1432 h 1471"/>
                <a:gd name="T4" fmla="*/ 616 w 1253"/>
                <a:gd name="T5" fmla="*/ 1264 h 1471"/>
                <a:gd name="T6" fmla="*/ 614 w 1253"/>
                <a:gd name="T7" fmla="*/ 1057 h 1471"/>
                <a:gd name="T8" fmla="*/ 881 w 1253"/>
                <a:gd name="T9" fmla="*/ 768 h 1471"/>
                <a:gd name="T10" fmla="*/ 881 w 1253"/>
                <a:gd name="T11" fmla="*/ 700 h 1471"/>
                <a:gd name="T12" fmla="*/ 935 w 1253"/>
                <a:gd name="T13" fmla="*/ 679 h 1471"/>
                <a:gd name="T14" fmla="*/ 933 w 1253"/>
                <a:gd name="T15" fmla="*/ 600 h 1471"/>
                <a:gd name="T16" fmla="*/ 874 w 1253"/>
                <a:gd name="T17" fmla="*/ 485 h 1471"/>
                <a:gd name="T18" fmla="*/ 908 w 1253"/>
                <a:gd name="T19" fmla="*/ 423 h 1471"/>
                <a:gd name="T20" fmla="*/ 982 w 1253"/>
                <a:gd name="T21" fmla="*/ 491 h 1471"/>
                <a:gd name="T22" fmla="*/ 1077 w 1253"/>
                <a:gd name="T23" fmla="*/ 495 h 1471"/>
                <a:gd name="T24" fmla="*/ 1077 w 1253"/>
                <a:gd name="T25" fmla="*/ 534 h 1471"/>
                <a:gd name="T26" fmla="*/ 1048 w 1253"/>
                <a:gd name="T27" fmla="*/ 566 h 1471"/>
                <a:gd name="T28" fmla="*/ 1054 w 1253"/>
                <a:gd name="T29" fmla="*/ 584 h 1471"/>
                <a:gd name="T30" fmla="*/ 1105 w 1253"/>
                <a:gd name="T31" fmla="*/ 586 h 1471"/>
                <a:gd name="T32" fmla="*/ 1116 w 1253"/>
                <a:gd name="T33" fmla="*/ 642 h 1471"/>
                <a:gd name="T34" fmla="*/ 1130 w 1253"/>
                <a:gd name="T35" fmla="*/ 642 h 1471"/>
                <a:gd name="T36" fmla="*/ 1169 w 1253"/>
                <a:gd name="T37" fmla="*/ 574 h 1471"/>
                <a:gd name="T38" fmla="*/ 1188 w 1253"/>
                <a:gd name="T39" fmla="*/ 395 h 1471"/>
                <a:gd name="T40" fmla="*/ 1251 w 1253"/>
                <a:gd name="T41" fmla="*/ 350 h 1471"/>
                <a:gd name="T42" fmla="*/ 1253 w 1253"/>
                <a:gd name="T43" fmla="*/ 288 h 1471"/>
                <a:gd name="T44" fmla="*/ 1228 w 1253"/>
                <a:gd name="T45" fmla="*/ 239 h 1471"/>
                <a:gd name="T46" fmla="*/ 1188 w 1253"/>
                <a:gd name="T47" fmla="*/ 237 h 1471"/>
                <a:gd name="T48" fmla="*/ 1030 w 1253"/>
                <a:gd name="T49" fmla="*/ 341 h 1471"/>
                <a:gd name="T50" fmla="*/ 1040 w 1253"/>
                <a:gd name="T51" fmla="*/ 408 h 1471"/>
                <a:gd name="T52" fmla="*/ 929 w 1253"/>
                <a:gd name="T53" fmla="*/ 408 h 1471"/>
                <a:gd name="T54" fmla="*/ 891 w 1253"/>
                <a:gd name="T55" fmla="*/ 360 h 1471"/>
                <a:gd name="T56" fmla="*/ 869 w 1253"/>
                <a:gd name="T57" fmla="*/ 363 h 1471"/>
                <a:gd name="T58" fmla="*/ 876 w 1253"/>
                <a:gd name="T59" fmla="*/ 429 h 1471"/>
                <a:gd name="T60" fmla="*/ 637 w 1253"/>
                <a:gd name="T61" fmla="*/ 412 h 1471"/>
                <a:gd name="T62" fmla="*/ 489 w 1253"/>
                <a:gd name="T63" fmla="*/ 346 h 1471"/>
                <a:gd name="T64" fmla="*/ 481 w 1253"/>
                <a:gd name="T65" fmla="*/ 265 h 1471"/>
                <a:gd name="T66" fmla="*/ 382 w 1253"/>
                <a:gd name="T67" fmla="*/ 204 h 1471"/>
                <a:gd name="T68" fmla="*/ 381 w 1253"/>
                <a:gd name="T69" fmla="*/ 77 h 1471"/>
                <a:gd name="T70" fmla="*/ 313 w 1253"/>
                <a:gd name="T71" fmla="*/ 0 h 1471"/>
                <a:gd name="T72" fmla="*/ 157 w 1253"/>
                <a:gd name="T73" fmla="*/ 15 h 1471"/>
                <a:gd name="T74" fmla="*/ 174 w 1253"/>
                <a:gd name="T75" fmla="*/ 82 h 1471"/>
                <a:gd name="T76" fmla="*/ 250 w 1253"/>
                <a:gd name="T77" fmla="*/ 144 h 1471"/>
                <a:gd name="T78" fmla="*/ 118 w 1253"/>
                <a:gd name="T79" fmla="*/ 414 h 1471"/>
                <a:gd name="T80" fmla="*/ 30 w 1253"/>
                <a:gd name="T81" fmla="*/ 421 h 1471"/>
                <a:gd name="T82" fmla="*/ 16 w 1253"/>
                <a:gd name="T83" fmla="*/ 454 h 1471"/>
                <a:gd name="T84" fmla="*/ 102 w 1253"/>
                <a:gd name="T85" fmla="*/ 534 h 1471"/>
                <a:gd name="T86" fmla="*/ 98 w 1253"/>
                <a:gd name="T87" fmla="*/ 616 h 1471"/>
                <a:gd name="T88" fmla="*/ 10 w 1253"/>
                <a:gd name="T89" fmla="*/ 614 h 1471"/>
                <a:gd name="T90" fmla="*/ 0 w 1253"/>
                <a:gd name="T91" fmla="*/ 655 h 1471"/>
                <a:gd name="T92" fmla="*/ 74 w 1253"/>
                <a:gd name="T93" fmla="*/ 652 h 1471"/>
                <a:gd name="T94" fmla="*/ 76 w 1253"/>
                <a:gd name="T95" fmla="*/ 683 h 1471"/>
                <a:gd name="T96" fmla="*/ 23 w 1253"/>
                <a:gd name="T97" fmla="*/ 712 h 1471"/>
                <a:gd name="T98" fmla="*/ 56 w 1253"/>
                <a:gd name="T99" fmla="*/ 775 h 1471"/>
                <a:gd name="T100" fmla="*/ 122 w 1253"/>
                <a:gd name="T101" fmla="*/ 797 h 1471"/>
                <a:gd name="T102" fmla="*/ 163 w 1253"/>
                <a:gd name="T103" fmla="*/ 767 h 1471"/>
                <a:gd name="T104" fmla="*/ 181 w 1253"/>
                <a:gd name="T105" fmla="*/ 714 h 1471"/>
                <a:gd name="T106" fmla="*/ 205 w 1253"/>
                <a:gd name="T107" fmla="*/ 703 h 1471"/>
                <a:gd name="T108" fmla="*/ 232 w 1253"/>
                <a:gd name="T109" fmla="*/ 731 h 1471"/>
                <a:gd name="T110" fmla="*/ 224 w 1253"/>
                <a:gd name="T111" fmla="*/ 799 h 1471"/>
                <a:gd name="T112" fmla="*/ 205 w 1253"/>
                <a:gd name="T113" fmla="*/ 831 h 1471"/>
                <a:gd name="T114" fmla="*/ 210 w 1253"/>
                <a:gd name="T115" fmla="*/ 886 h 1471"/>
                <a:gd name="T116" fmla="*/ 491 w 1253"/>
                <a:gd name="T117" fmla="*/ 1471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53" h="1471">
                  <a:moveTo>
                    <a:pt x="491" y="1471"/>
                  </a:moveTo>
                  <a:lnTo>
                    <a:pt x="569" y="1432"/>
                  </a:lnTo>
                  <a:lnTo>
                    <a:pt x="616" y="1264"/>
                  </a:lnTo>
                  <a:lnTo>
                    <a:pt x="614" y="1057"/>
                  </a:lnTo>
                  <a:lnTo>
                    <a:pt x="881" y="768"/>
                  </a:lnTo>
                  <a:lnTo>
                    <a:pt x="881" y="700"/>
                  </a:lnTo>
                  <a:lnTo>
                    <a:pt x="935" y="679"/>
                  </a:lnTo>
                  <a:lnTo>
                    <a:pt x="933" y="600"/>
                  </a:lnTo>
                  <a:lnTo>
                    <a:pt x="874" y="485"/>
                  </a:lnTo>
                  <a:lnTo>
                    <a:pt x="908" y="423"/>
                  </a:lnTo>
                  <a:lnTo>
                    <a:pt x="982" y="491"/>
                  </a:lnTo>
                  <a:lnTo>
                    <a:pt x="1077" y="495"/>
                  </a:lnTo>
                  <a:lnTo>
                    <a:pt x="1077" y="534"/>
                  </a:lnTo>
                  <a:lnTo>
                    <a:pt x="1048" y="566"/>
                  </a:lnTo>
                  <a:lnTo>
                    <a:pt x="1054" y="584"/>
                  </a:lnTo>
                  <a:lnTo>
                    <a:pt x="1105" y="586"/>
                  </a:lnTo>
                  <a:lnTo>
                    <a:pt x="1116" y="642"/>
                  </a:lnTo>
                  <a:lnTo>
                    <a:pt x="1130" y="642"/>
                  </a:lnTo>
                  <a:lnTo>
                    <a:pt x="1169" y="574"/>
                  </a:lnTo>
                  <a:lnTo>
                    <a:pt x="1188" y="395"/>
                  </a:lnTo>
                  <a:lnTo>
                    <a:pt x="1251" y="350"/>
                  </a:lnTo>
                  <a:lnTo>
                    <a:pt x="1253" y="288"/>
                  </a:lnTo>
                  <a:lnTo>
                    <a:pt x="1228" y="239"/>
                  </a:lnTo>
                  <a:lnTo>
                    <a:pt x="1188" y="237"/>
                  </a:lnTo>
                  <a:lnTo>
                    <a:pt x="1030" y="341"/>
                  </a:lnTo>
                  <a:lnTo>
                    <a:pt x="1040" y="408"/>
                  </a:lnTo>
                  <a:lnTo>
                    <a:pt x="929" y="408"/>
                  </a:lnTo>
                  <a:lnTo>
                    <a:pt x="891" y="360"/>
                  </a:lnTo>
                  <a:lnTo>
                    <a:pt x="869" y="363"/>
                  </a:lnTo>
                  <a:lnTo>
                    <a:pt x="876" y="429"/>
                  </a:lnTo>
                  <a:lnTo>
                    <a:pt x="637" y="412"/>
                  </a:lnTo>
                  <a:lnTo>
                    <a:pt x="489" y="346"/>
                  </a:lnTo>
                  <a:lnTo>
                    <a:pt x="481" y="265"/>
                  </a:lnTo>
                  <a:lnTo>
                    <a:pt x="382" y="204"/>
                  </a:lnTo>
                  <a:lnTo>
                    <a:pt x="381" y="77"/>
                  </a:lnTo>
                  <a:lnTo>
                    <a:pt x="313" y="0"/>
                  </a:lnTo>
                  <a:lnTo>
                    <a:pt x="157" y="15"/>
                  </a:lnTo>
                  <a:lnTo>
                    <a:pt x="174" y="82"/>
                  </a:lnTo>
                  <a:lnTo>
                    <a:pt x="250" y="144"/>
                  </a:lnTo>
                  <a:lnTo>
                    <a:pt x="118" y="414"/>
                  </a:lnTo>
                  <a:lnTo>
                    <a:pt x="30" y="421"/>
                  </a:lnTo>
                  <a:lnTo>
                    <a:pt x="16" y="454"/>
                  </a:lnTo>
                  <a:lnTo>
                    <a:pt x="102" y="534"/>
                  </a:lnTo>
                  <a:lnTo>
                    <a:pt x="98" y="616"/>
                  </a:lnTo>
                  <a:lnTo>
                    <a:pt x="10" y="614"/>
                  </a:lnTo>
                  <a:lnTo>
                    <a:pt x="0" y="655"/>
                  </a:lnTo>
                  <a:lnTo>
                    <a:pt x="74" y="652"/>
                  </a:lnTo>
                  <a:lnTo>
                    <a:pt x="76" y="683"/>
                  </a:lnTo>
                  <a:lnTo>
                    <a:pt x="23" y="712"/>
                  </a:lnTo>
                  <a:lnTo>
                    <a:pt x="56" y="775"/>
                  </a:lnTo>
                  <a:lnTo>
                    <a:pt x="122" y="797"/>
                  </a:lnTo>
                  <a:lnTo>
                    <a:pt x="163" y="767"/>
                  </a:lnTo>
                  <a:lnTo>
                    <a:pt x="181" y="714"/>
                  </a:lnTo>
                  <a:lnTo>
                    <a:pt x="205" y="703"/>
                  </a:lnTo>
                  <a:lnTo>
                    <a:pt x="232" y="731"/>
                  </a:lnTo>
                  <a:lnTo>
                    <a:pt x="224" y="799"/>
                  </a:lnTo>
                  <a:lnTo>
                    <a:pt x="205" y="831"/>
                  </a:lnTo>
                  <a:lnTo>
                    <a:pt x="210" y="886"/>
                  </a:lnTo>
                  <a:lnTo>
                    <a:pt x="491" y="147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7" name="Freeform 272">
              <a:extLst>
                <a:ext uri="{FF2B5EF4-FFF2-40B4-BE49-F238E27FC236}">
                  <a16:creationId xmlns:a16="http://schemas.microsoft.com/office/drawing/2014/main" id="{39CA59AC-AC63-48CF-9DCE-C67AEF59B427}"/>
                </a:ext>
              </a:extLst>
            </p:cNvPr>
            <p:cNvSpPr>
              <a:spLocks/>
            </p:cNvSpPr>
            <p:nvPr/>
          </p:nvSpPr>
          <p:spPr bwMode="auto">
            <a:xfrm>
              <a:off x="7873207" y="3188493"/>
              <a:ext cx="193675" cy="88900"/>
            </a:xfrm>
            <a:custGeom>
              <a:avLst/>
              <a:gdLst>
                <a:gd name="T0" fmla="*/ 0 w 368"/>
                <a:gd name="T1" fmla="*/ 16 h 168"/>
                <a:gd name="T2" fmla="*/ 8 w 368"/>
                <a:gd name="T3" fmla="*/ 89 h 168"/>
                <a:gd name="T4" fmla="*/ 146 w 368"/>
                <a:gd name="T5" fmla="*/ 152 h 168"/>
                <a:gd name="T6" fmla="*/ 368 w 368"/>
                <a:gd name="T7" fmla="*/ 168 h 168"/>
                <a:gd name="T8" fmla="*/ 360 w 368"/>
                <a:gd name="T9" fmla="*/ 114 h 168"/>
                <a:gd name="T10" fmla="*/ 212 w 368"/>
                <a:gd name="T11" fmla="*/ 74 h 168"/>
                <a:gd name="T12" fmla="*/ 86 w 368"/>
                <a:gd name="T13" fmla="*/ 0 h 168"/>
                <a:gd name="T14" fmla="*/ 0 w 368"/>
                <a:gd name="T15" fmla="*/ 16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168">
                  <a:moveTo>
                    <a:pt x="0" y="16"/>
                  </a:moveTo>
                  <a:lnTo>
                    <a:pt x="8" y="89"/>
                  </a:lnTo>
                  <a:lnTo>
                    <a:pt x="146" y="152"/>
                  </a:lnTo>
                  <a:lnTo>
                    <a:pt x="368" y="168"/>
                  </a:lnTo>
                  <a:lnTo>
                    <a:pt x="360" y="114"/>
                  </a:lnTo>
                  <a:lnTo>
                    <a:pt x="212" y="74"/>
                  </a:lnTo>
                  <a:lnTo>
                    <a:pt x="86" y="0"/>
                  </a:lnTo>
                  <a:lnTo>
                    <a:pt x="0"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8" name="Freeform 273">
              <a:extLst>
                <a:ext uri="{FF2B5EF4-FFF2-40B4-BE49-F238E27FC236}">
                  <a16:creationId xmlns:a16="http://schemas.microsoft.com/office/drawing/2014/main" id="{A106E9B1-105C-4861-A8A2-42011F48DBEB}"/>
                </a:ext>
              </a:extLst>
            </p:cNvPr>
            <p:cNvSpPr>
              <a:spLocks/>
            </p:cNvSpPr>
            <p:nvPr/>
          </p:nvSpPr>
          <p:spPr bwMode="auto">
            <a:xfrm>
              <a:off x="8092282" y="3239293"/>
              <a:ext cx="61913" cy="26988"/>
            </a:xfrm>
            <a:custGeom>
              <a:avLst/>
              <a:gdLst>
                <a:gd name="T0" fmla="*/ 0 w 116"/>
                <a:gd name="T1" fmla="*/ 12 h 50"/>
                <a:gd name="T2" fmla="*/ 26 w 116"/>
                <a:gd name="T3" fmla="*/ 49 h 50"/>
                <a:gd name="T4" fmla="*/ 116 w 116"/>
                <a:gd name="T5" fmla="*/ 50 h 50"/>
                <a:gd name="T6" fmla="*/ 107 w 116"/>
                <a:gd name="T7" fmla="*/ 0 h 50"/>
                <a:gd name="T8" fmla="*/ 0 w 116"/>
                <a:gd name="T9" fmla="*/ 12 h 50"/>
              </a:gdLst>
              <a:ahLst/>
              <a:cxnLst>
                <a:cxn ang="0">
                  <a:pos x="T0" y="T1"/>
                </a:cxn>
                <a:cxn ang="0">
                  <a:pos x="T2" y="T3"/>
                </a:cxn>
                <a:cxn ang="0">
                  <a:pos x="T4" y="T5"/>
                </a:cxn>
                <a:cxn ang="0">
                  <a:pos x="T6" y="T7"/>
                </a:cxn>
                <a:cxn ang="0">
                  <a:pos x="T8" y="T9"/>
                </a:cxn>
              </a:cxnLst>
              <a:rect l="0" t="0" r="r" b="b"/>
              <a:pathLst>
                <a:path w="116" h="50">
                  <a:moveTo>
                    <a:pt x="0" y="12"/>
                  </a:moveTo>
                  <a:lnTo>
                    <a:pt x="26" y="49"/>
                  </a:lnTo>
                  <a:lnTo>
                    <a:pt x="116" y="50"/>
                  </a:lnTo>
                  <a:lnTo>
                    <a:pt x="107" y="0"/>
                  </a:lnTo>
                  <a:lnTo>
                    <a:pt x="0" y="1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9" name="Freeform 274">
              <a:extLst>
                <a:ext uri="{FF2B5EF4-FFF2-40B4-BE49-F238E27FC236}">
                  <a16:creationId xmlns:a16="http://schemas.microsoft.com/office/drawing/2014/main" id="{B934772F-862E-431A-9906-C462D5572061}"/>
                </a:ext>
              </a:extLst>
            </p:cNvPr>
            <p:cNvSpPr>
              <a:spLocks/>
            </p:cNvSpPr>
            <p:nvPr/>
          </p:nvSpPr>
          <p:spPr bwMode="auto">
            <a:xfrm>
              <a:off x="8082757" y="3291681"/>
              <a:ext cx="123825" cy="155575"/>
            </a:xfrm>
            <a:custGeom>
              <a:avLst/>
              <a:gdLst>
                <a:gd name="T0" fmla="*/ 22 w 234"/>
                <a:gd name="T1" fmla="*/ 0 h 294"/>
                <a:gd name="T2" fmla="*/ 0 w 234"/>
                <a:gd name="T3" fmla="*/ 40 h 294"/>
                <a:gd name="T4" fmla="*/ 58 w 234"/>
                <a:gd name="T5" fmla="*/ 151 h 294"/>
                <a:gd name="T6" fmla="*/ 60 w 234"/>
                <a:gd name="T7" fmla="*/ 237 h 294"/>
                <a:gd name="T8" fmla="*/ 70 w 234"/>
                <a:gd name="T9" fmla="*/ 260 h 294"/>
                <a:gd name="T10" fmla="*/ 138 w 234"/>
                <a:gd name="T11" fmla="*/ 261 h 294"/>
                <a:gd name="T12" fmla="*/ 177 w 234"/>
                <a:gd name="T13" fmla="*/ 225 h 294"/>
                <a:gd name="T14" fmla="*/ 205 w 234"/>
                <a:gd name="T15" fmla="*/ 241 h 294"/>
                <a:gd name="T16" fmla="*/ 211 w 234"/>
                <a:gd name="T17" fmla="*/ 294 h 294"/>
                <a:gd name="T18" fmla="*/ 233 w 234"/>
                <a:gd name="T19" fmla="*/ 280 h 294"/>
                <a:gd name="T20" fmla="*/ 234 w 234"/>
                <a:gd name="T21" fmla="*/ 213 h 294"/>
                <a:gd name="T22" fmla="*/ 216 w 234"/>
                <a:gd name="T23" fmla="*/ 211 h 294"/>
                <a:gd name="T24" fmla="*/ 204 w 234"/>
                <a:gd name="T25" fmla="*/ 154 h 294"/>
                <a:gd name="T26" fmla="*/ 156 w 234"/>
                <a:gd name="T27" fmla="*/ 152 h 294"/>
                <a:gd name="T28" fmla="*/ 145 w 234"/>
                <a:gd name="T29" fmla="*/ 120 h 294"/>
                <a:gd name="T30" fmla="*/ 173 w 234"/>
                <a:gd name="T31" fmla="*/ 82 h 294"/>
                <a:gd name="T32" fmla="*/ 174 w 234"/>
                <a:gd name="T33" fmla="*/ 62 h 294"/>
                <a:gd name="T34" fmla="*/ 89 w 234"/>
                <a:gd name="T35" fmla="*/ 62 h 294"/>
                <a:gd name="T36" fmla="*/ 22 w 234"/>
                <a:gd name="T3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294">
                  <a:moveTo>
                    <a:pt x="22" y="0"/>
                  </a:moveTo>
                  <a:lnTo>
                    <a:pt x="0" y="40"/>
                  </a:lnTo>
                  <a:lnTo>
                    <a:pt x="58" y="151"/>
                  </a:lnTo>
                  <a:lnTo>
                    <a:pt x="60" y="237"/>
                  </a:lnTo>
                  <a:lnTo>
                    <a:pt x="70" y="260"/>
                  </a:lnTo>
                  <a:lnTo>
                    <a:pt x="138" y="261"/>
                  </a:lnTo>
                  <a:lnTo>
                    <a:pt x="177" y="225"/>
                  </a:lnTo>
                  <a:lnTo>
                    <a:pt x="205" y="241"/>
                  </a:lnTo>
                  <a:lnTo>
                    <a:pt x="211" y="294"/>
                  </a:lnTo>
                  <a:lnTo>
                    <a:pt x="233" y="280"/>
                  </a:lnTo>
                  <a:lnTo>
                    <a:pt x="234" y="213"/>
                  </a:lnTo>
                  <a:lnTo>
                    <a:pt x="216" y="211"/>
                  </a:lnTo>
                  <a:lnTo>
                    <a:pt x="204" y="154"/>
                  </a:lnTo>
                  <a:lnTo>
                    <a:pt x="156" y="152"/>
                  </a:lnTo>
                  <a:lnTo>
                    <a:pt x="145" y="120"/>
                  </a:lnTo>
                  <a:lnTo>
                    <a:pt x="173" y="82"/>
                  </a:lnTo>
                  <a:lnTo>
                    <a:pt x="174" y="62"/>
                  </a:lnTo>
                  <a:lnTo>
                    <a:pt x="89" y="62"/>
                  </a:lnTo>
                  <a:lnTo>
                    <a:pt x="2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0" name="Freeform 275">
              <a:extLst>
                <a:ext uri="{FF2B5EF4-FFF2-40B4-BE49-F238E27FC236}">
                  <a16:creationId xmlns:a16="http://schemas.microsoft.com/office/drawing/2014/main" id="{C1F094BE-B54B-4F89-A38A-B6CF1D65B20C}"/>
                </a:ext>
              </a:extLst>
            </p:cNvPr>
            <p:cNvSpPr>
              <a:spLocks/>
            </p:cNvSpPr>
            <p:nvPr/>
          </p:nvSpPr>
          <p:spPr bwMode="auto">
            <a:xfrm>
              <a:off x="8197057" y="3212306"/>
              <a:ext cx="223838" cy="538163"/>
            </a:xfrm>
            <a:custGeom>
              <a:avLst/>
              <a:gdLst>
                <a:gd name="T0" fmla="*/ 385 w 424"/>
                <a:gd name="T1" fmla="*/ 1015 h 1015"/>
                <a:gd name="T2" fmla="*/ 337 w 424"/>
                <a:gd name="T3" fmla="*/ 939 h 1015"/>
                <a:gd name="T4" fmla="*/ 371 w 424"/>
                <a:gd name="T5" fmla="*/ 891 h 1015"/>
                <a:gd name="T6" fmla="*/ 339 w 424"/>
                <a:gd name="T7" fmla="*/ 832 h 1015"/>
                <a:gd name="T8" fmla="*/ 308 w 424"/>
                <a:gd name="T9" fmla="*/ 826 h 1015"/>
                <a:gd name="T10" fmla="*/ 302 w 424"/>
                <a:gd name="T11" fmla="*/ 725 h 1015"/>
                <a:gd name="T12" fmla="*/ 257 w 424"/>
                <a:gd name="T13" fmla="*/ 636 h 1015"/>
                <a:gd name="T14" fmla="*/ 243 w 424"/>
                <a:gd name="T15" fmla="*/ 657 h 1015"/>
                <a:gd name="T16" fmla="*/ 213 w 424"/>
                <a:gd name="T17" fmla="*/ 710 h 1015"/>
                <a:gd name="T18" fmla="*/ 174 w 424"/>
                <a:gd name="T19" fmla="*/ 715 h 1015"/>
                <a:gd name="T20" fmla="*/ 155 w 424"/>
                <a:gd name="T21" fmla="*/ 691 h 1015"/>
                <a:gd name="T22" fmla="*/ 146 w 424"/>
                <a:gd name="T23" fmla="*/ 623 h 1015"/>
                <a:gd name="T24" fmla="*/ 117 w 424"/>
                <a:gd name="T25" fmla="*/ 569 h 1015"/>
                <a:gd name="T26" fmla="*/ 0 w 424"/>
                <a:gd name="T27" fmla="*/ 458 h 1015"/>
                <a:gd name="T28" fmla="*/ 28 w 424"/>
                <a:gd name="T29" fmla="*/ 439 h 1015"/>
                <a:gd name="T30" fmla="*/ 33 w 424"/>
                <a:gd name="T31" fmla="*/ 359 h 1015"/>
                <a:gd name="T32" fmla="*/ 77 w 424"/>
                <a:gd name="T33" fmla="*/ 287 h 1015"/>
                <a:gd name="T34" fmla="*/ 95 w 424"/>
                <a:gd name="T35" fmla="*/ 108 h 1015"/>
                <a:gd name="T36" fmla="*/ 157 w 424"/>
                <a:gd name="T37" fmla="*/ 65 h 1015"/>
                <a:gd name="T38" fmla="*/ 159 w 424"/>
                <a:gd name="T39" fmla="*/ 0 h 1015"/>
                <a:gd name="T40" fmla="*/ 197 w 424"/>
                <a:gd name="T41" fmla="*/ 13 h 1015"/>
                <a:gd name="T42" fmla="*/ 255 w 424"/>
                <a:gd name="T43" fmla="*/ 98 h 1015"/>
                <a:gd name="T44" fmla="*/ 211 w 424"/>
                <a:gd name="T45" fmla="*/ 191 h 1015"/>
                <a:gd name="T46" fmla="*/ 240 w 424"/>
                <a:gd name="T47" fmla="*/ 264 h 1015"/>
                <a:gd name="T48" fmla="*/ 314 w 424"/>
                <a:gd name="T49" fmla="*/ 293 h 1015"/>
                <a:gd name="T50" fmla="*/ 327 w 424"/>
                <a:gd name="T51" fmla="*/ 372 h 1015"/>
                <a:gd name="T52" fmla="*/ 424 w 424"/>
                <a:gd name="T53" fmla="*/ 387 h 1015"/>
                <a:gd name="T54" fmla="*/ 397 w 424"/>
                <a:gd name="T55" fmla="*/ 434 h 1015"/>
                <a:gd name="T56" fmla="*/ 274 w 424"/>
                <a:gd name="T57" fmla="*/ 481 h 1015"/>
                <a:gd name="T58" fmla="*/ 261 w 424"/>
                <a:gd name="T59" fmla="*/ 561 h 1015"/>
                <a:gd name="T60" fmla="*/ 351 w 424"/>
                <a:gd name="T61" fmla="*/ 676 h 1015"/>
                <a:gd name="T62" fmla="*/ 355 w 424"/>
                <a:gd name="T63" fmla="*/ 738 h 1015"/>
                <a:gd name="T64" fmla="*/ 334 w 424"/>
                <a:gd name="T65" fmla="*/ 760 h 1015"/>
                <a:gd name="T66" fmla="*/ 336 w 424"/>
                <a:gd name="T67" fmla="*/ 779 h 1015"/>
                <a:gd name="T68" fmla="*/ 403 w 424"/>
                <a:gd name="T69" fmla="*/ 877 h 1015"/>
                <a:gd name="T70" fmla="*/ 405 w 424"/>
                <a:gd name="T71" fmla="*/ 980 h 1015"/>
                <a:gd name="T72" fmla="*/ 385 w 424"/>
                <a:gd name="T7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4" h="1015">
                  <a:moveTo>
                    <a:pt x="385" y="1015"/>
                  </a:moveTo>
                  <a:lnTo>
                    <a:pt x="337" y="939"/>
                  </a:lnTo>
                  <a:lnTo>
                    <a:pt x="371" y="891"/>
                  </a:lnTo>
                  <a:lnTo>
                    <a:pt x="339" y="832"/>
                  </a:lnTo>
                  <a:lnTo>
                    <a:pt x="308" y="826"/>
                  </a:lnTo>
                  <a:lnTo>
                    <a:pt x="302" y="725"/>
                  </a:lnTo>
                  <a:lnTo>
                    <a:pt x="257" y="636"/>
                  </a:lnTo>
                  <a:lnTo>
                    <a:pt x="243" y="657"/>
                  </a:lnTo>
                  <a:lnTo>
                    <a:pt x="213" y="710"/>
                  </a:lnTo>
                  <a:lnTo>
                    <a:pt x="174" y="715"/>
                  </a:lnTo>
                  <a:lnTo>
                    <a:pt x="155" y="691"/>
                  </a:lnTo>
                  <a:lnTo>
                    <a:pt x="146" y="623"/>
                  </a:lnTo>
                  <a:lnTo>
                    <a:pt x="117" y="569"/>
                  </a:lnTo>
                  <a:lnTo>
                    <a:pt x="0" y="458"/>
                  </a:lnTo>
                  <a:lnTo>
                    <a:pt x="28" y="439"/>
                  </a:lnTo>
                  <a:lnTo>
                    <a:pt x="33" y="359"/>
                  </a:lnTo>
                  <a:lnTo>
                    <a:pt x="77" y="287"/>
                  </a:lnTo>
                  <a:lnTo>
                    <a:pt x="95" y="108"/>
                  </a:lnTo>
                  <a:lnTo>
                    <a:pt x="157" y="65"/>
                  </a:lnTo>
                  <a:lnTo>
                    <a:pt x="159" y="0"/>
                  </a:lnTo>
                  <a:lnTo>
                    <a:pt x="197" y="13"/>
                  </a:lnTo>
                  <a:lnTo>
                    <a:pt x="255" y="98"/>
                  </a:lnTo>
                  <a:lnTo>
                    <a:pt x="211" y="191"/>
                  </a:lnTo>
                  <a:lnTo>
                    <a:pt x="240" y="264"/>
                  </a:lnTo>
                  <a:lnTo>
                    <a:pt x="314" y="293"/>
                  </a:lnTo>
                  <a:lnTo>
                    <a:pt x="327" y="372"/>
                  </a:lnTo>
                  <a:lnTo>
                    <a:pt x="424" y="387"/>
                  </a:lnTo>
                  <a:lnTo>
                    <a:pt x="397" y="434"/>
                  </a:lnTo>
                  <a:lnTo>
                    <a:pt x="274" y="481"/>
                  </a:lnTo>
                  <a:lnTo>
                    <a:pt x="261" y="561"/>
                  </a:lnTo>
                  <a:lnTo>
                    <a:pt x="351" y="676"/>
                  </a:lnTo>
                  <a:lnTo>
                    <a:pt x="355" y="738"/>
                  </a:lnTo>
                  <a:lnTo>
                    <a:pt x="334" y="760"/>
                  </a:lnTo>
                  <a:lnTo>
                    <a:pt x="336" y="779"/>
                  </a:lnTo>
                  <a:lnTo>
                    <a:pt x="403" y="877"/>
                  </a:lnTo>
                  <a:lnTo>
                    <a:pt x="405" y="980"/>
                  </a:lnTo>
                  <a:lnTo>
                    <a:pt x="385" y="10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1" name="Freeform 276">
              <a:extLst>
                <a:ext uri="{FF2B5EF4-FFF2-40B4-BE49-F238E27FC236}">
                  <a16:creationId xmlns:a16="http://schemas.microsoft.com/office/drawing/2014/main" id="{8C63B692-D3BE-4A84-B7E3-DD98B97BB9CA}"/>
                </a:ext>
              </a:extLst>
            </p:cNvPr>
            <p:cNvSpPr>
              <a:spLocks/>
            </p:cNvSpPr>
            <p:nvPr/>
          </p:nvSpPr>
          <p:spPr bwMode="auto">
            <a:xfrm>
              <a:off x="8343107" y="3448843"/>
              <a:ext cx="214313" cy="436563"/>
            </a:xfrm>
            <a:custGeom>
              <a:avLst/>
              <a:gdLst>
                <a:gd name="T0" fmla="*/ 119 w 404"/>
                <a:gd name="T1" fmla="*/ 0 h 824"/>
                <a:gd name="T2" fmla="*/ 175 w 404"/>
                <a:gd name="T3" fmla="*/ 71 h 824"/>
                <a:gd name="T4" fmla="*/ 175 w 404"/>
                <a:gd name="T5" fmla="*/ 158 h 824"/>
                <a:gd name="T6" fmla="*/ 194 w 404"/>
                <a:gd name="T7" fmla="*/ 167 h 824"/>
                <a:gd name="T8" fmla="*/ 282 w 404"/>
                <a:gd name="T9" fmla="*/ 126 h 824"/>
                <a:gd name="T10" fmla="*/ 299 w 404"/>
                <a:gd name="T11" fmla="*/ 131 h 824"/>
                <a:gd name="T12" fmla="*/ 404 w 404"/>
                <a:gd name="T13" fmla="*/ 253 h 824"/>
                <a:gd name="T14" fmla="*/ 401 w 404"/>
                <a:gd name="T15" fmla="*/ 336 h 824"/>
                <a:gd name="T16" fmla="*/ 366 w 404"/>
                <a:gd name="T17" fmla="*/ 330 h 824"/>
                <a:gd name="T18" fmla="*/ 336 w 404"/>
                <a:gd name="T19" fmla="*/ 311 h 824"/>
                <a:gd name="T20" fmla="*/ 313 w 404"/>
                <a:gd name="T21" fmla="*/ 313 h 824"/>
                <a:gd name="T22" fmla="*/ 272 w 404"/>
                <a:gd name="T23" fmla="*/ 381 h 824"/>
                <a:gd name="T24" fmla="*/ 280 w 404"/>
                <a:gd name="T25" fmla="*/ 417 h 824"/>
                <a:gd name="T26" fmla="*/ 313 w 404"/>
                <a:gd name="T27" fmla="*/ 434 h 824"/>
                <a:gd name="T28" fmla="*/ 311 w 404"/>
                <a:gd name="T29" fmla="*/ 475 h 824"/>
                <a:gd name="T30" fmla="*/ 288 w 404"/>
                <a:gd name="T31" fmla="*/ 486 h 824"/>
                <a:gd name="T32" fmla="*/ 209 w 404"/>
                <a:gd name="T33" fmla="*/ 432 h 824"/>
                <a:gd name="T34" fmla="*/ 209 w 404"/>
                <a:gd name="T35" fmla="*/ 384 h 824"/>
                <a:gd name="T36" fmla="*/ 177 w 404"/>
                <a:gd name="T37" fmla="*/ 382 h 824"/>
                <a:gd name="T38" fmla="*/ 163 w 404"/>
                <a:gd name="T39" fmla="*/ 403 h 824"/>
                <a:gd name="T40" fmla="*/ 156 w 404"/>
                <a:gd name="T41" fmla="*/ 619 h 824"/>
                <a:gd name="T42" fmla="*/ 207 w 404"/>
                <a:gd name="T43" fmla="*/ 713 h 824"/>
                <a:gd name="T44" fmla="*/ 297 w 404"/>
                <a:gd name="T45" fmla="*/ 799 h 824"/>
                <a:gd name="T46" fmla="*/ 293 w 404"/>
                <a:gd name="T47" fmla="*/ 824 h 824"/>
                <a:gd name="T48" fmla="*/ 246 w 404"/>
                <a:gd name="T49" fmla="*/ 822 h 824"/>
                <a:gd name="T50" fmla="*/ 202 w 404"/>
                <a:gd name="T51" fmla="*/ 757 h 824"/>
                <a:gd name="T52" fmla="*/ 155 w 404"/>
                <a:gd name="T53" fmla="*/ 757 h 824"/>
                <a:gd name="T54" fmla="*/ 98 w 404"/>
                <a:gd name="T55" fmla="*/ 711 h 824"/>
                <a:gd name="T56" fmla="*/ 81 w 404"/>
                <a:gd name="T57" fmla="*/ 662 h 824"/>
                <a:gd name="T58" fmla="*/ 106 w 404"/>
                <a:gd name="T59" fmla="*/ 621 h 824"/>
                <a:gd name="T60" fmla="*/ 114 w 404"/>
                <a:gd name="T61" fmla="*/ 585 h 824"/>
                <a:gd name="T62" fmla="*/ 141 w 404"/>
                <a:gd name="T63" fmla="*/ 537 h 824"/>
                <a:gd name="T64" fmla="*/ 140 w 404"/>
                <a:gd name="T65" fmla="*/ 426 h 824"/>
                <a:gd name="T66" fmla="*/ 74 w 404"/>
                <a:gd name="T67" fmla="*/ 331 h 824"/>
                <a:gd name="T68" fmla="*/ 71 w 404"/>
                <a:gd name="T69" fmla="*/ 320 h 824"/>
                <a:gd name="T70" fmla="*/ 92 w 404"/>
                <a:gd name="T71" fmla="*/ 297 h 824"/>
                <a:gd name="T72" fmla="*/ 87 w 404"/>
                <a:gd name="T73" fmla="*/ 222 h 824"/>
                <a:gd name="T74" fmla="*/ 0 w 404"/>
                <a:gd name="T75" fmla="*/ 111 h 824"/>
                <a:gd name="T76" fmla="*/ 10 w 404"/>
                <a:gd name="T77" fmla="*/ 46 h 824"/>
                <a:gd name="T78" fmla="*/ 119 w 404"/>
                <a:gd name="T7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4" h="824">
                  <a:moveTo>
                    <a:pt x="119" y="0"/>
                  </a:moveTo>
                  <a:lnTo>
                    <a:pt x="175" y="71"/>
                  </a:lnTo>
                  <a:lnTo>
                    <a:pt x="175" y="158"/>
                  </a:lnTo>
                  <a:lnTo>
                    <a:pt x="194" y="167"/>
                  </a:lnTo>
                  <a:lnTo>
                    <a:pt x="282" y="126"/>
                  </a:lnTo>
                  <a:lnTo>
                    <a:pt x="299" y="131"/>
                  </a:lnTo>
                  <a:lnTo>
                    <a:pt x="404" y="253"/>
                  </a:lnTo>
                  <a:lnTo>
                    <a:pt x="401" y="336"/>
                  </a:lnTo>
                  <a:lnTo>
                    <a:pt x="366" y="330"/>
                  </a:lnTo>
                  <a:lnTo>
                    <a:pt x="336" y="311"/>
                  </a:lnTo>
                  <a:lnTo>
                    <a:pt x="313" y="313"/>
                  </a:lnTo>
                  <a:lnTo>
                    <a:pt x="272" y="381"/>
                  </a:lnTo>
                  <a:lnTo>
                    <a:pt x="280" y="417"/>
                  </a:lnTo>
                  <a:lnTo>
                    <a:pt x="313" y="434"/>
                  </a:lnTo>
                  <a:lnTo>
                    <a:pt x="311" y="475"/>
                  </a:lnTo>
                  <a:lnTo>
                    <a:pt x="288" y="486"/>
                  </a:lnTo>
                  <a:lnTo>
                    <a:pt x="209" y="432"/>
                  </a:lnTo>
                  <a:lnTo>
                    <a:pt x="209" y="384"/>
                  </a:lnTo>
                  <a:lnTo>
                    <a:pt x="177" y="382"/>
                  </a:lnTo>
                  <a:lnTo>
                    <a:pt x="163" y="403"/>
                  </a:lnTo>
                  <a:lnTo>
                    <a:pt x="156" y="619"/>
                  </a:lnTo>
                  <a:lnTo>
                    <a:pt x="207" y="713"/>
                  </a:lnTo>
                  <a:lnTo>
                    <a:pt x="297" y="799"/>
                  </a:lnTo>
                  <a:lnTo>
                    <a:pt x="293" y="824"/>
                  </a:lnTo>
                  <a:lnTo>
                    <a:pt x="246" y="822"/>
                  </a:lnTo>
                  <a:lnTo>
                    <a:pt x="202" y="757"/>
                  </a:lnTo>
                  <a:lnTo>
                    <a:pt x="155" y="757"/>
                  </a:lnTo>
                  <a:lnTo>
                    <a:pt x="98" y="711"/>
                  </a:lnTo>
                  <a:lnTo>
                    <a:pt x="81" y="662"/>
                  </a:lnTo>
                  <a:lnTo>
                    <a:pt x="106" y="621"/>
                  </a:lnTo>
                  <a:lnTo>
                    <a:pt x="114" y="585"/>
                  </a:lnTo>
                  <a:lnTo>
                    <a:pt x="141" y="537"/>
                  </a:lnTo>
                  <a:lnTo>
                    <a:pt x="140" y="426"/>
                  </a:lnTo>
                  <a:lnTo>
                    <a:pt x="74" y="331"/>
                  </a:lnTo>
                  <a:lnTo>
                    <a:pt x="71" y="320"/>
                  </a:lnTo>
                  <a:lnTo>
                    <a:pt x="92" y="297"/>
                  </a:lnTo>
                  <a:lnTo>
                    <a:pt x="87" y="222"/>
                  </a:lnTo>
                  <a:lnTo>
                    <a:pt x="0" y="111"/>
                  </a:lnTo>
                  <a:lnTo>
                    <a:pt x="10" y="46"/>
                  </a:lnTo>
                  <a:lnTo>
                    <a:pt x="11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2" name="Freeform 277">
              <a:extLst>
                <a:ext uri="{FF2B5EF4-FFF2-40B4-BE49-F238E27FC236}">
                  <a16:creationId xmlns:a16="http://schemas.microsoft.com/office/drawing/2014/main" id="{9359802C-69C0-4153-9B26-7EF2620343EB}"/>
                </a:ext>
              </a:extLst>
            </p:cNvPr>
            <p:cNvSpPr>
              <a:spLocks/>
            </p:cNvSpPr>
            <p:nvPr/>
          </p:nvSpPr>
          <p:spPr bwMode="auto">
            <a:xfrm>
              <a:off x="8430419" y="3856831"/>
              <a:ext cx="127000" cy="169863"/>
            </a:xfrm>
            <a:custGeom>
              <a:avLst/>
              <a:gdLst>
                <a:gd name="T0" fmla="*/ 0 w 242"/>
                <a:gd name="T1" fmla="*/ 1 h 322"/>
                <a:gd name="T2" fmla="*/ 35 w 242"/>
                <a:gd name="T3" fmla="*/ 79 h 322"/>
                <a:gd name="T4" fmla="*/ 43 w 242"/>
                <a:gd name="T5" fmla="*/ 179 h 322"/>
                <a:gd name="T6" fmla="*/ 89 w 242"/>
                <a:gd name="T7" fmla="*/ 250 h 322"/>
                <a:gd name="T8" fmla="*/ 200 w 242"/>
                <a:gd name="T9" fmla="*/ 318 h 322"/>
                <a:gd name="T10" fmla="*/ 242 w 242"/>
                <a:gd name="T11" fmla="*/ 322 h 322"/>
                <a:gd name="T12" fmla="*/ 235 w 242"/>
                <a:gd name="T13" fmla="*/ 252 h 322"/>
                <a:gd name="T14" fmla="*/ 198 w 242"/>
                <a:gd name="T15" fmla="*/ 164 h 322"/>
                <a:gd name="T16" fmla="*/ 144 w 242"/>
                <a:gd name="T17" fmla="*/ 50 h 322"/>
                <a:gd name="T18" fmla="*/ 140 w 242"/>
                <a:gd name="T19" fmla="*/ 70 h 322"/>
                <a:gd name="T20" fmla="*/ 75 w 242"/>
                <a:gd name="T21" fmla="*/ 67 h 322"/>
                <a:gd name="T22" fmla="*/ 30 w 242"/>
                <a:gd name="T23" fmla="*/ 0 h 322"/>
                <a:gd name="T24" fmla="*/ 0 w 242"/>
                <a:gd name="T25" fmla="*/ 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 h="322">
                  <a:moveTo>
                    <a:pt x="0" y="1"/>
                  </a:moveTo>
                  <a:lnTo>
                    <a:pt x="35" y="79"/>
                  </a:lnTo>
                  <a:lnTo>
                    <a:pt x="43" y="179"/>
                  </a:lnTo>
                  <a:lnTo>
                    <a:pt x="89" y="250"/>
                  </a:lnTo>
                  <a:lnTo>
                    <a:pt x="200" y="318"/>
                  </a:lnTo>
                  <a:lnTo>
                    <a:pt x="242" y="322"/>
                  </a:lnTo>
                  <a:lnTo>
                    <a:pt x="235" y="252"/>
                  </a:lnTo>
                  <a:lnTo>
                    <a:pt x="198" y="164"/>
                  </a:lnTo>
                  <a:lnTo>
                    <a:pt x="144" y="50"/>
                  </a:lnTo>
                  <a:lnTo>
                    <a:pt x="140" y="70"/>
                  </a:lnTo>
                  <a:lnTo>
                    <a:pt x="75" y="67"/>
                  </a:lnTo>
                  <a:lnTo>
                    <a:pt x="30" y="0"/>
                  </a:lnTo>
                  <a:lnTo>
                    <a:pt x="0" y="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3" name="Freeform 278">
              <a:extLst>
                <a:ext uri="{FF2B5EF4-FFF2-40B4-BE49-F238E27FC236}">
                  <a16:creationId xmlns:a16="http://schemas.microsoft.com/office/drawing/2014/main" id="{AF7BD4A9-2C8F-4A0F-8120-9F640592A699}"/>
                </a:ext>
              </a:extLst>
            </p:cNvPr>
            <p:cNvSpPr>
              <a:spLocks/>
            </p:cNvSpPr>
            <p:nvPr/>
          </p:nvSpPr>
          <p:spPr bwMode="auto">
            <a:xfrm>
              <a:off x="8493919" y="3620293"/>
              <a:ext cx="119063" cy="131763"/>
            </a:xfrm>
            <a:custGeom>
              <a:avLst/>
              <a:gdLst>
                <a:gd name="T0" fmla="*/ 12 w 223"/>
                <a:gd name="T1" fmla="*/ 173 h 249"/>
                <a:gd name="T2" fmla="*/ 82 w 223"/>
                <a:gd name="T3" fmla="*/ 249 h 249"/>
                <a:gd name="T4" fmla="*/ 212 w 223"/>
                <a:gd name="T5" fmla="*/ 152 h 249"/>
                <a:gd name="T6" fmla="*/ 223 w 223"/>
                <a:gd name="T7" fmla="*/ 0 h 249"/>
                <a:gd name="T8" fmla="*/ 156 w 223"/>
                <a:gd name="T9" fmla="*/ 46 h 249"/>
                <a:gd name="T10" fmla="*/ 122 w 223"/>
                <a:gd name="T11" fmla="*/ 26 h 249"/>
                <a:gd name="T12" fmla="*/ 74 w 223"/>
                <a:gd name="T13" fmla="*/ 20 h 249"/>
                <a:gd name="T14" fmla="*/ 48 w 223"/>
                <a:gd name="T15" fmla="*/ 2 h 249"/>
                <a:gd name="T16" fmla="*/ 35 w 223"/>
                <a:gd name="T17" fmla="*/ 2 h 249"/>
                <a:gd name="T18" fmla="*/ 0 w 223"/>
                <a:gd name="T19" fmla="*/ 60 h 249"/>
                <a:gd name="T20" fmla="*/ 5 w 223"/>
                <a:gd name="T21" fmla="*/ 86 h 249"/>
                <a:gd name="T22" fmla="*/ 41 w 223"/>
                <a:gd name="T23" fmla="*/ 105 h 249"/>
                <a:gd name="T24" fmla="*/ 37 w 223"/>
                <a:gd name="T25" fmla="*/ 159 h 249"/>
                <a:gd name="T26" fmla="*/ 12 w 223"/>
                <a:gd name="T27" fmla="*/ 17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249">
                  <a:moveTo>
                    <a:pt x="12" y="173"/>
                  </a:moveTo>
                  <a:lnTo>
                    <a:pt x="82" y="249"/>
                  </a:lnTo>
                  <a:lnTo>
                    <a:pt x="212" y="152"/>
                  </a:lnTo>
                  <a:lnTo>
                    <a:pt x="223" y="0"/>
                  </a:lnTo>
                  <a:lnTo>
                    <a:pt x="156" y="46"/>
                  </a:lnTo>
                  <a:lnTo>
                    <a:pt x="122" y="26"/>
                  </a:lnTo>
                  <a:lnTo>
                    <a:pt x="74" y="20"/>
                  </a:lnTo>
                  <a:lnTo>
                    <a:pt x="48" y="2"/>
                  </a:lnTo>
                  <a:lnTo>
                    <a:pt x="35" y="2"/>
                  </a:lnTo>
                  <a:lnTo>
                    <a:pt x="0" y="60"/>
                  </a:lnTo>
                  <a:lnTo>
                    <a:pt x="5" y="86"/>
                  </a:lnTo>
                  <a:lnTo>
                    <a:pt x="41" y="105"/>
                  </a:lnTo>
                  <a:lnTo>
                    <a:pt x="37" y="159"/>
                  </a:lnTo>
                  <a:lnTo>
                    <a:pt x="12" y="17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4" name="Freeform 279">
              <a:extLst>
                <a:ext uri="{FF2B5EF4-FFF2-40B4-BE49-F238E27FC236}">
                  <a16:creationId xmlns:a16="http://schemas.microsoft.com/office/drawing/2014/main" id="{57E240DE-E312-47D5-BF27-FC9DBD25C366}"/>
                </a:ext>
              </a:extLst>
            </p:cNvPr>
            <p:cNvSpPr>
              <a:spLocks/>
            </p:cNvSpPr>
            <p:nvPr/>
          </p:nvSpPr>
          <p:spPr bwMode="auto">
            <a:xfrm>
              <a:off x="8414544" y="3380581"/>
              <a:ext cx="198438" cy="255588"/>
            </a:xfrm>
            <a:custGeom>
              <a:avLst/>
              <a:gdLst>
                <a:gd name="T0" fmla="*/ 76 w 375"/>
                <a:gd name="T1" fmla="*/ 0 h 482"/>
                <a:gd name="T2" fmla="*/ 34 w 375"/>
                <a:gd name="T3" fmla="*/ 21 h 482"/>
                <a:gd name="T4" fmla="*/ 0 w 375"/>
                <a:gd name="T5" fmla="*/ 122 h 482"/>
                <a:gd name="T6" fmla="*/ 58 w 375"/>
                <a:gd name="T7" fmla="*/ 195 h 482"/>
                <a:gd name="T8" fmla="*/ 48 w 375"/>
                <a:gd name="T9" fmla="*/ 276 h 482"/>
                <a:gd name="T10" fmla="*/ 58 w 375"/>
                <a:gd name="T11" fmla="*/ 279 h 482"/>
                <a:gd name="T12" fmla="*/ 153 w 375"/>
                <a:gd name="T13" fmla="*/ 234 h 482"/>
                <a:gd name="T14" fmla="*/ 282 w 375"/>
                <a:gd name="T15" fmla="*/ 377 h 482"/>
                <a:gd name="T16" fmla="*/ 279 w 375"/>
                <a:gd name="T17" fmla="*/ 467 h 482"/>
                <a:gd name="T18" fmla="*/ 306 w 375"/>
                <a:gd name="T19" fmla="*/ 482 h 482"/>
                <a:gd name="T20" fmla="*/ 375 w 375"/>
                <a:gd name="T21" fmla="*/ 426 h 482"/>
                <a:gd name="T22" fmla="*/ 370 w 375"/>
                <a:gd name="T23" fmla="*/ 382 h 482"/>
                <a:gd name="T24" fmla="*/ 170 w 375"/>
                <a:gd name="T25" fmla="*/ 193 h 482"/>
                <a:gd name="T26" fmla="*/ 172 w 375"/>
                <a:gd name="T27" fmla="*/ 163 h 482"/>
                <a:gd name="T28" fmla="*/ 198 w 375"/>
                <a:gd name="T29" fmla="*/ 146 h 482"/>
                <a:gd name="T30" fmla="*/ 181 w 375"/>
                <a:gd name="T31" fmla="*/ 99 h 482"/>
                <a:gd name="T32" fmla="*/ 98 w 375"/>
                <a:gd name="T33" fmla="*/ 84 h 482"/>
                <a:gd name="T34" fmla="*/ 76 w 375"/>
                <a:gd name="T35"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5" h="482">
                  <a:moveTo>
                    <a:pt x="76" y="0"/>
                  </a:moveTo>
                  <a:lnTo>
                    <a:pt x="34" y="21"/>
                  </a:lnTo>
                  <a:lnTo>
                    <a:pt x="0" y="122"/>
                  </a:lnTo>
                  <a:lnTo>
                    <a:pt x="58" y="195"/>
                  </a:lnTo>
                  <a:lnTo>
                    <a:pt x="48" y="276"/>
                  </a:lnTo>
                  <a:lnTo>
                    <a:pt x="58" y="279"/>
                  </a:lnTo>
                  <a:lnTo>
                    <a:pt x="153" y="234"/>
                  </a:lnTo>
                  <a:lnTo>
                    <a:pt x="282" y="377"/>
                  </a:lnTo>
                  <a:lnTo>
                    <a:pt x="279" y="467"/>
                  </a:lnTo>
                  <a:lnTo>
                    <a:pt x="306" y="482"/>
                  </a:lnTo>
                  <a:lnTo>
                    <a:pt x="375" y="426"/>
                  </a:lnTo>
                  <a:lnTo>
                    <a:pt x="370" y="382"/>
                  </a:lnTo>
                  <a:lnTo>
                    <a:pt x="170" y="193"/>
                  </a:lnTo>
                  <a:lnTo>
                    <a:pt x="172" y="163"/>
                  </a:lnTo>
                  <a:lnTo>
                    <a:pt x="198" y="146"/>
                  </a:lnTo>
                  <a:lnTo>
                    <a:pt x="181" y="99"/>
                  </a:lnTo>
                  <a:lnTo>
                    <a:pt x="98" y="84"/>
                  </a:lnTo>
                  <a:lnTo>
                    <a:pt x="7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5" name="Freeform 280">
              <a:extLst>
                <a:ext uri="{FF2B5EF4-FFF2-40B4-BE49-F238E27FC236}">
                  <a16:creationId xmlns:a16="http://schemas.microsoft.com/office/drawing/2014/main" id="{E7611567-DCFB-467D-9908-84CD69891A35}"/>
                </a:ext>
              </a:extLst>
            </p:cNvPr>
            <p:cNvSpPr>
              <a:spLocks/>
            </p:cNvSpPr>
            <p:nvPr/>
          </p:nvSpPr>
          <p:spPr bwMode="auto">
            <a:xfrm>
              <a:off x="8462169" y="3359943"/>
              <a:ext cx="204788" cy="436563"/>
            </a:xfrm>
            <a:custGeom>
              <a:avLst/>
              <a:gdLst>
                <a:gd name="T0" fmla="*/ 152 w 389"/>
                <a:gd name="T1" fmla="*/ 752 h 827"/>
                <a:gd name="T2" fmla="*/ 173 w 389"/>
                <a:gd name="T3" fmla="*/ 784 h 827"/>
                <a:gd name="T4" fmla="*/ 177 w 389"/>
                <a:gd name="T5" fmla="*/ 821 h 827"/>
                <a:gd name="T6" fmla="*/ 230 w 389"/>
                <a:gd name="T7" fmla="*/ 827 h 827"/>
                <a:gd name="T8" fmla="*/ 296 w 389"/>
                <a:gd name="T9" fmla="*/ 739 h 827"/>
                <a:gd name="T10" fmla="*/ 356 w 389"/>
                <a:gd name="T11" fmla="*/ 722 h 827"/>
                <a:gd name="T12" fmla="*/ 389 w 389"/>
                <a:gd name="T13" fmla="*/ 634 h 827"/>
                <a:gd name="T14" fmla="*/ 374 w 389"/>
                <a:gd name="T15" fmla="*/ 491 h 827"/>
                <a:gd name="T16" fmla="*/ 311 w 389"/>
                <a:gd name="T17" fmla="*/ 404 h 827"/>
                <a:gd name="T18" fmla="*/ 244 w 389"/>
                <a:gd name="T19" fmla="*/ 351 h 827"/>
                <a:gd name="T20" fmla="*/ 160 w 389"/>
                <a:gd name="T21" fmla="*/ 206 h 827"/>
                <a:gd name="T22" fmla="*/ 219 w 389"/>
                <a:gd name="T23" fmla="*/ 103 h 827"/>
                <a:gd name="T24" fmla="*/ 133 w 389"/>
                <a:gd name="T25" fmla="*/ 3 h 827"/>
                <a:gd name="T26" fmla="*/ 63 w 389"/>
                <a:gd name="T27" fmla="*/ 0 h 827"/>
                <a:gd name="T28" fmla="*/ 0 w 389"/>
                <a:gd name="T29" fmla="*/ 34 h 827"/>
                <a:gd name="T30" fmla="*/ 20 w 389"/>
                <a:gd name="T31" fmla="*/ 115 h 827"/>
                <a:gd name="T32" fmla="*/ 103 w 389"/>
                <a:gd name="T33" fmla="*/ 129 h 827"/>
                <a:gd name="T34" fmla="*/ 125 w 389"/>
                <a:gd name="T35" fmla="*/ 192 h 827"/>
                <a:gd name="T36" fmla="*/ 96 w 389"/>
                <a:gd name="T37" fmla="*/ 211 h 827"/>
                <a:gd name="T38" fmla="*/ 98 w 389"/>
                <a:gd name="T39" fmla="*/ 227 h 827"/>
                <a:gd name="T40" fmla="*/ 294 w 389"/>
                <a:gd name="T41" fmla="*/ 419 h 827"/>
                <a:gd name="T42" fmla="*/ 302 w 389"/>
                <a:gd name="T43" fmla="*/ 475 h 827"/>
                <a:gd name="T44" fmla="*/ 290 w 389"/>
                <a:gd name="T45" fmla="*/ 653 h 827"/>
                <a:gd name="T46" fmla="*/ 152 w 389"/>
                <a:gd name="T47" fmla="*/ 752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9" h="827">
                  <a:moveTo>
                    <a:pt x="152" y="752"/>
                  </a:moveTo>
                  <a:lnTo>
                    <a:pt x="173" y="784"/>
                  </a:lnTo>
                  <a:lnTo>
                    <a:pt x="177" y="821"/>
                  </a:lnTo>
                  <a:lnTo>
                    <a:pt x="230" y="827"/>
                  </a:lnTo>
                  <a:lnTo>
                    <a:pt x="296" y="739"/>
                  </a:lnTo>
                  <a:lnTo>
                    <a:pt x="356" y="722"/>
                  </a:lnTo>
                  <a:lnTo>
                    <a:pt x="389" y="634"/>
                  </a:lnTo>
                  <a:lnTo>
                    <a:pt x="374" y="491"/>
                  </a:lnTo>
                  <a:lnTo>
                    <a:pt x="311" y="404"/>
                  </a:lnTo>
                  <a:lnTo>
                    <a:pt x="244" y="351"/>
                  </a:lnTo>
                  <a:lnTo>
                    <a:pt x="160" y="206"/>
                  </a:lnTo>
                  <a:lnTo>
                    <a:pt x="219" y="103"/>
                  </a:lnTo>
                  <a:lnTo>
                    <a:pt x="133" y="3"/>
                  </a:lnTo>
                  <a:lnTo>
                    <a:pt x="63" y="0"/>
                  </a:lnTo>
                  <a:lnTo>
                    <a:pt x="0" y="34"/>
                  </a:lnTo>
                  <a:lnTo>
                    <a:pt x="20" y="115"/>
                  </a:lnTo>
                  <a:lnTo>
                    <a:pt x="103" y="129"/>
                  </a:lnTo>
                  <a:lnTo>
                    <a:pt x="125" y="192"/>
                  </a:lnTo>
                  <a:lnTo>
                    <a:pt x="96" y="211"/>
                  </a:lnTo>
                  <a:lnTo>
                    <a:pt x="98" y="227"/>
                  </a:lnTo>
                  <a:lnTo>
                    <a:pt x="294" y="419"/>
                  </a:lnTo>
                  <a:lnTo>
                    <a:pt x="302" y="475"/>
                  </a:lnTo>
                  <a:lnTo>
                    <a:pt x="290" y="653"/>
                  </a:lnTo>
                  <a:lnTo>
                    <a:pt x="152" y="75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6" name="Freeform 281">
              <a:extLst>
                <a:ext uri="{FF2B5EF4-FFF2-40B4-BE49-F238E27FC236}">
                  <a16:creationId xmlns:a16="http://schemas.microsoft.com/office/drawing/2014/main" id="{C8B0E2AE-DC36-42DA-A31F-E29EAD28418A}"/>
                </a:ext>
              </a:extLst>
            </p:cNvPr>
            <p:cNvSpPr>
              <a:spLocks/>
            </p:cNvSpPr>
            <p:nvPr/>
          </p:nvSpPr>
          <p:spPr bwMode="auto">
            <a:xfrm>
              <a:off x="6823869" y="2834481"/>
              <a:ext cx="138113" cy="69850"/>
            </a:xfrm>
            <a:custGeom>
              <a:avLst/>
              <a:gdLst>
                <a:gd name="T0" fmla="*/ 0 w 261"/>
                <a:gd name="T1" fmla="*/ 25 h 131"/>
                <a:gd name="T2" fmla="*/ 56 w 261"/>
                <a:gd name="T3" fmla="*/ 98 h 131"/>
                <a:gd name="T4" fmla="*/ 126 w 261"/>
                <a:gd name="T5" fmla="*/ 131 h 131"/>
                <a:gd name="T6" fmla="*/ 168 w 261"/>
                <a:gd name="T7" fmla="*/ 131 h 131"/>
                <a:gd name="T8" fmla="*/ 242 w 261"/>
                <a:gd name="T9" fmla="*/ 110 h 131"/>
                <a:gd name="T10" fmla="*/ 261 w 261"/>
                <a:gd name="T11" fmla="*/ 82 h 131"/>
                <a:gd name="T12" fmla="*/ 42 w 261"/>
                <a:gd name="T13" fmla="*/ 0 h 131"/>
                <a:gd name="T14" fmla="*/ 0 w 261"/>
                <a:gd name="T15" fmla="*/ 25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131">
                  <a:moveTo>
                    <a:pt x="0" y="25"/>
                  </a:moveTo>
                  <a:lnTo>
                    <a:pt x="56" y="98"/>
                  </a:lnTo>
                  <a:lnTo>
                    <a:pt x="126" y="131"/>
                  </a:lnTo>
                  <a:lnTo>
                    <a:pt x="168" y="131"/>
                  </a:lnTo>
                  <a:lnTo>
                    <a:pt x="242" y="110"/>
                  </a:lnTo>
                  <a:lnTo>
                    <a:pt x="261" y="82"/>
                  </a:lnTo>
                  <a:lnTo>
                    <a:pt x="42" y="0"/>
                  </a:lnTo>
                  <a:lnTo>
                    <a:pt x="0" y="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7" name="Freeform 282">
              <a:extLst>
                <a:ext uri="{FF2B5EF4-FFF2-40B4-BE49-F238E27FC236}">
                  <a16:creationId xmlns:a16="http://schemas.microsoft.com/office/drawing/2014/main" id="{984B9A24-0206-4927-9513-A0795BD5614F}"/>
                </a:ext>
              </a:extLst>
            </p:cNvPr>
            <p:cNvSpPr>
              <a:spLocks/>
            </p:cNvSpPr>
            <p:nvPr/>
          </p:nvSpPr>
          <p:spPr bwMode="auto">
            <a:xfrm>
              <a:off x="6914357" y="2901156"/>
              <a:ext cx="82550" cy="71438"/>
            </a:xfrm>
            <a:custGeom>
              <a:avLst/>
              <a:gdLst>
                <a:gd name="T0" fmla="*/ 72 w 155"/>
                <a:gd name="T1" fmla="*/ 0 h 135"/>
                <a:gd name="T2" fmla="*/ 155 w 155"/>
                <a:gd name="T3" fmla="*/ 107 h 135"/>
                <a:gd name="T4" fmla="*/ 130 w 155"/>
                <a:gd name="T5" fmla="*/ 135 h 135"/>
                <a:gd name="T6" fmla="*/ 72 w 155"/>
                <a:gd name="T7" fmla="*/ 124 h 135"/>
                <a:gd name="T8" fmla="*/ 0 w 155"/>
                <a:gd name="T9" fmla="*/ 60 h 135"/>
                <a:gd name="T10" fmla="*/ 4 w 155"/>
                <a:gd name="T11" fmla="*/ 18 h 135"/>
                <a:gd name="T12" fmla="*/ 72 w 155"/>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55" h="135">
                  <a:moveTo>
                    <a:pt x="72" y="0"/>
                  </a:moveTo>
                  <a:lnTo>
                    <a:pt x="155" y="107"/>
                  </a:lnTo>
                  <a:lnTo>
                    <a:pt x="130" y="135"/>
                  </a:lnTo>
                  <a:lnTo>
                    <a:pt x="72" y="124"/>
                  </a:lnTo>
                  <a:lnTo>
                    <a:pt x="0" y="60"/>
                  </a:lnTo>
                  <a:lnTo>
                    <a:pt x="4" y="18"/>
                  </a:lnTo>
                  <a:lnTo>
                    <a:pt x="7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8" name="Freeform 283">
              <a:extLst>
                <a:ext uri="{FF2B5EF4-FFF2-40B4-BE49-F238E27FC236}">
                  <a16:creationId xmlns:a16="http://schemas.microsoft.com/office/drawing/2014/main" id="{66E23594-0EFB-4E0F-A808-C59F25E43A90}"/>
                </a:ext>
              </a:extLst>
            </p:cNvPr>
            <p:cNvSpPr>
              <a:spLocks/>
            </p:cNvSpPr>
            <p:nvPr/>
          </p:nvSpPr>
          <p:spPr bwMode="auto">
            <a:xfrm>
              <a:off x="6958807" y="2880518"/>
              <a:ext cx="120650" cy="92075"/>
            </a:xfrm>
            <a:custGeom>
              <a:avLst/>
              <a:gdLst>
                <a:gd name="T0" fmla="*/ 18 w 226"/>
                <a:gd name="T1" fmla="*/ 0 h 175"/>
                <a:gd name="T2" fmla="*/ 0 w 226"/>
                <a:gd name="T3" fmla="*/ 29 h 175"/>
                <a:gd name="T4" fmla="*/ 81 w 226"/>
                <a:gd name="T5" fmla="*/ 136 h 175"/>
                <a:gd name="T6" fmla="*/ 109 w 226"/>
                <a:gd name="T7" fmla="*/ 127 h 175"/>
                <a:gd name="T8" fmla="*/ 155 w 226"/>
                <a:gd name="T9" fmla="*/ 175 h 175"/>
                <a:gd name="T10" fmla="*/ 175 w 226"/>
                <a:gd name="T11" fmla="*/ 90 h 175"/>
                <a:gd name="T12" fmla="*/ 226 w 226"/>
                <a:gd name="T13" fmla="*/ 98 h 175"/>
                <a:gd name="T14" fmla="*/ 224 w 226"/>
                <a:gd name="T15" fmla="*/ 74 h 175"/>
                <a:gd name="T16" fmla="*/ 141 w 226"/>
                <a:gd name="T17" fmla="*/ 2 h 175"/>
                <a:gd name="T18" fmla="*/ 125 w 226"/>
                <a:gd name="T19" fmla="*/ 44 h 175"/>
                <a:gd name="T20" fmla="*/ 18 w 226"/>
                <a:gd name="T21"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175">
                  <a:moveTo>
                    <a:pt x="18" y="0"/>
                  </a:moveTo>
                  <a:lnTo>
                    <a:pt x="0" y="29"/>
                  </a:lnTo>
                  <a:lnTo>
                    <a:pt x="81" y="136"/>
                  </a:lnTo>
                  <a:lnTo>
                    <a:pt x="109" y="127"/>
                  </a:lnTo>
                  <a:lnTo>
                    <a:pt x="155" y="175"/>
                  </a:lnTo>
                  <a:lnTo>
                    <a:pt x="175" y="90"/>
                  </a:lnTo>
                  <a:lnTo>
                    <a:pt x="226" y="98"/>
                  </a:lnTo>
                  <a:lnTo>
                    <a:pt x="224" y="74"/>
                  </a:lnTo>
                  <a:lnTo>
                    <a:pt x="141" y="2"/>
                  </a:lnTo>
                  <a:lnTo>
                    <a:pt x="125" y="4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9" name="Freeform 284">
              <a:extLst>
                <a:ext uri="{FF2B5EF4-FFF2-40B4-BE49-F238E27FC236}">
                  <a16:creationId xmlns:a16="http://schemas.microsoft.com/office/drawing/2014/main" id="{5FF0E550-EEDA-4259-8AE0-99CBB8516E54}"/>
                </a:ext>
              </a:extLst>
            </p:cNvPr>
            <p:cNvSpPr>
              <a:spLocks/>
            </p:cNvSpPr>
            <p:nvPr/>
          </p:nvSpPr>
          <p:spPr bwMode="auto">
            <a:xfrm>
              <a:off x="6941344" y="2955131"/>
              <a:ext cx="512763" cy="403225"/>
            </a:xfrm>
            <a:custGeom>
              <a:avLst/>
              <a:gdLst>
                <a:gd name="T0" fmla="*/ 21 w 968"/>
                <a:gd name="T1" fmla="*/ 34 h 760"/>
                <a:gd name="T2" fmla="*/ 0 w 968"/>
                <a:gd name="T3" fmla="*/ 55 h 760"/>
                <a:gd name="T4" fmla="*/ 3 w 968"/>
                <a:gd name="T5" fmla="*/ 89 h 760"/>
                <a:gd name="T6" fmla="*/ 28 w 968"/>
                <a:gd name="T7" fmla="*/ 126 h 760"/>
                <a:gd name="T8" fmla="*/ 121 w 968"/>
                <a:gd name="T9" fmla="*/ 227 h 760"/>
                <a:gd name="T10" fmla="*/ 107 w 968"/>
                <a:gd name="T11" fmla="*/ 268 h 760"/>
                <a:gd name="T12" fmla="*/ 90 w 968"/>
                <a:gd name="T13" fmla="*/ 268 h 760"/>
                <a:gd name="T14" fmla="*/ 82 w 968"/>
                <a:gd name="T15" fmla="*/ 308 h 760"/>
                <a:gd name="T16" fmla="*/ 135 w 968"/>
                <a:gd name="T17" fmla="*/ 375 h 760"/>
                <a:gd name="T18" fmla="*/ 183 w 968"/>
                <a:gd name="T19" fmla="*/ 379 h 760"/>
                <a:gd name="T20" fmla="*/ 279 w 968"/>
                <a:gd name="T21" fmla="*/ 513 h 760"/>
                <a:gd name="T22" fmla="*/ 334 w 968"/>
                <a:gd name="T23" fmla="*/ 517 h 760"/>
                <a:gd name="T24" fmla="*/ 375 w 968"/>
                <a:gd name="T25" fmla="*/ 547 h 760"/>
                <a:gd name="T26" fmla="*/ 378 w 968"/>
                <a:gd name="T27" fmla="*/ 607 h 760"/>
                <a:gd name="T28" fmla="*/ 544 w 968"/>
                <a:gd name="T29" fmla="*/ 705 h 760"/>
                <a:gd name="T30" fmla="*/ 607 w 968"/>
                <a:gd name="T31" fmla="*/ 705 h 760"/>
                <a:gd name="T32" fmla="*/ 644 w 968"/>
                <a:gd name="T33" fmla="*/ 672 h 760"/>
                <a:gd name="T34" fmla="*/ 693 w 968"/>
                <a:gd name="T35" fmla="*/ 670 h 760"/>
                <a:gd name="T36" fmla="*/ 721 w 968"/>
                <a:gd name="T37" fmla="*/ 735 h 760"/>
                <a:gd name="T38" fmla="*/ 901 w 968"/>
                <a:gd name="T39" fmla="*/ 760 h 760"/>
                <a:gd name="T40" fmla="*/ 906 w 968"/>
                <a:gd name="T41" fmla="*/ 693 h 760"/>
                <a:gd name="T42" fmla="*/ 966 w 968"/>
                <a:gd name="T43" fmla="*/ 672 h 760"/>
                <a:gd name="T44" fmla="*/ 968 w 968"/>
                <a:gd name="T45" fmla="*/ 649 h 760"/>
                <a:gd name="T46" fmla="*/ 922 w 968"/>
                <a:gd name="T47" fmla="*/ 584 h 760"/>
                <a:gd name="T48" fmla="*/ 815 w 968"/>
                <a:gd name="T49" fmla="*/ 499 h 760"/>
                <a:gd name="T50" fmla="*/ 871 w 968"/>
                <a:gd name="T51" fmla="*/ 449 h 760"/>
                <a:gd name="T52" fmla="*/ 867 w 968"/>
                <a:gd name="T53" fmla="*/ 426 h 760"/>
                <a:gd name="T54" fmla="*/ 798 w 968"/>
                <a:gd name="T55" fmla="*/ 415 h 760"/>
                <a:gd name="T56" fmla="*/ 768 w 968"/>
                <a:gd name="T57" fmla="*/ 181 h 760"/>
                <a:gd name="T58" fmla="*/ 764 w 968"/>
                <a:gd name="T59" fmla="*/ 127 h 760"/>
                <a:gd name="T60" fmla="*/ 576 w 968"/>
                <a:gd name="T61" fmla="*/ 55 h 760"/>
                <a:gd name="T62" fmla="*/ 492 w 968"/>
                <a:gd name="T63" fmla="*/ 73 h 760"/>
                <a:gd name="T64" fmla="*/ 446 w 968"/>
                <a:gd name="T65" fmla="*/ 131 h 760"/>
                <a:gd name="T66" fmla="*/ 404 w 968"/>
                <a:gd name="T67" fmla="*/ 128 h 760"/>
                <a:gd name="T68" fmla="*/ 393 w 968"/>
                <a:gd name="T69" fmla="*/ 138 h 760"/>
                <a:gd name="T70" fmla="*/ 300 w 968"/>
                <a:gd name="T71" fmla="*/ 132 h 760"/>
                <a:gd name="T72" fmla="*/ 184 w 968"/>
                <a:gd name="T73" fmla="*/ 47 h 760"/>
                <a:gd name="T74" fmla="*/ 140 w 968"/>
                <a:gd name="T75" fmla="*/ 0 h 760"/>
                <a:gd name="T76" fmla="*/ 121 w 968"/>
                <a:gd name="T77" fmla="*/ 4 h 760"/>
                <a:gd name="T78" fmla="*/ 84 w 968"/>
                <a:gd name="T79" fmla="*/ 46 h 760"/>
                <a:gd name="T80" fmla="*/ 21 w 968"/>
                <a:gd name="T81" fmla="*/ 3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68" h="760">
                  <a:moveTo>
                    <a:pt x="21" y="34"/>
                  </a:moveTo>
                  <a:lnTo>
                    <a:pt x="0" y="55"/>
                  </a:lnTo>
                  <a:lnTo>
                    <a:pt x="3" y="89"/>
                  </a:lnTo>
                  <a:lnTo>
                    <a:pt x="28" y="126"/>
                  </a:lnTo>
                  <a:lnTo>
                    <a:pt x="121" y="227"/>
                  </a:lnTo>
                  <a:lnTo>
                    <a:pt x="107" y="268"/>
                  </a:lnTo>
                  <a:lnTo>
                    <a:pt x="90" y="268"/>
                  </a:lnTo>
                  <a:lnTo>
                    <a:pt x="82" y="308"/>
                  </a:lnTo>
                  <a:lnTo>
                    <a:pt x="135" y="375"/>
                  </a:lnTo>
                  <a:lnTo>
                    <a:pt x="183" y="379"/>
                  </a:lnTo>
                  <a:lnTo>
                    <a:pt x="279" y="513"/>
                  </a:lnTo>
                  <a:lnTo>
                    <a:pt x="334" y="517"/>
                  </a:lnTo>
                  <a:lnTo>
                    <a:pt x="375" y="547"/>
                  </a:lnTo>
                  <a:lnTo>
                    <a:pt x="378" y="607"/>
                  </a:lnTo>
                  <a:lnTo>
                    <a:pt x="544" y="705"/>
                  </a:lnTo>
                  <a:lnTo>
                    <a:pt x="607" y="705"/>
                  </a:lnTo>
                  <a:lnTo>
                    <a:pt x="644" y="672"/>
                  </a:lnTo>
                  <a:lnTo>
                    <a:pt x="693" y="670"/>
                  </a:lnTo>
                  <a:lnTo>
                    <a:pt x="721" y="735"/>
                  </a:lnTo>
                  <a:lnTo>
                    <a:pt x="901" y="760"/>
                  </a:lnTo>
                  <a:lnTo>
                    <a:pt x="906" y="693"/>
                  </a:lnTo>
                  <a:lnTo>
                    <a:pt x="966" y="672"/>
                  </a:lnTo>
                  <a:lnTo>
                    <a:pt x="968" y="649"/>
                  </a:lnTo>
                  <a:lnTo>
                    <a:pt x="922" y="584"/>
                  </a:lnTo>
                  <a:lnTo>
                    <a:pt x="815" y="499"/>
                  </a:lnTo>
                  <a:lnTo>
                    <a:pt x="871" y="449"/>
                  </a:lnTo>
                  <a:lnTo>
                    <a:pt x="867" y="426"/>
                  </a:lnTo>
                  <a:lnTo>
                    <a:pt x="798" y="415"/>
                  </a:lnTo>
                  <a:lnTo>
                    <a:pt x="768" y="181"/>
                  </a:lnTo>
                  <a:lnTo>
                    <a:pt x="764" y="127"/>
                  </a:lnTo>
                  <a:lnTo>
                    <a:pt x="576" y="55"/>
                  </a:lnTo>
                  <a:lnTo>
                    <a:pt x="492" y="73"/>
                  </a:lnTo>
                  <a:lnTo>
                    <a:pt x="446" y="131"/>
                  </a:lnTo>
                  <a:lnTo>
                    <a:pt x="404" y="128"/>
                  </a:lnTo>
                  <a:lnTo>
                    <a:pt x="393" y="138"/>
                  </a:lnTo>
                  <a:lnTo>
                    <a:pt x="300" y="132"/>
                  </a:lnTo>
                  <a:lnTo>
                    <a:pt x="184" y="47"/>
                  </a:lnTo>
                  <a:lnTo>
                    <a:pt x="140" y="0"/>
                  </a:lnTo>
                  <a:lnTo>
                    <a:pt x="121" y="4"/>
                  </a:lnTo>
                  <a:lnTo>
                    <a:pt x="84" y="46"/>
                  </a:lnTo>
                  <a:lnTo>
                    <a:pt x="21"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0" name="Freeform 285">
              <a:extLst>
                <a:ext uri="{FF2B5EF4-FFF2-40B4-BE49-F238E27FC236}">
                  <a16:creationId xmlns:a16="http://schemas.microsoft.com/office/drawing/2014/main" id="{7A3A7F74-FEC1-47F2-B500-D496CF946DE1}"/>
                </a:ext>
              </a:extLst>
            </p:cNvPr>
            <p:cNvSpPr>
              <a:spLocks/>
            </p:cNvSpPr>
            <p:nvPr/>
          </p:nvSpPr>
          <p:spPr bwMode="auto">
            <a:xfrm>
              <a:off x="6495257" y="2885281"/>
              <a:ext cx="454025" cy="193675"/>
            </a:xfrm>
            <a:custGeom>
              <a:avLst/>
              <a:gdLst>
                <a:gd name="T0" fmla="*/ 676 w 858"/>
                <a:gd name="T1" fmla="*/ 16 h 367"/>
                <a:gd name="T2" fmla="*/ 638 w 858"/>
                <a:gd name="T3" fmla="*/ 57 h 367"/>
                <a:gd name="T4" fmla="*/ 497 w 858"/>
                <a:gd name="T5" fmla="*/ 53 h 367"/>
                <a:gd name="T6" fmla="*/ 413 w 858"/>
                <a:gd name="T7" fmla="*/ 2 h 367"/>
                <a:gd name="T8" fmla="*/ 330 w 858"/>
                <a:gd name="T9" fmla="*/ 0 h 367"/>
                <a:gd name="T10" fmla="*/ 236 w 858"/>
                <a:gd name="T11" fmla="*/ 67 h 367"/>
                <a:gd name="T12" fmla="*/ 148 w 858"/>
                <a:gd name="T13" fmla="*/ 71 h 367"/>
                <a:gd name="T14" fmla="*/ 140 w 858"/>
                <a:gd name="T15" fmla="*/ 122 h 367"/>
                <a:gd name="T16" fmla="*/ 39 w 858"/>
                <a:gd name="T17" fmla="*/ 122 h 367"/>
                <a:gd name="T18" fmla="*/ 0 w 858"/>
                <a:gd name="T19" fmla="*/ 158 h 367"/>
                <a:gd name="T20" fmla="*/ 0 w 858"/>
                <a:gd name="T21" fmla="*/ 179 h 367"/>
                <a:gd name="T22" fmla="*/ 24 w 858"/>
                <a:gd name="T23" fmla="*/ 199 h 367"/>
                <a:gd name="T24" fmla="*/ 24 w 858"/>
                <a:gd name="T25" fmla="*/ 220 h 367"/>
                <a:gd name="T26" fmla="*/ 14 w 858"/>
                <a:gd name="T27" fmla="*/ 247 h 367"/>
                <a:gd name="T28" fmla="*/ 24 w 858"/>
                <a:gd name="T29" fmla="*/ 269 h 367"/>
                <a:gd name="T30" fmla="*/ 56 w 858"/>
                <a:gd name="T31" fmla="*/ 254 h 367"/>
                <a:gd name="T32" fmla="*/ 88 w 858"/>
                <a:gd name="T33" fmla="*/ 287 h 367"/>
                <a:gd name="T34" fmla="*/ 80 w 858"/>
                <a:gd name="T35" fmla="*/ 312 h 367"/>
                <a:gd name="T36" fmla="*/ 68 w 858"/>
                <a:gd name="T37" fmla="*/ 328 h 367"/>
                <a:gd name="T38" fmla="*/ 86 w 858"/>
                <a:gd name="T39" fmla="*/ 348 h 367"/>
                <a:gd name="T40" fmla="*/ 174 w 858"/>
                <a:gd name="T41" fmla="*/ 367 h 367"/>
                <a:gd name="T42" fmla="*/ 237 w 858"/>
                <a:gd name="T43" fmla="*/ 340 h 367"/>
                <a:gd name="T44" fmla="*/ 237 w 858"/>
                <a:gd name="T45" fmla="*/ 302 h 367"/>
                <a:gd name="T46" fmla="*/ 266 w 858"/>
                <a:gd name="T47" fmla="*/ 308 h 367"/>
                <a:gd name="T48" fmla="*/ 339 w 858"/>
                <a:gd name="T49" fmla="*/ 350 h 367"/>
                <a:gd name="T50" fmla="*/ 418 w 858"/>
                <a:gd name="T51" fmla="*/ 338 h 367"/>
                <a:gd name="T52" fmla="*/ 451 w 858"/>
                <a:gd name="T53" fmla="*/ 306 h 367"/>
                <a:gd name="T54" fmla="*/ 474 w 858"/>
                <a:gd name="T55" fmla="*/ 314 h 367"/>
                <a:gd name="T56" fmla="*/ 474 w 858"/>
                <a:gd name="T57" fmla="*/ 350 h 367"/>
                <a:gd name="T58" fmla="*/ 504 w 858"/>
                <a:gd name="T59" fmla="*/ 350 h 367"/>
                <a:gd name="T60" fmla="*/ 529 w 858"/>
                <a:gd name="T61" fmla="*/ 300 h 367"/>
                <a:gd name="T62" fmla="*/ 759 w 858"/>
                <a:gd name="T63" fmla="*/ 275 h 367"/>
                <a:gd name="T64" fmla="*/ 858 w 858"/>
                <a:gd name="T65" fmla="*/ 263 h 367"/>
                <a:gd name="T66" fmla="*/ 832 w 858"/>
                <a:gd name="T67" fmla="*/ 228 h 367"/>
                <a:gd name="T68" fmla="*/ 832 w 858"/>
                <a:gd name="T69" fmla="*/ 182 h 367"/>
                <a:gd name="T70" fmla="*/ 851 w 858"/>
                <a:gd name="T71" fmla="*/ 158 h 367"/>
                <a:gd name="T72" fmla="*/ 778 w 858"/>
                <a:gd name="T73" fmla="*/ 100 h 367"/>
                <a:gd name="T74" fmla="*/ 782 w 858"/>
                <a:gd name="T75" fmla="*/ 49 h 367"/>
                <a:gd name="T76" fmla="*/ 743 w 858"/>
                <a:gd name="T77" fmla="*/ 49 h 367"/>
                <a:gd name="T78" fmla="*/ 676 w 858"/>
                <a:gd name="T79" fmla="*/ 1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8" h="367">
                  <a:moveTo>
                    <a:pt x="676" y="16"/>
                  </a:moveTo>
                  <a:lnTo>
                    <a:pt x="638" y="57"/>
                  </a:lnTo>
                  <a:lnTo>
                    <a:pt x="497" y="53"/>
                  </a:lnTo>
                  <a:lnTo>
                    <a:pt x="413" y="2"/>
                  </a:lnTo>
                  <a:lnTo>
                    <a:pt x="330" y="0"/>
                  </a:lnTo>
                  <a:lnTo>
                    <a:pt x="236" y="67"/>
                  </a:lnTo>
                  <a:lnTo>
                    <a:pt x="148" y="71"/>
                  </a:lnTo>
                  <a:lnTo>
                    <a:pt x="140" y="122"/>
                  </a:lnTo>
                  <a:lnTo>
                    <a:pt x="39" y="122"/>
                  </a:lnTo>
                  <a:lnTo>
                    <a:pt x="0" y="158"/>
                  </a:lnTo>
                  <a:lnTo>
                    <a:pt x="0" y="179"/>
                  </a:lnTo>
                  <a:lnTo>
                    <a:pt x="24" y="199"/>
                  </a:lnTo>
                  <a:lnTo>
                    <a:pt x="24" y="220"/>
                  </a:lnTo>
                  <a:lnTo>
                    <a:pt x="14" y="247"/>
                  </a:lnTo>
                  <a:lnTo>
                    <a:pt x="24" y="269"/>
                  </a:lnTo>
                  <a:lnTo>
                    <a:pt x="56" y="254"/>
                  </a:lnTo>
                  <a:lnTo>
                    <a:pt x="88" y="287"/>
                  </a:lnTo>
                  <a:lnTo>
                    <a:pt x="80" y="312"/>
                  </a:lnTo>
                  <a:lnTo>
                    <a:pt x="68" y="328"/>
                  </a:lnTo>
                  <a:lnTo>
                    <a:pt x="86" y="348"/>
                  </a:lnTo>
                  <a:lnTo>
                    <a:pt x="174" y="367"/>
                  </a:lnTo>
                  <a:lnTo>
                    <a:pt x="237" y="340"/>
                  </a:lnTo>
                  <a:lnTo>
                    <a:pt x="237" y="302"/>
                  </a:lnTo>
                  <a:lnTo>
                    <a:pt x="266" y="308"/>
                  </a:lnTo>
                  <a:lnTo>
                    <a:pt x="339" y="350"/>
                  </a:lnTo>
                  <a:lnTo>
                    <a:pt x="418" y="338"/>
                  </a:lnTo>
                  <a:lnTo>
                    <a:pt x="451" y="306"/>
                  </a:lnTo>
                  <a:lnTo>
                    <a:pt x="474" y="314"/>
                  </a:lnTo>
                  <a:lnTo>
                    <a:pt x="474" y="350"/>
                  </a:lnTo>
                  <a:lnTo>
                    <a:pt x="504" y="350"/>
                  </a:lnTo>
                  <a:lnTo>
                    <a:pt x="529" y="300"/>
                  </a:lnTo>
                  <a:lnTo>
                    <a:pt x="759" y="275"/>
                  </a:lnTo>
                  <a:lnTo>
                    <a:pt x="858" y="263"/>
                  </a:lnTo>
                  <a:lnTo>
                    <a:pt x="832" y="228"/>
                  </a:lnTo>
                  <a:lnTo>
                    <a:pt x="832" y="182"/>
                  </a:lnTo>
                  <a:lnTo>
                    <a:pt x="851" y="158"/>
                  </a:lnTo>
                  <a:lnTo>
                    <a:pt x="778" y="100"/>
                  </a:lnTo>
                  <a:lnTo>
                    <a:pt x="782" y="49"/>
                  </a:lnTo>
                  <a:lnTo>
                    <a:pt x="743" y="49"/>
                  </a:lnTo>
                  <a:lnTo>
                    <a:pt x="67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1" name="Freeform 286">
              <a:extLst>
                <a:ext uri="{FF2B5EF4-FFF2-40B4-BE49-F238E27FC236}">
                  <a16:creationId xmlns:a16="http://schemas.microsoft.com/office/drawing/2014/main" id="{62BB0537-7570-4C9E-9787-91C64D1D0D82}"/>
                </a:ext>
              </a:extLst>
            </p:cNvPr>
            <p:cNvSpPr>
              <a:spLocks/>
            </p:cNvSpPr>
            <p:nvPr/>
          </p:nvSpPr>
          <p:spPr bwMode="auto">
            <a:xfrm>
              <a:off x="6974682" y="3545681"/>
              <a:ext cx="266700" cy="179388"/>
            </a:xfrm>
            <a:custGeom>
              <a:avLst/>
              <a:gdLst>
                <a:gd name="T0" fmla="*/ 0 w 504"/>
                <a:gd name="T1" fmla="*/ 139 h 337"/>
                <a:gd name="T2" fmla="*/ 24 w 504"/>
                <a:gd name="T3" fmla="*/ 212 h 337"/>
                <a:gd name="T4" fmla="*/ 24 w 504"/>
                <a:gd name="T5" fmla="*/ 283 h 337"/>
                <a:gd name="T6" fmla="*/ 83 w 504"/>
                <a:gd name="T7" fmla="*/ 337 h 337"/>
                <a:gd name="T8" fmla="*/ 501 w 504"/>
                <a:gd name="T9" fmla="*/ 167 h 337"/>
                <a:gd name="T10" fmla="*/ 504 w 504"/>
                <a:gd name="T11" fmla="*/ 121 h 337"/>
                <a:gd name="T12" fmla="*/ 438 w 504"/>
                <a:gd name="T13" fmla="*/ 0 h 337"/>
                <a:gd name="T14" fmla="*/ 270 w 504"/>
                <a:gd name="T15" fmla="*/ 54 h 337"/>
                <a:gd name="T16" fmla="*/ 173 w 504"/>
                <a:gd name="T17" fmla="*/ 149 h 337"/>
                <a:gd name="T18" fmla="*/ 62 w 504"/>
                <a:gd name="T19" fmla="*/ 82 h 337"/>
                <a:gd name="T20" fmla="*/ 0 w 504"/>
                <a:gd name="T21" fmla="*/ 13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4" h="337">
                  <a:moveTo>
                    <a:pt x="0" y="139"/>
                  </a:moveTo>
                  <a:lnTo>
                    <a:pt x="24" y="212"/>
                  </a:lnTo>
                  <a:lnTo>
                    <a:pt x="24" y="283"/>
                  </a:lnTo>
                  <a:lnTo>
                    <a:pt x="83" y="337"/>
                  </a:lnTo>
                  <a:lnTo>
                    <a:pt x="501" y="167"/>
                  </a:lnTo>
                  <a:lnTo>
                    <a:pt x="504" y="121"/>
                  </a:lnTo>
                  <a:lnTo>
                    <a:pt x="438" y="0"/>
                  </a:lnTo>
                  <a:lnTo>
                    <a:pt x="270" y="54"/>
                  </a:lnTo>
                  <a:lnTo>
                    <a:pt x="173" y="149"/>
                  </a:lnTo>
                  <a:lnTo>
                    <a:pt x="62" y="82"/>
                  </a:lnTo>
                  <a:lnTo>
                    <a:pt x="0" y="13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2" name="Freeform 287">
              <a:extLst>
                <a:ext uri="{FF2B5EF4-FFF2-40B4-BE49-F238E27FC236}">
                  <a16:creationId xmlns:a16="http://schemas.microsoft.com/office/drawing/2014/main" id="{64563CDB-CA62-4613-9EC0-8753AA8AFFAC}"/>
                </a:ext>
              </a:extLst>
            </p:cNvPr>
            <p:cNvSpPr>
              <a:spLocks/>
            </p:cNvSpPr>
            <p:nvPr/>
          </p:nvSpPr>
          <p:spPr bwMode="auto">
            <a:xfrm>
              <a:off x="7212807" y="3371056"/>
              <a:ext cx="177800" cy="234950"/>
            </a:xfrm>
            <a:custGeom>
              <a:avLst/>
              <a:gdLst>
                <a:gd name="T0" fmla="*/ 0 w 336"/>
                <a:gd name="T1" fmla="*/ 325 h 443"/>
                <a:gd name="T2" fmla="*/ 126 w 336"/>
                <a:gd name="T3" fmla="*/ 252 h 443"/>
                <a:gd name="T4" fmla="*/ 149 w 336"/>
                <a:gd name="T5" fmla="*/ 145 h 443"/>
                <a:gd name="T6" fmla="*/ 120 w 336"/>
                <a:gd name="T7" fmla="*/ 129 h 443"/>
                <a:gd name="T8" fmla="*/ 132 w 336"/>
                <a:gd name="T9" fmla="*/ 14 h 443"/>
                <a:gd name="T10" fmla="*/ 156 w 336"/>
                <a:gd name="T11" fmla="*/ 0 h 443"/>
                <a:gd name="T12" fmla="*/ 182 w 336"/>
                <a:gd name="T13" fmla="*/ 40 h 443"/>
                <a:gd name="T14" fmla="*/ 336 w 336"/>
                <a:gd name="T15" fmla="*/ 121 h 443"/>
                <a:gd name="T16" fmla="*/ 336 w 336"/>
                <a:gd name="T17" fmla="*/ 166 h 443"/>
                <a:gd name="T18" fmla="*/ 150 w 336"/>
                <a:gd name="T19" fmla="*/ 440 h 443"/>
                <a:gd name="T20" fmla="*/ 63 w 336"/>
                <a:gd name="T21" fmla="*/ 443 h 443"/>
                <a:gd name="T22" fmla="*/ 0 w 336"/>
                <a:gd name="T23" fmla="*/ 325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443">
                  <a:moveTo>
                    <a:pt x="0" y="325"/>
                  </a:moveTo>
                  <a:lnTo>
                    <a:pt x="126" y="252"/>
                  </a:lnTo>
                  <a:lnTo>
                    <a:pt x="149" y="145"/>
                  </a:lnTo>
                  <a:lnTo>
                    <a:pt x="120" y="129"/>
                  </a:lnTo>
                  <a:lnTo>
                    <a:pt x="132" y="14"/>
                  </a:lnTo>
                  <a:lnTo>
                    <a:pt x="156" y="0"/>
                  </a:lnTo>
                  <a:lnTo>
                    <a:pt x="182" y="40"/>
                  </a:lnTo>
                  <a:lnTo>
                    <a:pt x="336" y="121"/>
                  </a:lnTo>
                  <a:lnTo>
                    <a:pt x="336" y="166"/>
                  </a:lnTo>
                  <a:lnTo>
                    <a:pt x="150" y="440"/>
                  </a:lnTo>
                  <a:lnTo>
                    <a:pt x="63" y="443"/>
                  </a:lnTo>
                  <a:lnTo>
                    <a:pt x="0" y="3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3" name="Freeform 288">
              <a:extLst>
                <a:ext uri="{FF2B5EF4-FFF2-40B4-BE49-F238E27FC236}">
                  <a16:creationId xmlns:a16="http://schemas.microsoft.com/office/drawing/2014/main" id="{6F44900F-EC22-422B-95DC-F82DE4F9CD30}"/>
                </a:ext>
              </a:extLst>
            </p:cNvPr>
            <p:cNvSpPr>
              <a:spLocks/>
            </p:cNvSpPr>
            <p:nvPr/>
          </p:nvSpPr>
          <p:spPr bwMode="auto">
            <a:xfrm>
              <a:off x="7173119" y="3340893"/>
              <a:ext cx="125413" cy="98425"/>
            </a:xfrm>
            <a:custGeom>
              <a:avLst/>
              <a:gdLst>
                <a:gd name="T0" fmla="*/ 0 w 238"/>
                <a:gd name="T1" fmla="*/ 111 h 185"/>
                <a:gd name="T2" fmla="*/ 16 w 238"/>
                <a:gd name="T3" fmla="*/ 170 h 185"/>
                <a:gd name="T4" fmla="*/ 184 w 238"/>
                <a:gd name="T5" fmla="*/ 185 h 185"/>
                <a:gd name="T6" fmla="*/ 196 w 238"/>
                <a:gd name="T7" fmla="*/ 63 h 185"/>
                <a:gd name="T8" fmla="*/ 229 w 238"/>
                <a:gd name="T9" fmla="*/ 45 h 185"/>
                <a:gd name="T10" fmla="*/ 238 w 238"/>
                <a:gd name="T11" fmla="*/ 0 h 185"/>
                <a:gd name="T12" fmla="*/ 184 w 238"/>
                <a:gd name="T13" fmla="*/ 15 h 185"/>
                <a:gd name="T14" fmla="*/ 125 w 238"/>
                <a:gd name="T15" fmla="*/ 104 h 185"/>
                <a:gd name="T16" fmla="*/ 0 w 238"/>
                <a:gd name="T17" fmla="*/ 11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185">
                  <a:moveTo>
                    <a:pt x="0" y="111"/>
                  </a:moveTo>
                  <a:lnTo>
                    <a:pt x="16" y="170"/>
                  </a:lnTo>
                  <a:lnTo>
                    <a:pt x="184" y="185"/>
                  </a:lnTo>
                  <a:lnTo>
                    <a:pt x="196" y="63"/>
                  </a:lnTo>
                  <a:lnTo>
                    <a:pt x="229" y="45"/>
                  </a:lnTo>
                  <a:lnTo>
                    <a:pt x="238" y="0"/>
                  </a:lnTo>
                  <a:lnTo>
                    <a:pt x="184" y="15"/>
                  </a:lnTo>
                  <a:lnTo>
                    <a:pt x="125" y="104"/>
                  </a:lnTo>
                  <a:lnTo>
                    <a:pt x="0" y="11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4" name="Freeform 289">
              <a:extLst>
                <a:ext uri="{FF2B5EF4-FFF2-40B4-BE49-F238E27FC236}">
                  <a16:creationId xmlns:a16="http://schemas.microsoft.com/office/drawing/2014/main" id="{7CF2FE39-05C1-44FC-82C9-A52E40F7B5F2}"/>
                </a:ext>
              </a:extLst>
            </p:cNvPr>
            <p:cNvSpPr>
              <a:spLocks/>
            </p:cNvSpPr>
            <p:nvPr/>
          </p:nvSpPr>
          <p:spPr bwMode="auto">
            <a:xfrm>
              <a:off x="7155657" y="3337718"/>
              <a:ext cx="31750" cy="53975"/>
            </a:xfrm>
            <a:custGeom>
              <a:avLst/>
              <a:gdLst>
                <a:gd name="T0" fmla="*/ 9 w 59"/>
                <a:gd name="T1" fmla="*/ 15 h 103"/>
                <a:gd name="T2" fmla="*/ 0 w 59"/>
                <a:gd name="T3" fmla="*/ 84 h 103"/>
                <a:gd name="T4" fmla="*/ 26 w 59"/>
                <a:gd name="T5" fmla="*/ 103 h 103"/>
                <a:gd name="T6" fmla="*/ 51 w 59"/>
                <a:gd name="T7" fmla="*/ 101 h 103"/>
                <a:gd name="T8" fmla="*/ 59 w 59"/>
                <a:gd name="T9" fmla="*/ 15 h 103"/>
                <a:gd name="T10" fmla="*/ 39 w 59"/>
                <a:gd name="T11" fmla="*/ 0 h 103"/>
                <a:gd name="T12" fmla="*/ 9 w 59"/>
                <a:gd name="T13" fmla="*/ 15 h 103"/>
              </a:gdLst>
              <a:ahLst/>
              <a:cxnLst>
                <a:cxn ang="0">
                  <a:pos x="T0" y="T1"/>
                </a:cxn>
                <a:cxn ang="0">
                  <a:pos x="T2" y="T3"/>
                </a:cxn>
                <a:cxn ang="0">
                  <a:pos x="T4" y="T5"/>
                </a:cxn>
                <a:cxn ang="0">
                  <a:pos x="T6" y="T7"/>
                </a:cxn>
                <a:cxn ang="0">
                  <a:pos x="T8" y="T9"/>
                </a:cxn>
                <a:cxn ang="0">
                  <a:pos x="T10" y="T11"/>
                </a:cxn>
                <a:cxn ang="0">
                  <a:pos x="T12" y="T13"/>
                </a:cxn>
              </a:cxnLst>
              <a:rect l="0" t="0" r="r" b="b"/>
              <a:pathLst>
                <a:path w="59" h="103">
                  <a:moveTo>
                    <a:pt x="9" y="15"/>
                  </a:moveTo>
                  <a:lnTo>
                    <a:pt x="0" y="84"/>
                  </a:lnTo>
                  <a:lnTo>
                    <a:pt x="26" y="103"/>
                  </a:lnTo>
                  <a:lnTo>
                    <a:pt x="51" y="101"/>
                  </a:lnTo>
                  <a:lnTo>
                    <a:pt x="59" y="15"/>
                  </a:lnTo>
                  <a:lnTo>
                    <a:pt x="39" y="0"/>
                  </a:lnTo>
                  <a:lnTo>
                    <a:pt x="9"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5" name="Freeform 290">
              <a:extLst>
                <a:ext uri="{FF2B5EF4-FFF2-40B4-BE49-F238E27FC236}">
                  <a16:creationId xmlns:a16="http://schemas.microsoft.com/office/drawing/2014/main" id="{3546A0C6-F99E-4860-809D-B0A32E80539E}"/>
                </a:ext>
              </a:extLst>
            </p:cNvPr>
            <p:cNvSpPr>
              <a:spLocks/>
            </p:cNvSpPr>
            <p:nvPr/>
          </p:nvSpPr>
          <p:spPr bwMode="auto">
            <a:xfrm>
              <a:off x="7041357" y="3226593"/>
              <a:ext cx="34925" cy="55563"/>
            </a:xfrm>
            <a:custGeom>
              <a:avLst/>
              <a:gdLst>
                <a:gd name="T0" fmla="*/ 65 w 65"/>
                <a:gd name="T1" fmla="*/ 21 h 104"/>
                <a:gd name="T2" fmla="*/ 26 w 65"/>
                <a:gd name="T3" fmla="*/ 0 h 104"/>
                <a:gd name="T4" fmla="*/ 0 w 65"/>
                <a:gd name="T5" fmla="*/ 27 h 104"/>
                <a:gd name="T6" fmla="*/ 3 w 65"/>
                <a:gd name="T7" fmla="*/ 81 h 104"/>
                <a:gd name="T8" fmla="*/ 65 w 65"/>
                <a:gd name="T9" fmla="*/ 104 h 104"/>
                <a:gd name="T10" fmla="*/ 65 w 65"/>
                <a:gd name="T11" fmla="*/ 21 h 104"/>
              </a:gdLst>
              <a:ahLst/>
              <a:cxnLst>
                <a:cxn ang="0">
                  <a:pos x="T0" y="T1"/>
                </a:cxn>
                <a:cxn ang="0">
                  <a:pos x="T2" y="T3"/>
                </a:cxn>
                <a:cxn ang="0">
                  <a:pos x="T4" y="T5"/>
                </a:cxn>
                <a:cxn ang="0">
                  <a:pos x="T6" y="T7"/>
                </a:cxn>
                <a:cxn ang="0">
                  <a:pos x="T8" y="T9"/>
                </a:cxn>
                <a:cxn ang="0">
                  <a:pos x="T10" y="T11"/>
                </a:cxn>
              </a:cxnLst>
              <a:rect l="0" t="0" r="r" b="b"/>
              <a:pathLst>
                <a:path w="65" h="104">
                  <a:moveTo>
                    <a:pt x="65" y="21"/>
                  </a:moveTo>
                  <a:lnTo>
                    <a:pt x="26" y="0"/>
                  </a:lnTo>
                  <a:lnTo>
                    <a:pt x="0" y="27"/>
                  </a:lnTo>
                  <a:lnTo>
                    <a:pt x="3" y="81"/>
                  </a:lnTo>
                  <a:lnTo>
                    <a:pt x="65" y="104"/>
                  </a:lnTo>
                  <a:lnTo>
                    <a:pt x="65" y="2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6" name="Freeform 291">
              <a:extLst>
                <a:ext uri="{FF2B5EF4-FFF2-40B4-BE49-F238E27FC236}">
                  <a16:creationId xmlns:a16="http://schemas.microsoft.com/office/drawing/2014/main" id="{6336235A-552E-448A-8B5A-3B09F9E7390D}"/>
                </a:ext>
              </a:extLst>
            </p:cNvPr>
            <p:cNvSpPr>
              <a:spLocks/>
            </p:cNvSpPr>
            <p:nvPr/>
          </p:nvSpPr>
          <p:spPr bwMode="auto">
            <a:xfrm>
              <a:off x="6742907" y="3186906"/>
              <a:ext cx="541338" cy="428625"/>
            </a:xfrm>
            <a:custGeom>
              <a:avLst/>
              <a:gdLst>
                <a:gd name="T0" fmla="*/ 643 w 1025"/>
                <a:gd name="T1" fmla="*/ 202 h 811"/>
                <a:gd name="T2" fmla="*/ 763 w 1025"/>
                <a:gd name="T3" fmla="*/ 369 h 811"/>
                <a:gd name="T4" fmla="*/ 802 w 1025"/>
                <a:gd name="T5" fmla="*/ 401 h 811"/>
                <a:gd name="T6" fmla="*/ 819 w 1025"/>
                <a:gd name="T7" fmla="*/ 476 h 811"/>
                <a:gd name="T8" fmla="*/ 1004 w 1025"/>
                <a:gd name="T9" fmla="*/ 490 h 811"/>
                <a:gd name="T10" fmla="*/ 1025 w 1025"/>
                <a:gd name="T11" fmla="*/ 501 h 811"/>
                <a:gd name="T12" fmla="*/ 1004 w 1025"/>
                <a:gd name="T13" fmla="*/ 593 h 811"/>
                <a:gd name="T14" fmla="*/ 882 w 1025"/>
                <a:gd name="T15" fmla="*/ 664 h 811"/>
                <a:gd name="T16" fmla="*/ 705 w 1025"/>
                <a:gd name="T17" fmla="*/ 718 h 811"/>
                <a:gd name="T18" fmla="*/ 610 w 1025"/>
                <a:gd name="T19" fmla="*/ 811 h 811"/>
                <a:gd name="T20" fmla="*/ 498 w 1025"/>
                <a:gd name="T21" fmla="*/ 746 h 811"/>
                <a:gd name="T22" fmla="*/ 430 w 1025"/>
                <a:gd name="T23" fmla="*/ 805 h 811"/>
                <a:gd name="T24" fmla="*/ 334 w 1025"/>
                <a:gd name="T25" fmla="*/ 650 h 811"/>
                <a:gd name="T26" fmla="*/ 269 w 1025"/>
                <a:gd name="T27" fmla="*/ 620 h 811"/>
                <a:gd name="T28" fmla="*/ 246 w 1025"/>
                <a:gd name="T29" fmla="*/ 584 h 811"/>
                <a:gd name="T30" fmla="*/ 246 w 1025"/>
                <a:gd name="T31" fmla="*/ 507 h 811"/>
                <a:gd name="T32" fmla="*/ 10 w 1025"/>
                <a:gd name="T33" fmla="*/ 221 h 811"/>
                <a:gd name="T34" fmla="*/ 0 w 1025"/>
                <a:gd name="T35" fmla="*/ 170 h 811"/>
                <a:gd name="T36" fmla="*/ 68 w 1025"/>
                <a:gd name="T37" fmla="*/ 170 h 811"/>
                <a:gd name="T38" fmla="*/ 152 w 1025"/>
                <a:gd name="T39" fmla="*/ 98 h 811"/>
                <a:gd name="T40" fmla="*/ 155 w 1025"/>
                <a:gd name="T41" fmla="*/ 63 h 811"/>
                <a:gd name="T42" fmla="*/ 130 w 1025"/>
                <a:gd name="T43" fmla="*/ 38 h 811"/>
                <a:gd name="T44" fmla="*/ 178 w 1025"/>
                <a:gd name="T45" fmla="*/ 0 h 811"/>
                <a:gd name="T46" fmla="*/ 279 w 1025"/>
                <a:gd name="T47" fmla="*/ 6 h 811"/>
                <a:gd name="T48" fmla="*/ 451 w 1025"/>
                <a:gd name="T49" fmla="*/ 149 h 811"/>
                <a:gd name="T50" fmla="*/ 552 w 1025"/>
                <a:gd name="T51" fmla="*/ 145 h 811"/>
                <a:gd name="T52" fmla="*/ 559 w 1025"/>
                <a:gd name="T53" fmla="*/ 169 h 811"/>
                <a:gd name="T54" fmla="*/ 643 w 1025"/>
                <a:gd name="T55" fmla="*/ 202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5" h="811">
                  <a:moveTo>
                    <a:pt x="643" y="202"/>
                  </a:moveTo>
                  <a:lnTo>
                    <a:pt x="763" y="369"/>
                  </a:lnTo>
                  <a:lnTo>
                    <a:pt x="802" y="401"/>
                  </a:lnTo>
                  <a:lnTo>
                    <a:pt x="819" y="476"/>
                  </a:lnTo>
                  <a:lnTo>
                    <a:pt x="1004" y="490"/>
                  </a:lnTo>
                  <a:lnTo>
                    <a:pt x="1025" y="501"/>
                  </a:lnTo>
                  <a:lnTo>
                    <a:pt x="1004" y="593"/>
                  </a:lnTo>
                  <a:lnTo>
                    <a:pt x="882" y="664"/>
                  </a:lnTo>
                  <a:lnTo>
                    <a:pt x="705" y="718"/>
                  </a:lnTo>
                  <a:lnTo>
                    <a:pt x="610" y="811"/>
                  </a:lnTo>
                  <a:lnTo>
                    <a:pt x="498" y="746"/>
                  </a:lnTo>
                  <a:lnTo>
                    <a:pt x="430" y="805"/>
                  </a:lnTo>
                  <a:lnTo>
                    <a:pt x="334" y="650"/>
                  </a:lnTo>
                  <a:lnTo>
                    <a:pt x="269" y="620"/>
                  </a:lnTo>
                  <a:lnTo>
                    <a:pt x="246" y="584"/>
                  </a:lnTo>
                  <a:lnTo>
                    <a:pt x="246" y="507"/>
                  </a:lnTo>
                  <a:lnTo>
                    <a:pt x="10" y="221"/>
                  </a:lnTo>
                  <a:lnTo>
                    <a:pt x="0" y="170"/>
                  </a:lnTo>
                  <a:lnTo>
                    <a:pt x="68" y="170"/>
                  </a:lnTo>
                  <a:lnTo>
                    <a:pt x="152" y="98"/>
                  </a:lnTo>
                  <a:lnTo>
                    <a:pt x="155" y="63"/>
                  </a:lnTo>
                  <a:lnTo>
                    <a:pt x="130" y="38"/>
                  </a:lnTo>
                  <a:lnTo>
                    <a:pt x="178" y="0"/>
                  </a:lnTo>
                  <a:lnTo>
                    <a:pt x="279" y="6"/>
                  </a:lnTo>
                  <a:lnTo>
                    <a:pt x="451" y="149"/>
                  </a:lnTo>
                  <a:lnTo>
                    <a:pt x="552" y="145"/>
                  </a:lnTo>
                  <a:lnTo>
                    <a:pt x="559" y="169"/>
                  </a:lnTo>
                  <a:lnTo>
                    <a:pt x="643" y="20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7" name="Freeform 292">
              <a:extLst>
                <a:ext uri="{FF2B5EF4-FFF2-40B4-BE49-F238E27FC236}">
                  <a16:creationId xmlns:a16="http://schemas.microsoft.com/office/drawing/2014/main" id="{7F775407-FC6C-428A-B0EE-900701FF1A85}"/>
                </a:ext>
              </a:extLst>
            </p:cNvPr>
            <p:cNvSpPr>
              <a:spLocks/>
            </p:cNvSpPr>
            <p:nvPr/>
          </p:nvSpPr>
          <p:spPr bwMode="auto">
            <a:xfrm>
              <a:off x="6741319" y="3037681"/>
              <a:ext cx="155575" cy="134938"/>
            </a:xfrm>
            <a:custGeom>
              <a:avLst/>
              <a:gdLst>
                <a:gd name="T0" fmla="*/ 6 w 294"/>
                <a:gd name="T1" fmla="*/ 70 h 254"/>
                <a:gd name="T2" fmla="*/ 0 w 294"/>
                <a:gd name="T3" fmla="*/ 113 h 254"/>
                <a:gd name="T4" fmla="*/ 49 w 294"/>
                <a:gd name="T5" fmla="*/ 133 h 254"/>
                <a:gd name="T6" fmla="*/ 47 w 294"/>
                <a:gd name="T7" fmla="*/ 254 h 254"/>
                <a:gd name="T8" fmla="*/ 96 w 294"/>
                <a:gd name="T9" fmla="*/ 253 h 254"/>
                <a:gd name="T10" fmla="*/ 144 w 294"/>
                <a:gd name="T11" fmla="*/ 217 h 254"/>
                <a:gd name="T12" fmla="*/ 162 w 294"/>
                <a:gd name="T13" fmla="*/ 214 h 254"/>
                <a:gd name="T14" fmla="*/ 271 w 294"/>
                <a:gd name="T15" fmla="*/ 126 h 254"/>
                <a:gd name="T16" fmla="*/ 294 w 294"/>
                <a:gd name="T17" fmla="*/ 0 h 254"/>
                <a:gd name="T18" fmla="*/ 74 w 294"/>
                <a:gd name="T19" fmla="*/ 23 h 254"/>
                <a:gd name="T20" fmla="*/ 51 w 294"/>
                <a:gd name="T21" fmla="*/ 72 h 254"/>
                <a:gd name="T22" fmla="*/ 6 w 294"/>
                <a:gd name="T23" fmla="*/ 7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54">
                  <a:moveTo>
                    <a:pt x="6" y="70"/>
                  </a:moveTo>
                  <a:lnTo>
                    <a:pt x="0" y="113"/>
                  </a:lnTo>
                  <a:lnTo>
                    <a:pt x="49" y="133"/>
                  </a:lnTo>
                  <a:lnTo>
                    <a:pt x="47" y="254"/>
                  </a:lnTo>
                  <a:lnTo>
                    <a:pt x="96" y="253"/>
                  </a:lnTo>
                  <a:lnTo>
                    <a:pt x="144" y="217"/>
                  </a:lnTo>
                  <a:lnTo>
                    <a:pt x="162" y="214"/>
                  </a:lnTo>
                  <a:lnTo>
                    <a:pt x="271" y="126"/>
                  </a:lnTo>
                  <a:lnTo>
                    <a:pt x="294" y="0"/>
                  </a:lnTo>
                  <a:lnTo>
                    <a:pt x="74" y="23"/>
                  </a:lnTo>
                  <a:lnTo>
                    <a:pt x="51" y="72"/>
                  </a:lnTo>
                  <a:lnTo>
                    <a:pt x="6" y="7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8" name="Freeform 293">
              <a:extLst>
                <a:ext uri="{FF2B5EF4-FFF2-40B4-BE49-F238E27FC236}">
                  <a16:creationId xmlns:a16="http://schemas.microsoft.com/office/drawing/2014/main" id="{E72C7362-FABD-4A86-8F94-B63930407707}"/>
                </a:ext>
              </a:extLst>
            </p:cNvPr>
            <p:cNvSpPr>
              <a:spLocks/>
            </p:cNvSpPr>
            <p:nvPr/>
          </p:nvSpPr>
          <p:spPr bwMode="auto">
            <a:xfrm>
              <a:off x="6831807" y="3029743"/>
              <a:ext cx="252413" cy="227013"/>
            </a:xfrm>
            <a:custGeom>
              <a:avLst/>
              <a:gdLst>
                <a:gd name="T0" fmla="*/ 137 w 477"/>
                <a:gd name="T1" fmla="*/ 13 h 429"/>
                <a:gd name="T2" fmla="*/ 111 w 477"/>
                <a:gd name="T3" fmla="*/ 146 h 429"/>
                <a:gd name="T4" fmla="*/ 0 w 477"/>
                <a:gd name="T5" fmla="*/ 238 h 429"/>
                <a:gd name="T6" fmla="*/ 7 w 477"/>
                <a:gd name="T7" fmla="*/ 281 h 429"/>
                <a:gd name="T8" fmla="*/ 115 w 477"/>
                <a:gd name="T9" fmla="*/ 288 h 429"/>
                <a:gd name="T10" fmla="*/ 287 w 477"/>
                <a:gd name="T11" fmla="*/ 429 h 429"/>
                <a:gd name="T12" fmla="*/ 383 w 477"/>
                <a:gd name="T13" fmla="*/ 427 h 429"/>
                <a:gd name="T14" fmla="*/ 386 w 477"/>
                <a:gd name="T15" fmla="*/ 394 h 429"/>
                <a:gd name="T16" fmla="*/ 421 w 477"/>
                <a:gd name="T17" fmla="*/ 356 h 429"/>
                <a:gd name="T18" fmla="*/ 470 w 477"/>
                <a:gd name="T19" fmla="*/ 384 h 429"/>
                <a:gd name="T20" fmla="*/ 477 w 477"/>
                <a:gd name="T21" fmla="*/ 378 h 429"/>
                <a:gd name="T22" fmla="*/ 382 w 477"/>
                <a:gd name="T23" fmla="*/ 251 h 429"/>
                <a:gd name="T24" fmla="*/ 336 w 477"/>
                <a:gd name="T25" fmla="*/ 248 h 429"/>
                <a:gd name="T26" fmla="*/ 276 w 477"/>
                <a:gd name="T27" fmla="*/ 171 h 429"/>
                <a:gd name="T28" fmla="*/ 288 w 477"/>
                <a:gd name="T29" fmla="*/ 114 h 429"/>
                <a:gd name="T30" fmla="*/ 306 w 477"/>
                <a:gd name="T31" fmla="*/ 112 h 429"/>
                <a:gd name="T32" fmla="*/ 313 w 477"/>
                <a:gd name="T33" fmla="*/ 86 h 429"/>
                <a:gd name="T34" fmla="*/ 230 w 477"/>
                <a:gd name="T35" fmla="*/ 0 h 429"/>
                <a:gd name="T36" fmla="*/ 137 w 477"/>
                <a:gd name="T37" fmla="*/ 1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429">
                  <a:moveTo>
                    <a:pt x="137" y="13"/>
                  </a:moveTo>
                  <a:lnTo>
                    <a:pt x="111" y="146"/>
                  </a:lnTo>
                  <a:lnTo>
                    <a:pt x="0" y="238"/>
                  </a:lnTo>
                  <a:lnTo>
                    <a:pt x="7" y="281"/>
                  </a:lnTo>
                  <a:lnTo>
                    <a:pt x="115" y="288"/>
                  </a:lnTo>
                  <a:lnTo>
                    <a:pt x="287" y="429"/>
                  </a:lnTo>
                  <a:lnTo>
                    <a:pt x="383" y="427"/>
                  </a:lnTo>
                  <a:lnTo>
                    <a:pt x="386" y="394"/>
                  </a:lnTo>
                  <a:lnTo>
                    <a:pt x="421" y="356"/>
                  </a:lnTo>
                  <a:lnTo>
                    <a:pt x="470" y="384"/>
                  </a:lnTo>
                  <a:lnTo>
                    <a:pt x="477" y="378"/>
                  </a:lnTo>
                  <a:lnTo>
                    <a:pt x="382" y="251"/>
                  </a:lnTo>
                  <a:lnTo>
                    <a:pt x="336" y="248"/>
                  </a:lnTo>
                  <a:lnTo>
                    <a:pt x="276" y="171"/>
                  </a:lnTo>
                  <a:lnTo>
                    <a:pt x="288" y="114"/>
                  </a:lnTo>
                  <a:lnTo>
                    <a:pt x="306" y="112"/>
                  </a:lnTo>
                  <a:lnTo>
                    <a:pt x="313" y="86"/>
                  </a:lnTo>
                  <a:lnTo>
                    <a:pt x="230" y="0"/>
                  </a:lnTo>
                  <a:lnTo>
                    <a:pt x="137" y="1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9" name="Freeform 294">
              <a:extLst>
                <a:ext uri="{FF2B5EF4-FFF2-40B4-BE49-F238E27FC236}">
                  <a16:creationId xmlns:a16="http://schemas.microsoft.com/office/drawing/2014/main" id="{3AB2B239-3ECC-487A-99EA-100DB97CC2D7}"/>
                </a:ext>
              </a:extLst>
            </p:cNvPr>
            <p:cNvSpPr>
              <a:spLocks/>
            </p:cNvSpPr>
            <p:nvPr/>
          </p:nvSpPr>
          <p:spPr bwMode="auto">
            <a:xfrm>
              <a:off x="6741319" y="3159918"/>
              <a:ext cx="87313" cy="109538"/>
            </a:xfrm>
            <a:custGeom>
              <a:avLst/>
              <a:gdLst>
                <a:gd name="T0" fmla="*/ 44 w 166"/>
                <a:gd name="T1" fmla="*/ 38 h 208"/>
                <a:gd name="T2" fmla="*/ 1 w 166"/>
                <a:gd name="T3" fmla="*/ 186 h 208"/>
                <a:gd name="T4" fmla="*/ 0 w 166"/>
                <a:gd name="T5" fmla="*/ 208 h 208"/>
                <a:gd name="T6" fmla="*/ 66 w 166"/>
                <a:gd name="T7" fmla="*/ 208 h 208"/>
                <a:gd name="T8" fmla="*/ 140 w 166"/>
                <a:gd name="T9" fmla="*/ 143 h 208"/>
                <a:gd name="T10" fmla="*/ 143 w 166"/>
                <a:gd name="T11" fmla="*/ 118 h 208"/>
                <a:gd name="T12" fmla="*/ 112 w 166"/>
                <a:gd name="T13" fmla="*/ 87 h 208"/>
                <a:gd name="T14" fmla="*/ 166 w 166"/>
                <a:gd name="T15" fmla="*/ 41 h 208"/>
                <a:gd name="T16" fmla="*/ 159 w 166"/>
                <a:gd name="T17" fmla="*/ 0 h 208"/>
                <a:gd name="T18" fmla="*/ 144 w 166"/>
                <a:gd name="T19" fmla="*/ 3 h 208"/>
                <a:gd name="T20" fmla="*/ 98 w 166"/>
                <a:gd name="T21" fmla="*/ 35 h 208"/>
                <a:gd name="T22" fmla="*/ 44 w 166"/>
                <a:gd name="T23" fmla="*/ 3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6" h="208">
                  <a:moveTo>
                    <a:pt x="44" y="38"/>
                  </a:moveTo>
                  <a:lnTo>
                    <a:pt x="1" y="186"/>
                  </a:lnTo>
                  <a:lnTo>
                    <a:pt x="0" y="208"/>
                  </a:lnTo>
                  <a:lnTo>
                    <a:pt x="66" y="208"/>
                  </a:lnTo>
                  <a:lnTo>
                    <a:pt x="140" y="143"/>
                  </a:lnTo>
                  <a:lnTo>
                    <a:pt x="143" y="118"/>
                  </a:lnTo>
                  <a:lnTo>
                    <a:pt x="112" y="87"/>
                  </a:lnTo>
                  <a:lnTo>
                    <a:pt x="166" y="41"/>
                  </a:lnTo>
                  <a:lnTo>
                    <a:pt x="159" y="0"/>
                  </a:lnTo>
                  <a:lnTo>
                    <a:pt x="144" y="3"/>
                  </a:lnTo>
                  <a:lnTo>
                    <a:pt x="98" y="35"/>
                  </a:lnTo>
                  <a:lnTo>
                    <a:pt x="44" y="3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0" name="Freeform 295">
              <a:extLst>
                <a:ext uri="{FF2B5EF4-FFF2-40B4-BE49-F238E27FC236}">
                  <a16:creationId xmlns:a16="http://schemas.microsoft.com/office/drawing/2014/main" id="{B89338E1-CE2D-4FF4-BFF7-952C1327C550}"/>
                </a:ext>
              </a:extLst>
            </p:cNvPr>
            <p:cNvSpPr>
              <a:spLocks/>
            </p:cNvSpPr>
            <p:nvPr/>
          </p:nvSpPr>
          <p:spPr bwMode="auto">
            <a:xfrm>
              <a:off x="6733382" y="3104356"/>
              <a:ext cx="26988" cy="47625"/>
            </a:xfrm>
            <a:custGeom>
              <a:avLst/>
              <a:gdLst>
                <a:gd name="T0" fmla="*/ 12 w 51"/>
                <a:gd name="T1" fmla="*/ 0 h 89"/>
                <a:gd name="T2" fmla="*/ 13 w 51"/>
                <a:gd name="T3" fmla="*/ 34 h 89"/>
                <a:gd name="T4" fmla="*/ 0 w 51"/>
                <a:gd name="T5" fmla="*/ 85 h 89"/>
                <a:gd name="T6" fmla="*/ 48 w 51"/>
                <a:gd name="T7" fmla="*/ 89 h 89"/>
                <a:gd name="T8" fmla="*/ 51 w 51"/>
                <a:gd name="T9" fmla="*/ 17 h 89"/>
                <a:gd name="T10" fmla="*/ 12 w 51"/>
                <a:gd name="T11" fmla="*/ 0 h 89"/>
              </a:gdLst>
              <a:ahLst/>
              <a:cxnLst>
                <a:cxn ang="0">
                  <a:pos x="T0" y="T1"/>
                </a:cxn>
                <a:cxn ang="0">
                  <a:pos x="T2" y="T3"/>
                </a:cxn>
                <a:cxn ang="0">
                  <a:pos x="T4" y="T5"/>
                </a:cxn>
                <a:cxn ang="0">
                  <a:pos x="T6" y="T7"/>
                </a:cxn>
                <a:cxn ang="0">
                  <a:pos x="T8" y="T9"/>
                </a:cxn>
                <a:cxn ang="0">
                  <a:pos x="T10" y="T11"/>
                </a:cxn>
              </a:cxnLst>
              <a:rect l="0" t="0" r="r" b="b"/>
              <a:pathLst>
                <a:path w="51" h="89">
                  <a:moveTo>
                    <a:pt x="12" y="0"/>
                  </a:moveTo>
                  <a:lnTo>
                    <a:pt x="13" y="34"/>
                  </a:lnTo>
                  <a:lnTo>
                    <a:pt x="0" y="85"/>
                  </a:lnTo>
                  <a:lnTo>
                    <a:pt x="48" y="89"/>
                  </a:lnTo>
                  <a:lnTo>
                    <a:pt x="51" y="17"/>
                  </a:lnTo>
                  <a:lnTo>
                    <a:pt x="1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1" name="Freeform 296">
              <a:extLst>
                <a:ext uri="{FF2B5EF4-FFF2-40B4-BE49-F238E27FC236}">
                  <a16:creationId xmlns:a16="http://schemas.microsoft.com/office/drawing/2014/main" id="{80406C0A-E306-4476-A692-9823A48BB28D}"/>
                </a:ext>
              </a:extLst>
            </p:cNvPr>
            <p:cNvSpPr>
              <a:spLocks/>
            </p:cNvSpPr>
            <p:nvPr/>
          </p:nvSpPr>
          <p:spPr bwMode="auto">
            <a:xfrm>
              <a:off x="6717507" y="3155156"/>
              <a:ext cx="39688" cy="101600"/>
            </a:xfrm>
            <a:custGeom>
              <a:avLst/>
              <a:gdLst>
                <a:gd name="T0" fmla="*/ 27 w 75"/>
                <a:gd name="T1" fmla="*/ 0 h 190"/>
                <a:gd name="T2" fmla="*/ 0 w 75"/>
                <a:gd name="T3" fmla="*/ 86 h 190"/>
                <a:gd name="T4" fmla="*/ 34 w 75"/>
                <a:gd name="T5" fmla="*/ 190 h 190"/>
                <a:gd name="T6" fmla="*/ 75 w 75"/>
                <a:gd name="T7" fmla="*/ 38 h 190"/>
                <a:gd name="T8" fmla="*/ 75 w 75"/>
                <a:gd name="T9" fmla="*/ 6 h 190"/>
                <a:gd name="T10" fmla="*/ 27 w 75"/>
                <a:gd name="T11" fmla="*/ 0 h 190"/>
              </a:gdLst>
              <a:ahLst/>
              <a:cxnLst>
                <a:cxn ang="0">
                  <a:pos x="T0" y="T1"/>
                </a:cxn>
                <a:cxn ang="0">
                  <a:pos x="T2" y="T3"/>
                </a:cxn>
                <a:cxn ang="0">
                  <a:pos x="T4" y="T5"/>
                </a:cxn>
                <a:cxn ang="0">
                  <a:pos x="T6" y="T7"/>
                </a:cxn>
                <a:cxn ang="0">
                  <a:pos x="T8" y="T9"/>
                </a:cxn>
                <a:cxn ang="0">
                  <a:pos x="T10" y="T11"/>
                </a:cxn>
              </a:cxnLst>
              <a:rect l="0" t="0" r="r" b="b"/>
              <a:pathLst>
                <a:path w="75" h="190">
                  <a:moveTo>
                    <a:pt x="27" y="0"/>
                  </a:moveTo>
                  <a:lnTo>
                    <a:pt x="0" y="86"/>
                  </a:lnTo>
                  <a:lnTo>
                    <a:pt x="34" y="190"/>
                  </a:lnTo>
                  <a:lnTo>
                    <a:pt x="75" y="38"/>
                  </a:lnTo>
                  <a:lnTo>
                    <a:pt x="75" y="6"/>
                  </a:lnTo>
                  <a:lnTo>
                    <a:pt x="2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2" name="Freeform 297">
              <a:extLst>
                <a:ext uri="{FF2B5EF4-FFF2-40B4-BE49-F238E27FC236}">
                  <a16:creationId xmlns:a16="http://schemas.microsoft.com/office/drawing/2014/main" id="{5B9071B5-91AC-4871-AA1E-A015ACB2734F}"/>
                </a:ext>
              </a:extLst>
            </p:cNvPr>
            <p:cNvSpPr>
              <a:spLocks/>
            </p:cNvSpPr>
            <p:nvPr/>
          </p:nvSpPr>
          <p:spPr bwMode="auto">
            <a:xfrm>
              <a:off x="6660357" y="3082131"/>
              <a:ext cx="63500" cy="39688"/>
            </a:xfrm>
            <a:custGeom>
              <a:avLst/>
              <a:gdLst>
                <a:gd name="T0" fmla="*/ 99 w 120"/>
                <a:gd name="T1" fmla="*/ 0 h 77"/>
                <a:gd name="T2" fmla="*/ 120 w 120"/>
                <a:gd name="T3" fmla="*/ 15 h 77"/>
                <a:gd name="T4" fmla="*/ 54 w 120"/>
                <a:gd name="T5" fmla="*/ 77 h 77"/>
                <a:gd name="T6" fmla="*/ 24 w 120"/>
                <a:gd name="T7" fmla="*/ 75 h 77"/>
                <a:gd name="T8" fmla="*/ 0 w 120"/>
                <a:gd name="T9" fmla="*/ 58 h 77"/>
                <a:gd name="T10" fmla="*/ 3 w 120"/>
                <a:gd name="T11" fmla="*/ 29 h 77"/>
                <a:gd name="T12" fmla="*/ 51 w 120"/>
                <a:gd name="T13" fmla="*/ 26 h 77"/>
                <a:gd name="T14" fmla="*/ 99 w 120"/>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77">
                  <a:moveTo>
                    <a:pt x="99" y="0"/>
                  </a:moveTo>
                  <a:lnTo>
                    <a:pt x="120" y="15"/>
                  </a:lnTo>
                  <a:lnTo>
                    <a:pt x="54" y="77"/>
                  </a:lnTo>
                  <a:lnTo>
                    <a:pt x="24" y="75"/>
                  </a:lnTo>
                  <a:lnTo>
                    <a:pt x="0" y="58"/>
                  </a:lnTo>
                  <a:lnTo>
                    <a:pt x="3" y="29"/>
                  </a:lnTo>
                  <a:lnTo>
                    <a:pt x="51" y="26"/>
                  </a:lnTo>
                  <a:lnTo>
                    <a:pt x="9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3" name="Freeform 298">
              <a:extLst>
                <a:ext uri="{FF2B5EF4-FFF2-40B4-BE49-F238E27FC236}">
                  <a16:creationId xmlns:a16="http://schemas.microsoft.com/office/drawing/2014/main" id="{DC329EB4-F7DE-4581-A501-5B88EE57B445}"/>
                </a:ext>
              </a:extLst>
            </p:cNvPr>
            <p:cNvSpPr>
              <a:spLocks/>
            </p:cNvSpPr>
            <p:nvPr/>
          </p:nvSpPr>
          <p:spPr bwMode="auto">
            <a:xfrm>
              <a:off x="6004719" y="1848643"/>
              <a:ext cx="474663" cy="515938"/>
            </a:xfrm>
            <a:custGeom>
              <a:avLst/>
              <a:gdLst>
                <a:gd name="T0" fmla="*/ 864 w 898"/>
                <a:gd name="T1" fmla="*/ 142 h 974"/>
                <a:gd name="T2" fmla="*/ 898 w 898"/>
                <a:gd name="T3" fmla="*/ 117 h 974"/>
                <a:gd name="T4" fmla="*/ 895 w 898"/>
                <a:gd name="T5" fmla="*/ 88 h 974"/>
                <a:gd name="T6" fmla="*/ 873 w 898"/>
                <a:gd name="T7" fmla="*/ 75 h 974"/>
                <a:gd name="T8" fmla="*/ 876 w 898"/>
                <a:gd name="T9" fmla="*/ 40 h 974"/>
                <a:gd name="T10" fmla="*/ 895 w 898"/>
                <a:gd name="T11" fmla="*/ 40 h 974"/>
                <a:gd name="T12" fmla="*/ 895 w 898"/>
                <a:gd name="T13" fmla="*/ 22 h 974"/>
                <a:gd name="T14" fmla="*/ 813 w 898"/>
                <a:gd name="T15" fmla="*/ 0 h 974"/>
                <a:gd name="T16" fmla="*/ 691 w 898"/>
                <a:gd name="T17" fmla="*/ 12 h 974"/>
                <a:gd name="T18" fmla="*/ 678 w 898"/>
                <a:gd name="T19" fmla="*/ 66 h 974"/>
                <a:gd name="T20" fmla="*/ 649 w 898"/>
                <a:gd name="T21" fmla="*/ 57 h 974"/>
                <a:gd name="T22" fmla="*/ 631 w 898"/>
                <a:gd name="T23" fmla="*/ 25 h 974"/>
                <a:gd name="T24" fmla="*/ 571 w 898"/>
                <a:gd name="T25" fmla="*/ 28 h 974"/>
                <a:gd name="T26" fmla="*/ 565 w 898"/>
                <a:gd name="T27" fmla="*/ 88 h 974"/>
                <a:gd name="T28" fmla="*/ 537 w 898"/>
                <a:gd name="T29" fmla="*/ 100 h 974"/>
                <a:gd name="T30" fmla="*/ 521 w 898"/>
                <a:gd name="T31" fmla="*/ 69 h 974"/>
                <a:gd name="T32" fmla="*/ 396 w 898"/>
                <a:gd name="T33" fmla="*/ 170 h 974"/>
                <a:gd name="T34" fmla="*/ 420 w 898"/>
                <a:gd name="T35" fmla="*/ 199 h 974"/>
                <a:gd name="T36" fmla="*/ 373 w 898"/>
                <a:gd name="T37" fmla="*/ 221 h 974"/>
                <a:gd name="T38" fmla="*/ 267 w 898"/>
                <a:gd name="T39" fmla="*/ 433 h 974"/>
                <a:gd name="T40" fmla="*/ 229 w 898"/>
                <a:gd name="T41" fmla="*/ 459 h 974"/>
                <a:gd name="T42" fmla="*/ 232 w 898"/>
                <a:gd name="T43" fmla="*/ 477 h 974"/>
                <a:gd name="T44" fmla="*/ 270 w 898"/>
                <a:gd name="T45" fmla="*/ 496 h 974"/>
                <a:gd name="T46" fmla="*/ 260 w 898"/>
                <a:gd name="T47" fmla="*/ 538 h 974"/>
                <a:gd name="T48" fmla="*/ 198 w 898"/>
                <a:gd name="T49" fmla="*/ 534 h 974"/>
                <a:gd name="T50" fmla="*/ 179 w 898"/>
                <a:gd name="T51" fmla="*/ 513 h 974"/>
                <a:gd name="T52" fmla="*/ 138 w 898"/>
                <a:gd name="T53" fmla="*/ 559 h 974"/>
                <a:gd name="T54" fmla="*/ 113 w 898"/>
                <a:gd name="T55" fmla="*/ 579 h 974"/>
                <a:gd name="T56" fmla="*/ 106 w 898"/>
                <a:gd name="T57" fmla="*/ 623 h 974"/>
                <a:gd name="T58" fmla="*/ 84 w 898"/>
                <a:gd name="T59" fmla="*/ 635 h 974"/>
                <a:gd name="T60" fmla="*/ 27 w 898"/>
                <a:gd name="T61" fmla="*/ 649 h 974"/>
                <a:gd name="T62" fmla="*/ 0 w 898"/>
                <a:gd name="T63" fmla="*/ 737 h 974"/>
                <a:gd name="T64" fmla="*/ 18 w 898"/>
                <a:gd name="T65" fmla="*/ 883 h 974"/>
                <a:gd name="T66" fmla="*/ 41 w 898"/>
                <a:gd name="T67" fmla="*/ 949 h 974"/>
                <a:gd name="T68" fmla="*/ 66 w 898"/>
                <a:gd name="T69" fmla="*/ 974 h 974"/>
                <a:gd name="T70" fmla="*/ 122 w 898"/>
                <a:gd name="T71" fmla="*/ 971 h 974"/>
                <a:gd name="T72" fmla="*/ 204 w 898"/>
                <a:gd name="T73" fmla="*/ 892 h 974"/>
                <a:gd name="T74" fmla="*/ 235 w 898"/>
                <a:gd name="T75" fmla="*/ 838 h 974"/>
                <a:gd name="T76" fmla="*/ 245 w 898"/>
                <a:gd name="T77" fmla="*/ 918 h 974"/>
                <a:gd name="T78" fmla="*/ 298 w 898"/>
                <a:gd name="T79" fmla="*/ 822 h 974"/>
                <a:gd name="T80" fmla="*/ 301 w 898"/>
                <a:gd name="T81" fmla="*/ 556 h 974"/>
                <a:gd name="T82" fmla="*/ 344 w 898"/>
                <a:gd name="T83" fmla="*/ 529 h 974"/>
                <a:gd name="T84" fmla="*/ 357 w 898"/>
                <a:gd name="T85" fmla="*/ 383 h 974"/>
                <a:gd name="T86" fmla="*/ 489 w 898"/>
                <a:gd name="T87" fmla="*/ 193 h 974"/>
                <a:gd name="T88" fmla="*/ 552 w 898"/>
                <a:gd name="T89" fmla="*/ 170 h 974"/>
                <a:gd name="T90" fmla="*/ 580 w 898"/>
                <a:gd name="T91" fmla="*/ 136 h 974"/>
                <a:gd name="T92" fmla="*/ 675 w 898"/>
                <a:gd name="T93" fmla="*/ 157 h 974"/>
                <a:gd name="T94" fmla="*/ 722 w 898"/>
                <a:gd name="T95" fmla="*/ 186 h 974"/>
                <a:gd name="T96" fmla="*/ 738 w 898"/>
                <a:gd name="T97" fmla="*/ 107 h 974"/>
                <a:gd name="T98" fmla="*/ 816 w 898"/>
                <a:gd name="T99" fmla="*/ 60 h 974"/>
                <a:gd name="T100" fmla="*/ 864 w 898"/>
                <a:gd name="T101" fmla="*/ 142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8" h="974">
                  <a:moveTo>
                    <a:pt x="864" y="142"/>
                  </a:moveTo>
                  <a:lnTo>
                    <a:pt x="898" y="117"/>
                  </a:lnTo>
                  <a:lnTo>
                    <a:pt x="895" y="88"/>
                  </a:lnTo>
                  <a:lnTo>
                    <a:pt x="873" y="75"/>
                  </a:lnTo>
                  <a:lnTo>
                    <a:pt x="876" y="40"/>
                  </a:lnTo>
                  <a:lnTo>
                    <a:pt x="895" y="40"/>
                  </a:lnTo>
                  <a:lnTo>
                    <a:pt x="895" y="22"/>
                  </a:lnTo>
                  <a:lnTo>
                    <a:pt x="813" y="0"/>
                  </a:lnTo>
                  <a:lnTo>
                    <a:pt x="691" y="12"/>
                  </a:lnTo>
                  <a:lnTo>
                    <a:pt x="678" y="66"/>
                  </a:lnTo>
                  <a:lnTo>
                    <a:pt x="649" y="57"/>
                  </a:lnTo>
                  <a:lnTo>
                    <a:pt x="631" y="25"/>
                  </a:lnTo>
                  <a:lnTo>
                    <a:pt x="571" y="28"/>
                  </a:lnTo>
                  <a:lnTo>
                    <a:pt x="565" y="88"/>
                  </a:lnTo>
                  <a:lnTo>
                    <a:pt x="537" y="100"/>
                  </a:lnTo>
                  <a:lnTo>
                    <a:pt x="521" y="69"/>
                  </a:lnTo>
                  <a:lnTo>
                    <a:pt x="396" y="170"/>
                  </a:lnTo>
                  <a:lnTo>
                    <a:pt x="420" y="199"/>
                  </a:lnTo>
                  <a:lnTo>
                    <a:pt x="373" y="221"/>
                  </a:lnTo>
                  <a:lnTo>
                    <a:pt x="267" y="433"/>
                  </a:lnTo>
                  <a:lnTo>
                    <a:pt x="229" y="459"/>
                  </a:lnTo>
                  <a:lnTo>
                    <a:pt x="232" y="477"/>
                  </a:lnTo>
                  <a:lnTo>
                    <a:pt x="270" y="496"/>
                  </a:lnTo>
                  <a:lnTo>
                    <a:pt x="260" y="538"/>
                  </a:lnTo>
                  <a:lnTo>
                    <a:pt x="198" y="534"/>
                  </a:lnTo>
                  <a:lnTo>
                    <a:pt x="179" y="513"/>
                  </a:lnTo>
                  <a:lnTo>
                    <a:pt x="138" y="559"/>
                  </a:lnTo>
                  <a:lnTo>
                    <a:pt x="113" y="579"/>
                  </a:lnTo>
                  <a:lnTo>
                    <a:pt x="106" y="623"/>
                  </a:lnTo>
                  <a:lnTo>
                    <a:pt x="84" y="635"/>
                  </a:lnTo>
                  <a:lnTo>
                    <a:pt x="27" y="649"/>
                  </a:lnTo>
                  <a:lnTo>
                    <a:pt x="0" y="737"/>
                  </a:lnTo>
                  <a:lnTo>
                    <a:pt x="18" y="883"/>
                  </a:lnTo>
                  <a:lnTo>
                    <a:pt x="41" y="949"/>
                  </a:lnTo>
                  <a:lnTo>
                    <a:pt x="66" y="974"/>
                  </a:lnTo>
                  <a:lnTo>
                    <a:pt x="122" y="971"/>
                  </a:lnTo>
                  <a:lnTo>
                    <a:pt x="204" y="892"/>
                  </a:lnTo>
                  <a:lnTo>
                    <a:pt x="235" y="838"/>
                  </a:lnTo>
                  <a:lnTo>
                    <a:pt x="245" y="918"/>
                  </a:lnTo>
                  <a:lnTo>
                    <a:pt x="298" y="822"/>
                  </a:lnTo>
                  <a:lnTo>
                    <a:pt x="301" y="556"/>
                  </a:lnTo>
                  <a:lnTo>
                    <a:pt x="344" y="529"/>
                  </a:lnTo>
                  <a:lnTo>
                    <a:pt x="357" y="383"/>
                  </a:lnTo>
                  <a:lnTo>
                    <a:pt x="489" y="193"/>
                  </a:lnTo>
                  <a:lnTo>
                    <a:pt x="552" y="170"/>
                  </a:lnTo>
                  <a:lnTo>
                    <a:pt x="580" y="136"/>
                  </a:lnTo>
                  <a:lnTo>
                    <a:pt x="675" y="157"/>
                  </a:lnTo>
                  <a:lnTo>
                    <a:pt x="722" y="186"/>
                  </a:lnTo>
                  <a:lnTo>
                    <a:pt x="738" y="107"/>
                  </a:lnTo>
                  <a:lnTo>
                    <a:pt x="816" y="60"/>
                  </a:lnTo>
                  <a:lnTo>
                    <a:pt x="864" y="14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4" name="Freeform 299">
              <a:extLst>
                <a:ext uri="{FF2B5EF4-FFF2-40B4-BE49-F238E27FC236}">
                  <a16:creationId xmlns:a16="http://schemas.microsoft.com/office/drawing/2014/main" id="{73C3E289-F0C1-4A5C-AF83-9E9A778AB952}"/>
                </a:ext>
              </a:extLst>
            </p:cNvPr>
            <p:cNvSpPr>
              <a:spLocks/>
            </p:cNvSpPr>
            <p:nvPr/>
          </p:nvSpPr>
          <p:spPr bwMode="auto">
            <a:xfrm>
              <a:off x="5755482" y="2337593"/>
              <a:ext cx="179388" cy="317500"/>
            </a:xfrm>
            <a:custGeom>
              <a:avLst/>
              <a:gdLst>
                <a:gd name="T0" fmla="*/ 148 w 339"/>
                <a:gd name="T1" fmla="*/ 22 h 599"/>
                <a:gd name="T2" fmla="*/ 117 w 339"/>
                <a:gd name="T3" fmla="*/ 70 h 599"/>
                <a:gd name="T4" fmla="*/ 129 w 339"/>
                <a:gd name="T5" fmla="*/ 88 h 599"/>
                <a:gd name="T6" fmla="*/ 201 w 339"/>
                <a:gd name="T7" fmla="*/ 88 h 599"/>
                <a:gd name="T8" fmla="*/ 201 w 339"/>
                <a:gd name="T9" fmla="*/ 120 h 599"/>
                <a:gd name="T10" fmla="*/ 183 w 339"/>
                <a:gd name="T11" fmla="*/ 146 h 599"/>
                <a:gd name="T12" fmla="*/ 195 w 339"/>
                <a:gd name="T13" fmla="*/ 212 h 599"/>
                <a:gd name="T14" fmla="*/ 235 w 339"/>
                <a:gd name="T15" fmla="*/ 291 h 599"/>
                <a:gd name="T16" fmla="*/ 267 w 339"/>
                <a:gd name="T17" fmla="*/ 364 h 599"/>
                <a:gd name="T18" fmla="*/ 318 w 339"/>
                <a:gd name="T19" fmla="*/ 382 h 599"/>
                <a:gd name="T20" fmla="*/ 339 w 339"/>
                <a:gd name="T21" fmla="*/ 421 h 599"/>
                <a:gd name="T22" fmla="*/ 336 w 339"/>
                <a:gd name="T23" fmla="*/ 455 h 599"/>
                <a:gd name="T24" fmla="*/ 304 w 339"/>
                <a:gd name="T25" fmla="*/ 475 h 599"/>
                <a:gd name="T26" fmla="*/ 301 w 339"/>
                <a:gd name="T27" fmla="*/ 490 h 599"/>
                <a:gd name="T28" fmla="*/ 324 w 339"/>
                <a:gd name="T29" fmla="*/ 503 h 599"/>
                <a:gd name="T30" fmla="*/ 304 w 339"/>
                <a:gd name="T31" fmla="*/ 529 h 599"/>
                <a:gd name="T32" fmla="*/ 261 w 339"/>
                <a:gd name="T33" fmla="*/ 548 h 599"/>
                <a:gd name="T34" fmla="*/ 176 w 339"/>
                <a:gd name="T35" fmla="*/ 538 h 599"/>
                <a:gd name="T36" fmla="*/ 44 w 339"/>
                <a:gd name="T37" fmla="*/ 599 h 599"/>
                <a:gd name="T38" fmla="*/ 0 w 339"/>
                <a:gd name="T39" fmla="*/ 576 h 599"/>
                <a:gd name="T40" fmla="*/ 126 w 339"/>
                <a:gd name="T41" fmla="*/ 503 h 599"/>
                <a:gd name="T42" fmla="*/ 110 w 339"/>
                <a:gd name="T43" fmla="*/ 494 h 599"/>
                <a:gd name="T44" fmla="*/ 44 w 339"/>
                <a:gd name="T45" fmla="*/ 488 h 599"/>
                <a:gd name="T46" fmla="*/ 84 w 339"/>
                <a:gd name="T47" fmla="*/ 427 h 599"/>
                <a:gd name="T48" fmla="*/ 91 w 339"/>
                <a:gd name="T49" fmla="*/ 376 h 599"/>
                <a:gd name="T50" fmla="*/ 144 w 339"/>
                <a:gd name="T51" fmla="*/ 370 h 599"/>
                <a:gd name="T52" fmla="*/ 135 w 339"/>
                <a:gd name="T53" fmla="*/ 272 h 599"/>
                <a:gd name="T54" fmla="*/ 72 w 339"/>
                <a:gd name="T55" fmla="*/ 269 h 599"/>
                <a:gd name="T56" fmla="*/ 54 w 339"/>
                <a:gd name="T57" fmla="*/ 247 h 599"/>
                <a:gd name="T58" fmla="*/ 57 w 339"/>
                <a:gd name="T59" fmla="*/ 174 h 599"/>
                <a:gd name="T60" fmla="*/ 19 w 339"/>
                <a:gd name="T61" fmla="*/ 177 h 599"/>
                <a:gd name="T62" fmla="*/ 57 w 339"/>
                <a:gd name="T63" fmla="*/ 50 h 599"/>
                <a:gd name="T64" fmla="*/ 126 w 339"/>
                <a:gd name="T65" fmla="*/ 0 h 599"/>
                <a:gd name="T66" fmla="*/ 148 w 339"/>
                <a:gd name="T67" fmla="*/ 22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9" h="599">
                  <a:moveTo>
                    <a:pt x="148" y="22"/>
                  </a:moveTo>
                  <a:lnTo>
                    <a:pt x="117" y="70"/>
                  </a:lnTo>
                  <a:lnTo>
                    <a:pt x="129" y="88"/>
                  </a:lnTo>
                  <a:lnTo>
                    <a:pt x="201" y="88"/>
                  </a:lnTo>
                  <a:lnTo>
                    <a:pt x="201" y="120"/>
                  </a:lnTo>
                  <a:lnTo>
                    <a:pt x="183" y="146"/>
                  </a:lnTo>
                  <a:lnTo>
                    <a:pt x="195" y="212"/>
                  </a:lnTo>
                  <a:lnTo>
                    <a:pt x="235" y="291"/>
                  </a:lnTo>
                  <a:lnTo>
                    <a:pt x="267" y="364"/>
                  </a:lnTo>
                  <a:lnTo>
                    <a:pt x="318" y="382"/>
                  </a:lnTo>
                  <a:lnTo>
                    <a:pt x="339" y="421"/>
                  </a:lnTo>
                  <a:lnTo>
                    <a:pt x="336" y="455"/>
                  </a:lnTo>
                  <a:lnTo>
                    <a:pt x="304" y="475"/>
                  </a:lnTo>
                  <a:lnTo>
                    <a:pt x="301" y="490"/>
                  </a:lnTo>
                  <a:lnTo>
                    <a:pt x="324" y="503"/>
                  </a:lnTo>
                  <a:lnTo>
                    <a:pt x="304" y="529"/>
                  </a:lnTo>
                  <a:lnTo>
                    <a:pt x="261" y="548"/>
                  </a:lnTo>
                  <a:lnTo>
                    <a:pt x="176" y="538"/>
                  </a:lnTo>
                  <a:lnTo>
                    <a:pt x="44" y="599"/>
                  </a:lnTo>
                  <a:lnTo>
                    <a:pt x="0" y="576"/>
                  </a:lnTo>
                  <a:lnTo>
                    <a:pt x="126" y="503"/>
                  </a:lnTo>
                  <a:lnTo>
                    <a:pt x="110" y="494"/>
                  </a:lnTo>
                  <a:lnTo>
                    <a:pt x="44" y="488"/>
                  </a:lnTo>
                  <a:lnTo>
                    <a:pt x="84" y="427"/>
                  </a:lnTo>
                  <a:lnTo>
                    <a:pt x="91" y="376"/>
                  </a:lnTo>
                  <a:lnTo>
                    <a:pt x="144" y="370"/>
                  </a:lnTo>
                  <a:lnTo>
                    <a:pt x="135" y="272"/>
                  </a:lnTo>
                  <a:lnTo>
                    <a:pt x="72" y="269"/>
                  </a:lnTo>
                  <a:lnTo>
                    <a:pt x="54" y="247"/>
                  </a:lnTo>
                  <a:lnTo>
                    <a:pt x="57" y="174"/>
                  </a:lnTo>
                  <a:lnTo>
                    <a:pt x="19" y="177"/>
                  </a:lnTo>
                  <a:lnTo>
                    <a:pt x="57" y="50"/>
                  </a:lnTo>
                  <a:lnTo>
                    <a:pt x="126" y="0"/>
                  </a:lnTo>
                  <a:lnTo>
                    <a:pt x="148" y="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5" name="Freeform 300">
              <a:extLst>
                <a:ext uri="{FF2B5EF4-FFF2-40B4-BE49-F238E27FC236}">
                  <a16:creationId xmlns:a16="http://schemas.microsoft.com/office/drawing/2014/main" id="{09A5946C-8B70-48C1-BD60-24C9464C1EDD}"/>
                </a:ext>
              </a:extLst>
            </p:cNvPr>
            <p:cNvSpPr>
              <a:spLocks/>
            </p:cNvSpPr>
            <p:nvPr/>
          </p:nvSpPr>
          <p:spPr bwMode="auto">
            <a:xfrm>
              <a:off x="5731669" y="2461418"/>
              <a:ext cx="50800" cy="42863"/>
            </a:xfrm>
            <a:custGeom>
              <a:avLst/>
              <a:gdLst>
                <a:gd name="T0" fmla="*/ 60 w 95"/>
                <a:gd name="T1" fmla="*/ 0 h 82"/>
                <a:gd name="T2" fmla="*/ 3 w 95"/>
                <a:gd name="T3" fmla="*/ 6 h 82"/>
                <a:gd name="T4" fmla="*/ 0 w 95"/>
                <a:gd name="T5" fmla="*/ 57 h 82"/>
                <a:gd name="T6" fmla="*/ 38 w 95"/>
                <a:gd name="T7" fmla="*/ 82 h 82"/>
                <a:gd name="T8" fmla="*/ 78 w 95"/>
                <a:gd name="T9" fmla="*/ 73 h 82"/>
                <a:gd name="T10" fmla="*/ 95 w 95"/>
                <a:gd name="T11" fmla="*/ 45 h 82"/>
                <a:gd name="T12" fmla="*/ 60 w 95"/>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95" h="82">
                  <a:moveTo>
                    <a:pt x="60" y="0"/>
                  </a:moveTo>
                  <a:lnTo>
                    <a:pt x="3" y="6"/>
                  </a:lnTo>
                  <a:lnTo>
                    <a:pt x="0" y="57"/>
                  </a:lnTo>
                  <a:lnTo>
                    <a:pt x="38" y="82"/>
                  </a:lnTo>
                  <a:lnTo>
                    <a:pt x="78" y="73"/>
                  </a:lnTo>
                  <a:lnTo>
                    <a:pt x="95" y="45"/>
                  </a:lnTo>
                  <a:lnTo>
                    <a:pt x="6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6" name="Freeform 301">
              <a:extLst>
                <a:ext uri="{FF2B5EF4-FFF2-40B4-BE49-F238E27FC236}">
                  <a16:creationId xmlns:a16="http://schemas.microsoft.com/office/drawing/2014/main" id="{A19208ED-B476-477F-9E49-1899DC01090E}"/>
                </a:ext>
              </a:extLst>
            </p:cNvPr>
            <p:cNvSpPr>
              <a:spLocks/>
            </p:cNvSpPr>
            <p:nvPr/>
          </p:nvSpPr>
          <p:spPr bwMode="auto">
            <a:xfrm>
              <a:off x="5652294" y="2463006"/>
              <a:ext cx="120650" cy="125413"/>
            </a:xfrm>
            <a:custGeom>
              <a:avLst/>
              <a:gdLst>
                <a:gd name="T0" fmla="*/ 229 w 229"/>
                <a:gd name="T1" fmla="*/ 85 h 239"/>
                <a:gd name="T2" fmla="*/ 214 w 229"/>
                <a:gd name="T3" fmla="*/ 188 h 239"/>
                <a:gd name="T4" fmla="*/ 76 w 229"/>
                <a:gd name="T5" fmla="*/ 239 h 239"/>
                <a:gd name="T6" fmla="*/ 32 w 229"/>
                <a:gd name="T7" fmla="*/ 239 h 239"/>
                <a:gd name="T8" fmla="*/ 0 w 229"/>
                <a:gd name="T9" fmla="*/ 216 h 239"/>
                <a:gd name="T10" fmla="*/ 0 w 229"/>
                <a:gd name="T11" fmla="*/ 197 h 239"/>
                <a:gd name="T12" fmla="*/ 70 w 229"/>
                <a:gd name="T13" fmla="*/ 153 h 239"/>
                <a:gd name="T14" fmla="*/ 51 w 229"/>
                <a:gd name="T15" fmla="*/ 115 h 239"/>
                <a:gd name="T16" fmla="*/ 54 w 229"/>
                <a:gd name="T17" fmla="*/ 61 h 239"/>
                <a:gd name="T18" fmla="*/ 114 w 229"/>
                <a:gd name="T19" fmla="*/ 64 h 239"/>
                <a:gd name="T20" fmla="*/ 141 w 229"/>
                <a:gd name="T21" fmla="*/ 0 h 239"/>
                <a:gd name="T22" fmla="*/ 137 w 229"/>
                <a:gd name="T23" fmla="*/ 57 h 239"/>
                <a:gd name="T24" fmla="*/ 184 w 229"/>
                <a:gd name="T25" fmla="*/ 94 h 239"/>
                <a:gd name="T26" fmla="*/ 229 w 229"/>
                <a:gd name="T27" fmla="*/ 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239">
                  <a:moveTo>
                    <a:pt x="229" y="85"/>
                  </a:moveTo>
                  <a:lnTo>
                    <a:pt x="214" y="188"/>
                  </a:lnTo>
                  <a:lnTo>
                    <a:pt x="76" y="239"/>
                  </a:lnTo>
                  <a:lnTo>
                    <a:pt x="32" y="239"/>
                  </a:lnTo>
                  <a:lnTo>
                    <a:pt x="0" y="216"/>
                  </a:lnTo>
                  <a:lnTo>
                    <a:pt x="0" y="197"/>
                  </a:lnTo>
                  <a:lnTo>
                    <a:pt x="70" y="153"/>
                  </a:lnTo>
                  <a:lnTo>
                    <a:pt x="51" y="115"/>
                  </a:lnTo>
                  <a:lnTo>
                    <a:pt x="54" y="61"/>
                  </a:lnTo>
                  <a:lnTo>
                    <a:pt x="114" y="64"/>
                  </a:lnTo>
                  <a:lnTo>
                    <a:pt x="141" y="0"/>
                  </a:lnTo>
                  <a:lnTo>
                    <a:pt x="137" y="57"/>
                  </a:lnTo>
                  <a:lnTo>
                    <a:pt x="184" y="94"/>
                  </a:lnTo>
                  <a:lnTo>
                    <a:pt x="229" y="8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7" name="Freeform 302">
              <a:extLst>
                <a:ext uri="{FF2B5EF4-FFF2-40B4-BE49-F238E27FC236}">
                  <a16:creationId xmlns:a16="http://schemas.microsoft.com/office/drawing/2014/main" id="{1E9FEDD3-67B0-4475-AF23-56AEC33C00DE}"/>
                </a:ext>
              </a:extLst>
            </p:cNvPr>
            <p:cNvSpPr>
              <a:spLocks/>
            </p:cNvSpPr>
            <p:nvPr/>
          </p:nvSpPr>
          <p:spPr bwMode="auto">
            <a:xfrm>
              <a:off x="6136482" y="1945481"/>
              <a:ext cx="238125" cy="514350"/>
            </a:xfrm>
            <a:custGeom>
              <a:avLst/>
              <a:gdLst>
                <a:gd name="T0" fmla="*/ 311 w 452"/>
                <a:gd name="T1" fmla="*/ 0 h 971"/>
                <a:gd name="T2" fmla="*/ 345 w 452"/>
                <a:gd name="T3" fmla="*/ 31 h 971"/>
                <a:gd name="T4" fmla="*/ 408 w 452"/>
                <a:gd name="T5" fmla="*/ 31 h 971"/>
                <a:gd name="T6" fmla="*/ 442 w 452"/>
                <a:gd name="T7" fmla="*/ 97 h 971"/>
                <a:gd name="T8" fmla="*/ 452 w 452"/>
                <a:gd name="T9" fmla="*/ 211 h 971"/>
                <a:gd name="T10" fmla="*/ 367 w 452"/>
                <a:gd name="T11" fmla="*/ 272 h 971"/>
                <a:gd name="T12" fmla="*/ 367 w 452"/>
                <a:gd name="T13" fmla="*/ 332 h 971"/>
                <a:gd name="T14" fmla="*/ 307 w 452"/>
                <a:gd name="T15" fmla="*/ 414 h 971"/>
                <a:gd name="T16" fmla="*/ 273 w 452"/>
                <a:gd name="T17" fmla="*/ 417 h 971"/>
                <a:gd name="T18" fmla="*/ 226 w 452"/>
                <a:gd name="T19" fmla="*/ 496 h 971"/>
                <a:gd name="T20" fmla="*/ 229 w 452"/>
                <a:gd name="T21" fmla="*/ 572 h 971"/>
                <a:gd name="T22" fmla="*/ 310 w 452"/>
                <a:gd name="T23" fmla="*/ 632 h 971"/>
                <a:gd name="T24" fmla="*/ 304 w 452"/>
                <a:gd name="T25" fmla="*/ 667 h 971"/>
                <a:gd name="T26" fmla="*/ 273 w 452"/>
                <a:gd name="T27" fmla="*/ 714 h 971"/>
                <a:gd name="T28" fmla="*/ 226 w 452"/>
                <a:gd name="T29" fmla="*/ 756 h 971"/>
                <a:gd name="T30" fmla="*/ 229 w 452"/>
                <a:gd name="T31" fmla="*/ 892 h 971"/>
                <a:gd name="T32" fmla="*/ 157 w 452"/>
                <a:gd name="T33" fmla="*/ 917 h 971"/>
                <a:gd name="T34" fmla="*/ 132 w 452"/>
                <a:gd name="T35" fmla="*/ 971 h 971"/>
                <a:gd name="T36" fmla="*/ 97 w 452"/>
                <a:gd name="T37" fmla="*/ 971 h 971"/>
                <a:gd name="T38" fmla="*/ 78 w 452"/>
                <a:gd name="T39" fmla="*/ 876 h 971"/>
                <a:gd name="T40" fmla="*/ 0 w 452"/>
                <a:gd name="T41" fmla="*/ 755 h 971"/>
                <a:gd name="T42" fmla="*/ 64 w 452"/>
                <a:gd name="T43" fmla="*/ 647 h 971"/>
                <a:gd name="T44" fmla="*/ 69 w 452"/>
                <a:gd name="T45" fmla="*/ 380 h 971"/>
                <a:gd name="T46" fmla="*/ 113 w 452"/>
                <a:gd name="T47" fmla="*/ 356 h 971"/>
                <a:gd name="T48" fmla="*/ 123 w 452"/>
                <a:gd name="T49" fmla="*/ 203 h 971"/>
                <a:gd name="T50" fmla="*/ 250 w 452"/>
                <a:gd name="T51" fmla="*/ 21 h 971"/>
                <a:gd name="T52" fmla="*/ 311 w 452"/>
                <a:gd name="T53"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2" h="971">
                  <a:moveTo>
                    <a:pt x="311" y="0"/>
                  </a:moveTo>
                  <a:lnTo>
                    <a:pt x="345" y="31"/>
                  </a:lnTo>
                  <a:lnTo>
                    <a:pt x="408" y="31"/>
                  </a:lnTo>
                  <a:lnTo>
                    <a:pt x="442" y="97"/>
                  </a:lnTo>
                  <a:lnTo>
                    <a:pt x="452" y="211"/>
                  </a:lnTo>
                  <a:lnTo>
                    <a:pt x="367" y="272"/>
                  </a:lnTo>
                  <a:lnTo>
                    <a:pt x="367" y="332"/>
                  </a:lnTo>
                  <a:lnTo>
                    <a:pt x="307" y="414"/>
                  </a:lnTo>
                  <a:lnTo>
                    <a:pt x="273" y="417"/>
                  </a:lnTo>
                  <a:lnTo>
                    <a:pt x="226" y="496"/>
                  </a:lnTo>
                  <a:lnTo>
                    <a:pt x="229" y="572"/>
                  </a:lnTo>
                  <a:lnTo>
                    <a:pt x="310" y="632"/>
                  </a:lnTo>
                  <a:lnTo>
                    <a:pt x="304" y="667"/>
                  </a:lnTo>
                  <a:lnTo>
                    <a:pt x="273" y="714"/>
                  </a:lnTo>
                  <a:lnTo>
                    <a:pt x="226" y="756"/>
                  </a:lnTo>
                  <a:lnTo>
                    <a:pt x="229" y="892"/>
                  </a:lnTo>
                  <a:lnTo>
                    <a:pt x="157" y="917"/>
                  </a:lnTo>
                  <a:lnTo>
                    <a:pt x="132" y="971"/>
                  </a:lnTo>
                  <a:lnTo>
                    <a:pt x="97" y="971"/>
                  </a:lnTo>
                  <a:lnTo>
                    <a:pt x="78" y="876"/>
                  </a:lnTo>
                  <a:lnTo>
                    <a:pt x="0" y="755"/>
                  </a:lnTo>
                  <a:lnTo>
                    <a:pt x="64" y="647"/>
                  </a:lnTo>
                  <a:lnTo>
                    <a:pt x="69" y="380"/>
                  </a:lnTo>
                  <a:lnTo>
                    <a:pt x="113" y="356"/>
                  </a:lnTo>
                  <a:lnTo>
                    <a:pt x="123" y="203"/>
                  </a:lnTo>
                  <a:lnTo>
                    <a:pt x="250" y="21"/>
                  </a:lnTo>
                  <a:lnTo>
                    <a:pt x="3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8" name="Freeform 303">
              <a:extLst>
                <a:ext uri="{FF2B5EF4-FFF2-40B4-BE49-F238E27FC236}">
                  <a16:creationId xmlns:a16="http://schemas.microsoft.com/office/drawing/2014/main" id="{7B839BF7-7AB5-4D67-BDEC-AA53B98296C1}"/>
                </a:ext>
              </a:extLst>
            </p:cNvPr>
            <p:cNvSpPr>
              <a:spLocks/>
            </p:cNvSpPr>
            <p:nvPr/>
          </p:nvSpPr>
          <p:spPr bwMode="auto">
            <a:xfrm>
              <a:off x="6306344" y="1889918"/>
              <a:ext cx="238125" cy="392113"/>
            </a:xfrm>
            <a:custGeom>
              <a:avLst/>
              <a:gdLst>
                <a:gd name="T0" fmla="*/ 145 w 451"/>
                <a:gd name="T1" fmla="*/ 318 h 741"/>
                <a:gd name="T2" fmla="*/ 181 w 451"/>
                <a:gd name="T3" fmla="*/ 333 h 741"/>
                <a:gd name="T4" fmla="*/ 203 w 451"/>
                <a:gd name="T5" fmla="*/ 375 h 741"/>
                <a:gd name="T6" fmla="*/ 181 w 451"/>
                <a:gd name="T7" fmla="*/ 403 h 741"/>
                <a:gd name="T8" fmla="*/ 71 w 451"/>
                <a:gd name="T9" fmla="*/ 523 h 741"/>
                <a:gd name="T10" fmla="*/ 52 w 451"/>
                <a:gd name="T11" fmla="*/ 586 h 741"/>
                <a:gd name="T12" fmla="*/ 77 w 451"/>
                <a:gd name="T13" fmla="*/ 678 h 741"/>
                <a:gd name="T14" fmla="*/ 163 w 451"/>
                <a:gd name="T15" fmla="*/ 741 h 741"/>
                <a:gd name="T16" fmla="*/ 275 w 451"/>
                <a:gd name="T17" fmla="*/ 687 h 741"/>
                <a:gd name="T18" fmla="*/ 367 w 451"/>
                <a:gd name="T19" fmla="*/ 675 h 741"/>
                <a:gd name="T20" fmla="*/ 451 w 451"/>
                <a:gd name="T21" fmla="*/ 539 h 741"/>
                <a:gd name="T22" fmla="*/ 389 w 451"/>
                <a:gd name="T23" fmla="*/ 390 h 741"/>
                <a:gd name="T24" fmla="*/ 329 w 451"/>
                <a:gd name="T25" fmla="*/ 248 h 741"/>
                <a:gd name="T26" fmla="*/ 338 w 451"/>
                <a:gd name="T27" fmla="*/ 155 h 741"/>
                <a:gd name="T28" fmla="*/ 301 w 451"/>
                <a:gd name="T29" fmla="*/ 149 h 741"/>
                <a:gd name="T30" fmla="*/ 291 w 451"/>
                <a:gd name="T31" fmla="*/ 82 h 741"/>
                <a:gd name="T32" fmla="*/ 240 w 451"/>
                <a:gd name="T33" fmla="*/ 0 h 741"/>
                <a:gd name="T34" fmla="*/ 184 w 451"/>
                <a:gd name="T35" fmla="*/ 39 h 741"/>
                <a:gd name="T36" fmla="*/ 162 w 451"/>
                <a:gd name="T37" fmla="*/ 129 h 741"/>
                <a:gd name="T38" fmla="*/ 102 w 451"/>
                <a:gd name="T39" fmla="*/ 92 h 741"/>
                <a:gd name="T40" fmla="*/ 20 w 451"/>
                <a:gd name="T41" fmla="*/ 73 h 741"/>
                <a:gd name="T42" fmla="*/ 0 w 451"/>
                <a:gd name="T43" fmla="*/ 94 h 741"/>
                <a:gd name="T44" fmla="*/ 33 w 451"/>
                <a:gd name="T45" fmla="*/ 123 h 741"/>
                <a:gd name="T46" fmla="*/ 91 w 451"/>
                <a:gd name="T47" fmla="*/ 122 h 741"/>
                <a:gd name="T48" fmla="*/ 137 w 451"/>
                <a:gd name="T49" fmla="*/ 198 h 741"/>
                <a:gd name="T50" fmla="*/ 145 w 451"/>
                <a:gd name="T51" fmla="*/ 318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1" h="741">
                  <a:moveTo>
                    <a:pt x="145" y="318"/>
                  </a:moveTo>
                  <a:lnTo>
                    <a:pt x="181" y="333"/>
                  </a:lnTo>
                  <a:lnTo>
                    <a:pt x="203" y="375"/>
                  </a:lnTo>
                  <a:lnTo>
                    <a:pt x="181" y="403"/>
                  </a:lnTo>
                  <a:lnTo>
                    <a:pt x="71" y="523"/>
                  </a:lnTo>
                  <a:lnTo>
                    <a:pt x="52" y="586"/>
                  </a:lnTo>
                  <a:lnTo>
                    <a:pt x="77" y="678"/>
                  </a:lnTo>
                  <a:lnTo>
                    <a:pt x="163" y="741"/>
                  </a:lnTo>
                  <a:lnTo>
                    <a:pt x="275" y="687"/>
                  </a:lnTo>
                  <a:lnTo>
                    <a:pt x="367" y="675"/>
                  </a:lnTo>
                  <a:lnTo>
                    <a:pt x="451" y="539"/>
                  </a:lnTo>
                  <a:lnTo>
                    <a:pt x="389" y="390"/>
                  </a:lnTo>
                  <a:lnTo>
                    <a:pt x="329" y="248"/>
                  </a:lnTo>
                  <a:lnTo>
                    <a:pt x="338" y="155"/>
                  </a:lnTo>
                  <a:lnTo>
                    <a:pt x="301" y="149"/>
                  </a:lnTo>
                  <a:lnTo>
                    <a:pt x="291" y="82"/>
                  </a:lnTo>
                  <a:lnTo>
                    <a:pt x="240" y="0"/>
                  </a:lnTo>
                  <a:lnTo>
                    <a:pt x="184" y="39"/>
                  </a:lnTo>
                  <a:lnTo>
                    <a:pt x="162" y="129"/>
                  </a:lnTo>
                  <a:lnTo>
                    <a:pt x="102" y="92"/>
                  </a:lnTo>
                  <a:lnTo>
                    <a:pt x="20" y="73"/>
                  </a:lnTo>
                  <a:lnTo>
                    <a:pt x="0" y="94"/>
                  </a:lnTo>
                  <a:lnTo>
                    <a:pt x="33" y="123"/>
                  </a:lnTo>
                  <a:lnTo>
                    <a:pt x="91" y="122"/>
                  </a:lnTo>
                  <a:lnTo>
                    <a:pt x="137" y="198"/>
                  </a:lnTo>
                  <a:lnTo>
                    <a:pt x="145" y="31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9" name="Freeform 304">
              <a:extLst>
                <a:ext uri="{FF2B5EF4-FFF2-40B4-BE49-F238E27FC236}">
                  <a16:creationId xmlns:a16="http://schemas.microsoft.com/office/drawing/2014/main" id="{8A86E67A-DEDE-4C47-BC1E-77585A2718D5}"/>
                </a:ext>
              </a:extLst>
            </p:cNvPr>
            <p:cNvSpPr>
              <a:spLocks/>
            </p:cNvSpPr>
            <p:nvPr/>
          </p:nvSpPr>
          <p:spPr bwMode="auto">
            <a:xfrm>
              <a:off x="6423819" y="2359818"/>
              <a:ext cx="82550" cy="69850"/>
            </a:xfrm>
            <a:custGeom>
              <a:avLst/>
              <a:gdLst>
                <a:gd name="T0" fmla="*/ 117 w 156"/>
                <a:gd name="T1" fmla="*/ 20 h 132"/>
                <a:gd name="T2" fmla="*/ 0 w 156"/>
                <a:gd name="T3" fmla="*/ 0 h 132"/>
                <a:gd name="T4" fmla="*/ 3 w 156"/>
                <a:gd name="T5" fmla="*/ 65 h 132"/>
                <a:gd name="T6" fmla="*/ 111 w 156"/>
                <a:gd name="T7" fmla="*/ 132 h 132"/>
                <a:gd name="T8" fmla="*/ 156 w 156"/>
                <a:gd name="T9" fmla="*/ 119 h 132"/>
                <a:gd name="T10" fmla="*/ 153 w 156"/>
                <a:gd name="T11" fmla="*/ 69 h 132"/>
                <a:gd name="T12" fmla="*/ 117 w 156"/>
                <a:gd name="T13" fmla="*/ 20 h 132"/>
              </a:gdLst>
              <a:ahLst/>
              <a:cxnLst>
                <a:cxn ang="0">
                  <a:pos x="T0" y="T1"/>
                </a:cxn>
                <a:cxn ang="0">
                  <a:pos x="T2" y="T3"/>
                </a:cxn>
                <a:cxn ang="0">
                  <a:pos x="T4" y="T5"/>
                </a:cxn>
                <a:cxn ang="0">
                  <a:pos x="T6" y="T7"/>
                </a:cxn>
                <a:cxn ang="0">
                  <a:pos x="T8" y="T9"/>
                </a:cxn>
                <a:cxn ang="0">
                  <a:pos x="T10" y="T11"/>
                </a:cxn>
                <a:cxn ang="0">
                  <a:pos x="T12" y="T13"/>
                </a:cxn>
              </a:cxnLst>
              <a:rect l="0" t="0" r="r" b="b"/>
              <a:pathLst>
                <a:path w="156" h="132">
                  <a:moveTo>
                    <a:pt x="117" y="20"/>
                  </a:moveTo>
                  <a:lnTo>
                    <a:pt x="0" y="0"/>
                  </a:lnTo>
                  <a:lnTo>
                    <a:pt x="3" y="65"/>
                  </a:lnTo>
                  <a:lnTo>
                    <a:pt x="111" y="132"/>
                  </a:lnTo>
                  <a:lnTo>
                    <a:pt x="156" y="119"/>
                  </a:lnTo>
                  <a:lnTo>
                    <a:pt x="153" y="69"/>
                  </a:lnTo>
                  <a:lnTo>
                    <a:pt x="117" y="2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0" name="Freeform 305">
              <a:extLst>
                <a:ext uri="{FF2B5EF4-FFF2-40B4-BE49-F238E27FC236}">
                  <a16:creationId xmlns:a16="http://schemas.microsoft.com/office/drawing/2014/main" id="{1F97DBB6-B6EB-4C1C-A282-E3C84D67EE0A}"/>
                </a:ext>
              </a:extLst>
            </p:cNvPr>
            <p:cNvSpPr>
              <a:spLocks/>
            </p:cNvSpPr>
            <p:nvPr/>
          </p:nvSpPr>
          <p:spPr bwMode="auto">
            <a:xfrm>
              <a:off x="6360319" y="2336006"/>
              <a:ext cx="26988" cy="17463"/>
            </a:xfrm>
            <a:custGeom>
              <a:avLst/>
              <a:gdLst>
                <a:gd name="T0" fmla="*/ 41 w 51"/>
                <a:gd name="T1" fmla="*/ 1 h 33"/>
                <a:gd name="T2" fmla="*/ 15 w 51"/>
                <a:gd name="T3" fmla="*/ 0 h 33"/>
                <a:gd name="T4" fmla="*/ 0 w 51"/>
                <a:gd name="T5" fmla="*/ 15 h 33"/>
                <a:gd name="T6" fmla="*/ 11 w 51"/>
                <a:gd name="T7" fmla="*/ 31 h 33"/>
                <a:gd name="T8" fmla="*/ 37 w 51"/>
                <a:gd name="T9" fmla="*/ 33 h 33"/>
                <a:gd name="T10" fmla="*/ 51 w 51"/>
                <a:gd name="T11" fmla="*/ 13 h 33"/>
                <a:gd name="T12" fmla="*/ 41 w 51"/>
                <a:gd name="T13" fmla="*/ 1 h 33"/>
              </a:gdLst>
              <a:ahLst/>
              <a:cxnLst>
                <a:cxn ang="0">
                  <a:pos x="T0" y="T1"/>
                </a:cxn>
                <a:cxn ang="0">
                  <a:pos x="T2" y="T3"/>
                </a:cxn>
                <a:cxn ang="0">
                  <a:pos x="T4" y="T5"/>
                </a:cxn>
                <a:cxn ang="0">
                  <a:pos x="T6" y="T7"/>
                </a:cxn>
                <a:cxn ang="0">
                  <a:pos x="T8" y="T9"/>
                </a:cxn>
                <a:cxn ang="0">
                  <a:pos x="T10" y="T11"/>
                </a:cxn>
                <a:cxn ang="0">
                  <a:pos x="T12" y="T13"/>
                </a:cxn>
              </a:cxnLst>
              <a:rect l="0" t="0" r="r" b="b"/>
              <a:pathLst>
                <a:path w="51" h="33">
                  <a:moveTo>
                    <a:pt x="41" y="1"/>
                  </a:moveTo>
                  <a:lnTo>
                    <a:pt x="15" y="0"/>
                  </a:lnTo>
                  <a:lnTo>
                    <a:pt x="0" y="15"/>
                  </a:lnTo>
                  <a:lnTo>
                    <a:pt x="11" y="31"/>
                  </a:lnTo>
                  <a:lnTo>
                    <a:pt x="37" y="33"/>
                  </a:lnTo>
                  <a:lnTo>
                    <a:pt x="51" y="13"/>
                  </a:lnTo>
                  <a:lnTo>
                    <a:pt x="41" y="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1" name="Freeform 306">
              <a:extLst>
                <a:ext uri="{FF2B5EF4-FFF2-40B4-BE49-F238E27FC236}">
                  <a16:creationId xmlns:a16="http://schemas.microsoft.com/office/drawing/2014/main" id="{F09F9A6C-7B64-4A6E-8736-36E3E2FCA92D}"/>
                </a:ext>
              </a:extLst>
            </p:cNvPr>
            <p:cNvSpPr>
              <a:spLocks/>
            </p:cNvSpPr>
            <p:nvPr/>
          </p:nvSpPr>
          <p:spPr bwMode="auto">
            <a:xfrm>
              <a:off x="6342857" y="2372518"/>
              <a:ext cx="53975" cy="46038"/>
            </a:xfrm>
            <a:custGeom>
              <a:avLst/>
              <a:gdLst>
                <a:gd name="T0" fmla="*/ 71 w 102"/>
                <a:gd name="T1" fmla="*/ 3 h 88"/>
                <a:gd name="T2" fmla="*/ 46 w 102"/>
                <a:gd name="T3" fmla="*/ 0 h 88"/>
                <a:gd name="T4" fmla="*/ 0 w 102"/>
                <a:gd name="T5" fmla="*/ 54 h 88"/>
                <a:gd name="T6" fmla="*/ 0 w 102"/>
                <a:gd name="T7" fmla="*/ 81 h 88"/>
                <a:gd name="T8" fmla="*/ 16 w 102"/>
                <a:gd name="T9" fmla="*/ 87 h 88"/>
                <a:gd name="T10" fmla="*/ 45 w 102"/>
                <a:gd name="T11" fmla="*/ 88 h 88"/>
                <a:gd name="T12" fmla="*/ 95 w 102"/>
                <a:gd name="T13" fmla="*/ 47 h 88"/>
                <a:gd name="T14" fmla="*/ 102 w 102"/>
                <a:gd name="T15" fmla="*/ 33 h 88"/>
                <a:gd name="T16" fmla="*/ 71 w 102"/>
                <a:gd name="T17" fmla="*/ 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88">
                  <a:moveTo>
                    <a:pt x="71" y="3"/>
                  </a:moveTo>
                  <a:lnTo>
                    <a:pt x="46" y="0"/>
                  </a:lnTo>
                  <a:lnTo>
                    <a:pt x="0" y="54"/>
                  </a:lnTo>
                  <a:lnTo>
                    <a:pt x="0" y="81"/>
                  </a:lnTo>
                  <a:lnTo>
                    <a:pt x="16" y="87"/>
                  </a:lnTo>
                  <a:lnTo>
                    <a:pt x="45" y="88"/>
                  </a:lnTo>
                  <a:lnTo>
                    <a:pt x="95" y="47"/>
                  </a:lnTo>
                  <a:lnTo>
                    <a:pt x="102" y="33"/>
                  </a:lnTo>
                  <a:lnTo>
                    <a:pt x="71" y="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2" name="Freeform 307">
              <a:extLst>
                <a:ext uri="{FF2B5EF4-FFF2-40B4-BE49-F238E27FC236}">
                  <a16:creationId xmlns:a16="http://schemas.microsoft.com/office/drawing/2014/main" id="{237D395A-60FA-495E-8EC1-D686F4FE4701}"/>
                </a:ext>
              </a:extLst>
            </p:cNvPr>
            <p:cNvSpPr>
              <a:spLocks/>
            </p:cNvSpPr>
            <p:nvPr/>
          </p:nvSpPr>
          <p:spPr bwMode="auto">
            <a:xfrm>
              <a:off x="6338094" y="2399506"/>
              <a:ext cx="139700" cy="98425"/>
            </a:xfrm>
            <a:custGeom>
              <a:avLst/>
              <a:gdLst>
                <a:gd name="T0" fmla="*/ 153 w 265"/>
                <a:gd name="T1" fmla="*/ 1 h 186"/>
                <a:gd name="T2" fmla="*/ 117 w 265"/>
                <a:gd name="T3" fmla="*/ 0 h 186"/>
                <a:gd name="T4" fmla="*/ 66 w 265"/>
                <a:gd name="T5" fmla="*/ 49 h 186"/>
                <a:gd name="T6" fmla="*/ 24 w 265"/>
                <a:gd name="T7" fmla="*/ 49 h 186"/>
                <a:gd name="T8" fmla="*/ 27 w 265"/>
                <a:gd name="T9" fmla="*/ 109 h 186"/>
                <a:gd name="T10" fmla="*/ 0 w 265"/>
                <a:gd name="T11" fmla="*/ 157 h 186"/>
                <a:gd name="T12" fmla="*/ 93 w 265"/>
                <a:gd name="T13" fmla="*/ 158 h 186"/>
                <a:gd name="T14" fmla="*/ 120 w 265"/>
                <a:gd name="T15" fmla="*/ 154 h 186"/>
                <a:gd name="T16" fmla="*/ 146 w 265"/>
                <a:gd name="T17" fmla="*/ 186 h 186"/>
                <a:gd name="T18" fmla="*/ 207 w 265"/>
                <a:gd name="T19" fmla="*/ 183 h 186"/>
                <a:gd name="T20" fmla="*/ 265 w 265"/>
                <a:gd name="T21" fmla="*/ 109 h 186"/>
                <a:gd name="T22" fmla="*/ 262 w 265"/>
                <a:gd name="T23" fmla="*/ 65 h 186"/>
                <a:gd name="T24" fmla="*/ 153 w 265"/>
                <a:gd name="T25" fmla="*/ 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186">
                  <a:moveTo>
                    <a:pt x="153" y="1"/>
                  </a:moveTo>
                  <a:lnTo>
                    <a:pt x="117" y="0"/>
                  </a:lnTo>
                  <a:lnTo>
                    <a:pt x="66" y="49"/>
                  </a:lnTo>
                  <a:lnTo>
                    <a:pt x="24" y="49"/>
                  </a:lnTo>
                  <a:lnTo>
                    <a:pt x="27" y="109"/>
                  </a:lnTo>
                  <a:lnTo>
                    <a:pt x="0" y="157"/>
                  </a:lnTo>
                  <a:lnTo>
                    <a:pt x="93" y="158"/>
                  </a:lnTo>
                  <a:lnTo>
                    <a:pt x="120" y="154"/>
                  </a:lnTo>
                  <a:lnTo>
                    <a:pt x="146" y="186"/>
                  </a:lnTo>
                  <a:lnTo>
                    <a:pt x="207" y="183"/>
                  </a:lnTo>
                  <a:lnTo>
                    <a:pt x="265" y="109"/>
                  </a:lnTo>
                  <a:lnTo>
                    <a:pt x="262" y="65"/>
                  </a:lnTo>
                  <a:lnTo>
                    <a:pt x="153" y="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3" name="Freeform 308">
              <a:extLst>
                <a:ext uri="{FF2B5EF4-FFF2-40B4-BE49-F238E27FC236}">
                  <a16:creationId xmlns:a16="http://schemas.microsoft.com/office/drawing/2014/main" id="{9848A023-BCAA-4D09-AD99-13E608A5C335}"/>
                </a:ext>
              </a:extLst>
            </p:cNvPr>
            <p:cNvSpPr>
              <a:spLocks/>
            </p:cNvSpPr>
            <p:nvPr/>
          </p:nvSpPr>
          <p:spPr bwMode="auto">
            <a:xfrm>
              <a:off x="6417469" y="2429668"/>
              <a:ext cx="193675" cy="146050"/>
            </a:xfrm>
            <a:custGeom>
              <a:avLst/>
              <a:gdLst>
                <a:gd name="T0" fmla="*/ 0 w 364"/>
                <a:gd name="T1" fmla="*/ 143 h 278"/>
                <a:gd name="T2" fmla="*/ 26 w 364"/>
                <a:gd name="T3" fmla="*/ 186 h 278"/>
                <a:gd name="T4" fmla="*/ 16 w 364"/>
                <a:gd name="T5" fmla="*/ 220 h 278"/>
                <a:gd name="T6" fmla="*/ 18 w 364"/>
                <a:gd name="T7" fmla="*/ 247 h 278"/>
                <a:gd name="T8" fmla="*/ 27 w 364"/>
                <a:gd name="T9" fmla="*/ 278 h 278"/>
                <a:gd name="T10" fmla="*/ 80 w 364"/>
                <a:gd name="T11" fmla="*/ 248 h 278"/>
                <a:gd name="T12" fmla="*/ 146 w 364"/>
                <a:gd name="T13" fmla="*/ 250 h 278"/>
                <a:gd name="T14" fmla="*/ 192 w 364"/>
                <a:gd name="T15" fmla="*/ 269 h 278"/>
                <a:gd name="T16" fmla="*/ 309 w 364"/>
                <a:gd name="T17" fmla="*/ 269 h 278"/>
                <a:gd name="T18" fmla="*/ 343 w 364"/>
                <a:gd name="T19" fmla="*/ 187 h 278"/>
                <a:gd name="T20" fmla="*/ 364 w 364"/>
                <a:gd name="T21" fmla="*/ 156 h 278"/>
                <a:gd name="T22" fmla="*/ 364 w 364"/>
                <a:gd name="T23" fmla="*/ 135 h 278"/>
                <a:gd name="T24" fmla="*/ 291 w 364"/>
                <a:gd name="T25" fmla="*/ 32 h 278"/>
                <a:gd name="T26" fmla="*/ 226 w 364"/>
                <a:gd name="T27" fmla="*/ 6 h 278"/>
                <a:gd name="T28" fmla="*/ 172 w 364"/>
                <a:gd name="T29" fmla="*/ 0 h 278"/>
                <a:gd name="T30" fmla="*/ 126 w 364"/>
                <a:gd name="T31" fmla="*/ 14 h 278"/>
                <a:gd name="T32" fmla="*/ 127 w 364"/>
                <a:gd name="T33" fmla="*/ 61 h 278"/>
                <a:gd name="T34" fmla="*/ 63 w 364"/>
                <a:gd name="T35" fmla="*/ 142 h 278"/>
                <a:gd name="T36" fmla="*/ 0 w 364"/>
                <a:gd name="T37" fmla="*/ 1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278">
                  <a:moveTo>
                    <a:pt x="0" y="143"/>
                  </a:moveTo>
                  <a:lnTo>
                    <a:pt x="26" y="186"/>
                  </a:lnTo>
                  <a:lnTo>
                    <a:pt x="16" y="220"/>
                  </a:lnTo>
                  <a:lnTo>
                    <a:pt x="18" y="247"/>
                  </a:lnTo>
                  <a:lnTo>
                    <a:pt x="27" y="278"/>
                  </a:lnTo>
                  <a:lnTo>
                    <a:pt x="80" y="248"/>
                  </a:lnTo>
                  <a:lnTo>
                    <a:pt x="146" y="250"/>
                  </a:lnTo>
                  <a:lnTo>
                    <a:pt x="192" y="269"/>
                  </a:lnTo>
                  <a:lnTo>
                    <a:pt x="309" y="269"/>
                  </a:lnTo>
                  <a:lnTo>
                    <a:pt x="343" y="187"/>
                  </a:lnTo>
                  <a:lnTo>
                    <a:pt x="364" y="156"/>
                  </a:lnTo>
                  <a:lnTo>
                    <a:pt x="364" y="135"/>
                  </a:lnTo>
                  <a:lnTo>
                    <a:pt x="291" y="32"/>
                  </a:lnTo>
                  <a:lnTo>
                    <a:pt x="226" y="6"/>
                  </a:lnTo>
                  <a:lnTo>
                    <a:pt x="172" y="0"/>
                  </a:lnTo>
                  <a:lnTo>
                    <a:pt x="126" y="14"/>
                  </a:lnTo>
                  <a:lnTo>
                    <a:pt x="127" y="61"/>
                  </a:lnTo>
                  <a:lnTo>
                    <a:pt x="63" y="142"/>
                  </a:lnTo>
                  <a:lnTo>
                    <a:pt x="0" y="14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4" name="Freeform 309">
              <a:extLst>
                <a:ext uri="{FF2B5EF4-FFF2-40B4-BE49-F238E27FC236}">
                  <a16:creationId xmlns:a16="http://schemas.microsoft.com/office/drawing/2014/main" id="{F57F4E61-2518-42D0-BBE9-81857CE23A49}"/>
                </a:ext>
              </a:extLst>
            </p:cNvPr>
            <p:cNvSpPr>
              <a:spLocks/>
            </p:cNvSpPr>
            <p:nvPr/>
          </p:nvSpPr>
          <p:spPr bwMode="auto">
            <a:xfrm>
              <a:off x="6222207" y="2470943"/>
              <a:ext cx="212725" cy="190500"/>
            </a:xfrm>
            <a:custGeom>
              <a:avLst/>
              <a:gdLst>
                <a:gd name="T0" fmla="*/ 383 w 401"/>
                <a:gd name="T1" fmla="*/ 210 h 360"/>
                <a:gd name="T2" fmla="*/ 398 w 401"/>
                <a:gd name="T3" fmla="*/ 237 h 360"/>
                <a:gd name="T4" fmla="*/ 401 w 401"/>
                <a:gd name="T5" fmla="*/ 265 h 360"/>
                <a:gd name="T6" fmla="*/ 389 w 401"/>
                <a:gd name="T7" fmla="*/ 293 h 360"/>
                <a:gd name="T8" fmla="*/ 361 w 401"/>
                <a:gd name="T9" fmla="*/ 346 h 360"/>
                <a:gd name="T10" fmla="*/ 338 w 401"/>
                <a:gd name="T11" fmla="*/ 356 h 360"/>
                <a:gd name="T12" fmla="*/ 309 w 401"/>
                <a:gd name="T13" fmla="*/ 343 h 360"/>
                <a:gd name="T14" fmla="*/ 290 w 401"/>
                <a:gd name="T15" fmla="*/ 344 h 360"/>
                <a:gd name="T16" fmla="*/ 247 w 401"/>
                <a:gd name="T17" fmla="*/ 360 h 360"/>
                <a:gd name="T18" fmla="*/ 197 w 401"/>
                <a:gd name="T19" fmla="*/ 346 h 360"/>
                <a:gd name="T20" fmla="*/ 117 w 401"/>
                <a:gd name="T21" fmla="*/ 289 h 360"/>
                <a:gd name="T22" fmla="*/ 38 w 401"/>
                <a:gd name="T23" fmla="*/ 246 h 360"/>
                <a:gd name="T24" fmla="*/ 6 w 401"/>
                <a:gd name="T25" fmla="*/ 197 h 360"/>
                <a:gd name="T26" fmla="*/ 0 w 401"/>
                <a:gd name="T27" fmla="*/ 84 h 360"/>
                <a:gd name="T28" fmla="*/ 62 w 401"/>
                <a:gd name="T29" fmla="*/ 30 h 360"/>
                <a:gd name="T30" fmla="*/ 142 w 401"/>
                <a:gd name="T31" fmla="*/ 3 h 360"/>
                <a:gd name="T32" fmla="*/ 173 w 401"/>
                <a:gd name="T33" fmla="*/ 0 h 360"/>
                <a:gd name="T34" fmla="*/ 160 w 401"/>
                <a:gd name="T35" fmla="*/ 24 h 360"/>
                <a:gd name="T36" fmla="*/ 167 w 401"/>
                <a:gd name="T37" fmla="*/ 34 h 360"/>
                <a:gd name="T38" fmla="*/ 303 w 401"/>
                <a:gd name="T39" fmla="*/ 36 h 360"/>
                <a:gd name="T40" fmla="*/ 333 w 401"/>
                <a:gd name="T41" fmla="*/ 35 h 360"/>
                <a:gd name="T42" fmla="*/ 381 w 401"/>
                <a:gd name="T43" fmla="*/ 109 h 360"/>
                <a:gd name="T44" fmla="*/ 368 w 401"/>
                <a:gd name="T45" fmla="*/ 138 h 360"/>
                <a:gd name="T46" fmla="*/ 373 w 401"/>
                <a:gd name="T47" fmla="*/ 174 h 360"/>
                <a:gd name="T48" fmla="*/ 383 w 401"/>
                <a:gd name="T49" fmla="*/ 21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360">
                  <a:moveTo>
                    <a:pt x="383" y="210"/>
                  </a:moveTo>
                  <a:lnTo>
                    <a:pt x="398" y="237"/>
                  </a:lnTo>
                  <a:lnTo>
                    <a:pt x="401" y="265"/>
                  </a:lnTo>
                  <a:lnTo>
                    <a:pt x="389" y="293"/>
                  </a:lnTo>
                  <a:lnTo>
                    <a:pt x="361" y="346"/>
                  </a:lnTo>
                  <a:lnTo>
                    <a:pt x="338" y="356"/>
                  </a:lnTo>
                  <a:lnTo>
                    <a:pt x="309" y="343"/>
                  </a:lnTo>
                  <a:lnTo>
                    <a:pt x="290" y="344"/>
                  </a:lnTo>
                  <a:lnTo>
                    <a:pt x="247" y="360"/>
                  </a:lnTo>
                  <a:lnTo>
                    <a:pt x="197" y="346"/>
                  </a:lnTo>
                  <a:lnTo>
                    <a:pt x="117" y="289"/>
                  </a:lnTo>
                  <a:lnTo>
                    <a:pt x="38" y="246"/>
                  </a:lnTo>
                  <a:lnTo>
                    <a:pt x="6" y="197"/>
                  </a:lnTo>
                  <a:lnTo>
                    <a:pt x="0" y="84"/>
                  </a:lnTo>
                  <a:lnTo>
                    <a:pt x="62" y="30"/>
                  </a:lnTo>
                  <a:lnTo>
                    <a:pt x="142" y="3"/>
                  </a:lnTo>
                  <a:lnTo>
                    <a:pt x="173" y="0"/>
                  </a:lnTo>
                  <a:lnTo>
                    <a:pt x="160" y="24"/>
                  </a:lnTo>
                  <a:lnTo>
                    <a:pt x="167" y="34"/>
                  </a:lnTo>
                  <a:lnTo>
                    <a:pt x="303" y="36"/>
                  </a:lnTo>
                  <a:lnTo>
                    <a:pt x="333" y="35"/>
                  </a:lnTo>
                  <a:lnTo>
                    <a:pt x="381" y="109"/>
                  </a:lnTo>
                  <a:lnTo>
                    <a:pt x="368" y="138"/>
                  </a:lnTo>
                  <a:lnTo>
                    <a:pt x="373" y="174"/>
                  </a:lnTo>
                  <a:lnTo>
                    <a:pt x="383" y="21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5" name="Freeform 310">
              <a:extLst>
                <a:ext uri="{FF2B5EF4-FFF2-40B4-BE49-F238E27FC236}">
                  <a16:creationId xmlns:a16="http://schemas.microsoft.com/office/drawing/2014/main" id="{34518D47-1F08-46DF-9560-DB4171D7550C}"/>
                </a:ext>
              </a:extLst>
            </p:cNvPr>
            <p:cNvSpPr>
              <a:spLocks/>
            </p:cNvSpPr>
            <p:nvPr/>
          </p:nvSpPr>
          <p:spPr bwMode="auto">
            <a:xfrm>
              <a:off x="5690394" y="2845593"/>
              <a:ext cx="276225" cy="227013"/>
            </a:xfrm>
            <a:custGeom>
              <a:avLst/>
              <a:gdLst>
                <a:gd name="T0" fmla="*/ 310 w 524"/>
                <a:gd name="T1" fmla="*/ 19 h 430"/>
                <a:gd name="T2" fmla="*/ 92 w 524"/>
                <a:gd name="T3" fmla="*/ 19 h 430"/>
                <a:gd name="T4" fmla="*/ 47 w 524"/>
                <a:gd name="T5" fmla="*/ 0 h 430"/>
                <a:gd name="T6" fmla="*/ 26 w 524"/>
                <a:gd name="T7" fmla="*/ 1 h 430"/>
                <a:gd name="T8" fmla="*/ 0 w 524"/>
                <a:gd name="T9" fmla="*/ 55 h 430"/>
                <a:gd name="T10" fmla="*/ 9 w 524"/>
                <a:gd name="T11" fmla="*/ 110 h 430"/>
                <a:gd name="T12" fmla="*/ 93 w 524"/>
                <a:gd name="T13" fmla="*/ 118 h 430"/>
                <a:gd name="T14" fmla="*/ 104 w 524"/>
                <a:gd name="T15" fmla="*/ 152 h 430"/>
                <a:gd name="T16" fmla="*/ 67 w 524"/>
                <a:gd name="T17" fmla="*/ 357 h 430"/>
                <a:gd name="T18" fmla="*/ 68 w 524"/>
                <a:gd name="T19" fmla="*/ 394 h 430"/>
                <a:gd name="T20" fmla="*/ 127 w 524"/>
                <a:gd name="T21" fmla="*/ 426 h 430"/>
                <a:gd name="T22" fmla="*/ 196 w 524"/>
                <a:gd name="T23" fmla="*/ 430 h 430"/>
                <a:gd name="T24" fmla="*/ 332 w 524"/>
                <a:gd name="T25" fmla="*/ 397 h 430"/>
                <a:gd name="T26" fmla="*/ 399 w 524"/>
                <a:gd name="T27" fmla="*/ 313 h 430"/>
                <a:gd name="T28" fmla="*/ 400 w 524"/>
                <a:gd name="T29" fmla="*/ 227 h 430"/>
                <a:gd name="T30" fmla="*/ 519 w 524"/>
                <a:gd name="T31" fmla="*/ 121 h 430"/>
                <a:gd name="T32" fmla="*/ 524 w 524"/>
                <a:gd name="T33" fmla="*/ 73 h 430"/>
                <a:gd name="T34" fmla="*/ 416 w 524"/>
                <a:gd name="T35" fmla="*/ 72 h 430"/>
                <a:gd name="T36" fmla="*/ 310 w 524"/>
                <a:gd name="T37" fmla="*/ 19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4" h="430">
                  <a:moveTo>
                    <a:pt x="310" y="19"/>
                  </a:moveTo>
                  <a:lnTo>
                    <a:pt x="92" y="19"/>
                  </a:lnTo>
                  <a:lnTo>
                    <a:pt x="47" y="0"/>
                  </a:lnTo>
                  <a:lnTo>
                    <a:pt x="26" y="1"/>
                  </a:lnTo>
                  <a:lnTo>
                    <a:pt x="0" y="55"/>
                  </a:lnTo>
                  <a:lnTo>
                    <a:pt x="9" y="110"/>
                  </a:lnTo>
                  <a:lnTo>
                    <a:pt x="93" y="118"/>
                  </a:lnTo>
                  <a:lnTo>
                    <a:pt x="104" y="152"/>
                  </a:lnTo>
                  <a:lnTo>
                    <a:pt x="67" y="357"/>
                  </a:lnTo>
                  <a:lnTo>
                    <a:pt x="68" y="394"/>
                  </a:lnTo>
                  <a:lnTo>
                    <a:pt x="127" y="426"/>
                  </a:lnTo>
                  <a:lnTo>
                    <a:pt x="196" y="430"/>
                  </a:lnTo>
                  <a:lnTo>
                    <a:pt x="332" y="397"/>
                  </a:lnTo>
                  <a:lnTo>
                    <a:pt x="399" y="313"/>
                  </a:lnTo>
                  <a:lnTo>
                    <a:pt x="400" y="227"/>
                  </a:lnTo>
                  <a:lnTo>
                    <a:pt x="519" y="121"/>
                  </a:lnTo>
                  <a:lnTo>
                    <a:pt x="524" y="73"/>
                  </a:lnTo>
                  <a:lnTo>
                    <a:pt x="416" y="72"/>
                  </a:lnTo>
                  <a:lnTo>
                    <a:pt x="310" y="1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6" name="Freeform 311">
              <a:extLst>
                <a:ext uri="{FF2B5EF4-FFF2-40B4-BE49-F238E27FC236}">
                  <a16:creationId xmlns:a16="http://schemas.microsoft.com/office/drawing/2014/main" id="{8EDEABCC-F58C-4C7A-8B44-A43B45DF125D}"/>
                </a:ext>
              </a:extLst>
            </p:cNvPr>
            <p:cNvSpPr>
              <a:spLocks/>
            </p:cNvSpPr>
            <p:nvPr/>
          </p:nvSpPr>
          <p:spPr bwMode="auto">
            <a:xfrm>
              <a:off x="5674519" y="2912268"/>
              <a:ext cx="61913" cy="147638"/>
            </a:xfrm>
            <a:custGeom>
              <a:avLst/>
              <a:gdLst>
                <a:gd name="T0" fmla="*/ 40 w 118"/>
                <a:gd name="T1" fmla="*/ 0 h 278"/>
                <a:gd name="T2" fmla="*/ 30 w 118"/>
                <a:gd name="T3" fmla="*/ 148 h 278"/>
                <a:gd name="T4" fmla="*/ 0 w 118"/>
                <a:gd name="T5" fmla="*/ 175 h 278"/>
                <a:gd name="T6" fmla="*/ 3 w 118"/>
                <a:gd name="T7" fmla="*/ 192 h 278"/>
                <a:gd name="T8" fmla="*/ 24 w 118"/>
                <a:gd name="T9" fmla="*/ 227 h 278"/>
                <a:gd name="T10" fmla="*/ 11 w 118"/>
                <a:gd name="T11" fmla="*/ 270 h 278"/>
                <a:gd name="T12" fmla="*/ 33 w 118"/>
                <a:gd name="T13" fmla="*/ 278 h 278"/>
                <a:gd name="T14" fmla="*/ 86 w 118"/>
                <a:gd name="T15" fmla="*/ 272 h 278"/>
                <a:gd name="T16" fmla="*/ 83 w 118"/>
                <a:gd name="T17" fmla="*/ 228 h 278"/>
                <a:gd name="T18" fmla="*/ 118 w 118"/>
                <a:gd name="T19" fmla="*/ 30 h 278"/>
                <a:gd name="T20" fmla="*/ 110 w 118"/>
                <a:gd name="T21" fmla="*/ 3 h 278"/>
                <a:gd name="T22" fmla="*/ 40 w 118"/>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278">
                  <a:moveTo>
                    <a:pt x="40" y="0"/>
                  </a:moveTo>
                  <a:lnTo>
                    <a:pt x="30" y="148"/>
                  </a:lnTo>
                  <a:lnTo>
                    <a:pt x="0" y="175"/>
                  </a:lnTo>
                  <a:lnTo>
                    <a:pt x="3" y="192"/>
                  </a:lnTo>
                  <a:lnTo>
                    <a:pt x="24" y="227"/>
                  </a:lnTo>
                  <a:lnTo>
                    <a:pt x="11" y="270"/>
                  </a:lnTo>
                  <a:lnTo>
                    <a:pt x="33" y="278"/>
                  </a:lnTo>
                  <a:lnTo>
                    <a:pt x="86" y="272"/>
                  </a:lnTo>
                  <a:lnTo>
                    <a:pt x="83" y="228"/>
                  </a:lnTo>
                  <a:lnTo>
                    <a:pt x="118" y="30"/>
                  </a:lnTo>
                  <a:lnTo>
                    <a:pt x="110" y="3"/>
                  </a:lnTo>
                  <a:lnTo>
                    <a:pt x="4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7" name="Freeform 312">
              <a:extLst>
                <a:ext uri="{FF2B5EF4-FFF2-40B4-BE49-F238E27FC236}">
                  <a16:creationId xmlns:a16="http://schemas.microsoft.com/office/drawing/2014/main" id="{EBAD470D-7AF2-4E95-9642-5332C00C5594}"/>
                </a:ext>
              </a:extLst>
            </p:cNvPr>
            <p:cNvSpPr>
              <a:spLocks/>
            </p:cNvSpPr>
            <p:nvPr/>
          </p:nvSpPr>
          <p:spPr bwMode="auto">
            <a:xfrm>
              <a:off x="5955507" y="2966243"/>
              <a:ext cx="31750" cy="19050"/>
            </a:xfrm>
            <a:custGeom>
              <a:avLst/>
              <a:gdLst>
                <a:gd name="T0" fmla="*/ 26 w 61"/>
                <a:gd name="T1" fmla="*/ 0 h 35"/>
                <a:gd name="T2" fmla="*/ 0 w 61"/>
                <a:gd name="T3" fmla="*/ 11 h 35"/>
                <a:gd name="T4" fmla="*/ 6 w 61"/>
                <a:gd name="T5" fmla="*/ 35 h 35"/>
                <a:gd name="T6" fmla="*/ 44 w 61"/>
                <a:gd name="T7" fmla="*/ 35 h 35"/>
                <a:gd name="T8" fmla="*/ 61 w 61"/>
                <a:gd name="T9" fmla="*/ 17 h 35"/>
                <a:gd name="T10" fmla="*/ 26 w 61"/>
                <a:gd name="T11" fmla="*/ 0 h 35"/>
              </a:gdLst>
              <a:ahLst/>
              <a:cxnLst>
                <a:cxn ang="0">
                  <a:pos x="T0" y="T1"/>
                </a:cxn>
                <a:cxn ang="0">
                  <a:pos x="T2" y="T3"/>
                </a:cxn>
                <a:cxn ang="0">
                  <a:pos x="T4" y="T5"/>
                </a:cxn>
                <a:cxn ang="0">
                  <a:pos x="T6" y="T7"/>
                </a:cxn>
                <a:cxn ang="0">
                  <a:pos x="T8" y="T9"/>
                </a:cxn>
                <a:cxn ang="0">
                  <a:pos x="T10" y="T11"/>
                </a:cxn>
              </a:cxnLst>
              <a:rect l="0" t="0" r="r" b="b"/>
              <a:pathLst>
                <a:path w="61" h="35">
                  <a:moveTo>
                    <a:pt x="26" y="0"/>
                  </a:moveTo>
                  <a:lnTo>
                    <a:pt x="0" y="11"/>
                  </a:lnTo>
                  <a:lnTo>
                    <a:pt x="6" y="35"/>
                  </a:lnTo>
                  <a:lnTo>
                    <a:pt x="44" y="35"/>
                  </a:lnTo>
                  <a:lnTo>
                    <a:pt x="61" y="17"/>
                  </a:lnTo>
                  <a:lnTo>
                    <a:pt x="2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8" name="Freeform 313">
              <a:extLst>
                <a:ext uri="{FF2B5EF4-FFF2-40B4-BE49-F238E27FC236}">
                  <a16:creationId xmlns:a16="http://schemas.microsoft.com/office/drawing/2014/main" id="{52225551-680C-4ACC-A41C-3442ED9580E4}"/>
                </a:ext>
              </a:extLst>
            </p:cNvPr>
            <p:cNvSpPr>
              <a:spLocks/>
            </p:cNvSpPr>
            <p:nvPr/>
          </p:nvSpPr>
          <p:spPr bwMode="auto">
            <a:xfrm>
              <a:off x="6093619" y="2931318"/>
              <a:ext cx="36513" cy="63500"/>
            </a:xfrm>
            <a:custGeom>
              <a:avLst/>
              <a:gdLst>
                <a:gd name="T0" fmla="*/ 46 w 70"/>
                <a:gd name="T1" fmla="*/ 0 h 118"/>
                <a:gd name="T2" fmla="*/ 0 w 70"/>
                <a:gd name="T3" fmla="*/ 23 h 118"/>
                <a:gd name="T4" fmla="*/ 6 w 70"/>
                <a:gd name="T5" fmla="*/ 112 h 118"/>
                <a:gd name="T6" fmla="*/ 43 w 70"/>
                <a:gd name="T7" fmla="*/ 118 h 118"/>
                <a:gd name="T8" fmla="*/ 70 w 70"/>
                <a:gd name="T9" fmla="*/ 92 h 118"/>
                <a:gd name="T10" fmla="*/ 70 w 70"/>
                <a:gd name="T11" fmla="*/ 8 h 118"/>
                <a:gd name="T12" fmla="*/ 46 w 70"/>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70" h="118">
                  <a:moveTo>
                    <a:pt x="46" y="0"/>
                  </a:moveTo>
                  <a:lnTo>
                    <a:pt x="0" y="23"/>
                  </a:lnTo>
                  <a:lnTo>
                    <a:pt x="6" y="112"/>
                  </a:lnTo>
                  <a:lnTo>
                    <a:pt x="43" y="118"/>
                  </a:lnTo>
                  <a:lnTo>
                    <a:pt x="70" y="92"/>
                  </a:lnTo>
                  <a:lnTo>
                    <a:pt x="70" y="8"/>
                  </a:lnTo>
                  <a:lnTo>
                    <a:pt x="4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9" name="Freeform 314">
              <a:extLst>
                <a:ext uri="{FF2B5EF4-FFF2-40B4-BE49-F238E27FC236}">
                  <a16:creationId xmlns:a16="http://schemas.microsoft.com/office/drawing/2014/main" id="{959840D2-44E4-438E-B933-85F7062E00A2}"/>
                </a:ext>
              </a:extLst>
            </p:cNvPr>
            <p:cNvSpPr>
              <a:spLocks/>
            </p:cNvSpPr>
            <p:nvPr/>
          </p:nvSpPr>
          <p:spPr bwMode="auto">
            <a:xfrm>
              <a:off x="6101557" y="2874168"/>
              <a:ext cx="22225" cy="42863"/>
            </a:xfrm>
            <a:custGeom>
              <a:avLst/>
              <a:gdLst>
                <a:gd name="T0" fmla="*/ 36 w 43"/>
                <a:gd name="T1" fmla="*/ 0 h 80"/>
                <a:gd name="T2" fmla="*/ 3 w 43"/>
                <a:gd name="T3" fmla="*/ 33 h 80"/>
                <a:gd name="T4" fmla="*/ 0 w 43"/>
                <a:gd name="T5" fmla="*/ 64 h 80"/>
                <a:gd name="T6" fmla="*/ 27 w 43"/>
                <a:gd name="T7" fmla="*/ 80 h 80"/>
                <a:gd name="T8" fmla="*/ 37 w 43"/>
                <a:gd name="T9" fmla="*/ 79 h 80"/>
                <a:gd name="T10" fmla="*/ 43 w 43"/>
                <a:gd name="T11" fmla="*/ 34 h 80"/>
                <a:gd name="T12" fmla="*/ 36 w 43"/>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43" h="80">
                  <a:moveTo>
                    <a:pt x="36" y="0"/>
                  </a:moveTo>
                  <a:lnTo>
                    <a:pt x="3" y="33"/>
                  </a:lnTo>
                  <a:lnTo>
                    <a:pt x="0" y="64"/>
                  </a:lnTo>
                  <a:lnTo>
                    <a:pt x="27" y="80"/>
                  </a:lnTo>
                  <a:lnTo>
                    <a:pt x="37" y="79"/>
                  </a:lnTo>
                  <a:lnTo>
                    <a:pt x="43" y="34"/>
                  </a:lnTo>
                  <a:lnTo>
                    <a:pt x="36"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0" name="Freeform 315">
              <a:extLst>
                <a:ext uri="{FF2B5EF4-FFF2-40B4-BE49-F238E27FC236}">
                  <a16:creationId xmlns:a16="http://schemas.microsoft.com/office/drawing/2014/main" id="{494EF8D3-6B1F-4A04-9DD3-AF8A6BAF4115}"/>
                </a:ext>
              </a:extLst>
            </p:cNvPr>
            <p:cNvSpPr>
              <a:spLocks/>
            </p:cNvSpPr>
            <p:nvPr/>
          </p:nvSpPr>
          <p:spPr bwMode="auto">
            <a:xfrm>
              <a:off x="5796757" y="2618581"/>
              <a:ext cx="284163" cy="258763"/>
            </a:xfrm>
            <a:custGeom>
              <a:avLst/>
              <a:gdLst>
                <a:gd name="T0" fmla="*/ 313 w 537"/>
                <a:gd name="T1" fmla="*/ 0 h 489"/>
                <a:gd name="T2" fmla="*/ 274 w 537"/>
                <a:gd name="T3" fmla="*/ 9 h 489"/>
                <a:gd name="T4" fmla="*/ 199 w 537"/>
                <a:gd name="T5" fmla="*/ 91 h 489"/>
                <a:gd name="T6" fmla="*/ 176 w 537"/>
                <a:gd name="T7" fmla="*/ 93 h 489"/>
                <a:gd name="T8" fmla="*/ 145 w 537"/>
                <a:gd name="T9" fmla="*/ 71 h 489"/>
                <a:gd name="T10" fmla="*/ 126 w 537"/>
                <a:gd name="T11" fmla="*/ 76 h 489"/>
                <a:gd name="T12" fmla="*/ 111 w 537"/>
                <a:gd name="T13" fmla="*/ 123 h 489"/>
                <a:gd name="T14" fmla="*/ 0 w 537"/>
                <a:gd name="T15" fmla="*/ 126 h 489"/>
                <a:gd name="T16" fmla="*/ 3 w 537"/>
                <a:gd name="T17" fmla="*/ 151 h 489"/>
                <a:gd name="T18" fmla="*/ 79 w 537"/>
                <a:gd name="T19" fmla="*/ 201 h 489"/>
                <a:gd name="T20" fmla="*/ 167 w 537"/>
                <a:gd name="T21" fmla="*/ 271 h 489"/>
                <a:gd name="T22" fmla="*/ 166 w 537"/>
                <a:gd name="T23" fmla="*/ 355 h 489"/>
                <a:gd name="T24" fmla="*/ 119 w 537"/>
                <a:gd name="T25" fmla="*/ 437 h 489"/>
                <a:gd name="T26" fmla="*/ 220 w 537"/>
                <a:gd name="T27" fmla="*/ 486 h 489"/>
                <a:gd name="T28" fmla="*/ 323 w 537"/>
                <a:gd name="T29" fmla="*/ 489 h 489"/>
                <a:gd name="T30" fmla="*/ 355 w 537"/>
                <a:gd name="T31" fmla="*/ 452 h 489"/>
                <a:gd name="T32" fmla="*/ 420 w 537"/>
                <a:gd name="T33" fmla="*/ 454 h 489"/>
                <a:gd name="T34" fmla="*/ 439 w 537"/>
                <a:gd name="T35" fmla="*/ 471 h 489"/>
                <a:gd name="T36" fmla="*/ 504 w 537"/>
                <a:gd name="T37" fmla="*/ 467 h 489"/>
                <a:gd name="T38" fmla="*/ 537 w 537"/>
                <a:gd name="T39" fmla="*/ 424 h 489"/>
                <a:gd name="T40" fmla="*/ 494 w 537"/>
                <a:gd name="T41" fmla="*/ 373 h 489"/>
                <a:gd name="T42" fmla="*/ 491 w 537"/>
                <a:gd name="T43" fmla="*/ 341 h 489"/>
                <a:gd name="T44" fmla="*/ 501 w 537"/>
                <a:gd name="T45" fmla="*/ 306 h 489"/>
                <a:gd name="T46" fmla="*/ 479 w 537"/>
                <a:gd name="T47" fmla="*/ 276 h 489"/>
                <a:gd name="T48" fmla="*/ 443 w 537"/>
                <a:gd name="T49" fmla="*/ 286 h 489"/>
                <a:gd name="T50" fmla="*/ 439 w 537"/>
                <a:gd name="T51" fmla="*/ 258 h 489"/>
                <a:gd name="T52" fmla="*/ 519 w 537"/>
                <a:gd name="T53" fmla="*/ 170 h 489"/>
                <a:gd name="T54" fmla="*/ 519 w 537"/>
                <a:gd name="T55" fmla="*/ 116 h 489"/>
                <a:gd name="T56" fmla="*/ 465 w 537"/>
                <a:gd name="T57" fmla="*/ 86 h 489"/>
                <a:gd name="T58" fmla="*/ 439 w 537"/>
                <a:gd name="T59" fmla="*/ 82 h 489"/>
                <a:gd name="T60" fmla="*/ 313 w 537"/>
                <a:gd name="T61"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7" h="489">
                  <a:moveTo>
                    <a:pt x="313" y="0"/>
                  </a:moveTo>
                  <a:lnTo>
                    <a:pt x="274" y="9"/>
                  </a:lnTo>
                  <a:lnTo>
                    <a:pt x="199" y="91"/>
                  </a:lnTo>
                  <a:lnTo>
                    <a:pt x="176" y="93"/>
                  </a:lnTo>
                  <a:lnTo>
                    <a:pt x="145" y="71"/>
                  </a:lnTo>
                  <a:lnTo>
                    <a:pt x="126" y="76"/>
                  </a:lnTo>
                  <a:lnTo>
                    <a:pt x="111" y="123"/>
                  </a:lnTo>
                  <a:lnTo>
                    <a:pt x="0" y="126"/>
                  </a:lnTo>
                  <a:lnTo>
                    <a:pt x="3" y="151"/>
                  </a:lnTo>
                  <a:lnTo>
                    <a:pt x="79" y="201"/>
                  </a:lnTo>
                  <a:lnTo>
                    <a:pt x="167" y="271"/>
                  </a:lnTo>
                  <a:lnTo>
                    <a:pt x="166" y="355"/>
                  </a:lnTo>
                  <a:lnTo>
                    <a:pt x="119" y="437"/>
                  </a:lnTo>
                  <a:lnTo>
                    <a:pt x="220" y="486"/>
                  </a:lnTo>
                  <a:lnTo>
                    <a:pt x="323" y="489"/>
                  </a:lnTo>
                  <a:lnTo>
                    <a:pt x="355" y="452"/>
                  </a:lnTo>
                  <a:lnTo>
                    <a:pt x="420" y="454"/>
                  </a:lnTo>
                  <a:lnTo>
                    <a:pt x="439" y="471"/>
                  </a:lnTo>
                  <a:lnTo>
                    <a:pt x="504" y="467"/>
                  </a:lnTo>
                  <a:lnTo>
                    <a:pt x="537" y="424"/>
                  </a:lnTo>
                  <a:lnTo>
                    <a:pt x="494" y="373"/>
                  </a:lnTo>
                  <a:lnTo>
                    <a:pt x="491" y="341"/>
                  </a:lnTo>
                  <a:lnTo>
                    <a:pt x="501" y="306"/>
                  </a:lnTo>
                  <a:lnTo>
                    <a:pt x="479" y="276"/>
                  </a:lnTo>
                  <a:lnTo>
                    <a:pt x="443" y="286"/>
                  </a:lnTo>
                  <a:lnTo>
                    <a:pt x="439" y="258"/>
                  </a:lnTo>
                  <a:lnTo>
                    <a:pt x="519" y="170"/>
                  </a:lnTo>
                  <a:lnTo>
                    <a:pt x="519" y="116"/>
                  </a:lnTo>
                  <a:lnTo>
                    <a:pt x="465" y="86"/>
                  </a:lnTo>
                  <a:lnTo>
                    <a:pt x="439" y="82"/>
                  </a:lnTo>
                  <a:lnTo>
                    <a:pt x="31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1" name="Freeform 316">
              <a:extLst>
                <a:ext uri="{FF2B5EF4-FFF2-40B4-BE49-F238E27FC236}">
                  <a16:creationId xmlns:a16="http://schemas.microsoft.com/office/drawing/2014/main" id="{8068C971-D4B2-47ED-96F9-E9D171EB790D}"/>
                </a:ext>
              </a:extLst>
            </p:cNvPr>
            <p:cNvSpPr>
              <a:spLocks/>
            </p:cNvSpPr>
            <p:nvPr/>
          </p:nvSpPr>
          <p:spPr bwMode="auto">
            <a:xfrm>
              <a:off x="5977732" y="2523331"/>
              <a:ext cx="82550" cy="88900"/>
            </a:xfrm>
            <a:custGeom>
              <a:avLst/>
              <a:gdLst>
                <a:gd name="T0" fmla="*/ 137 w 155"/>
                <a:gd name="T1" fmla="*/ 0 h 168"/>
                <a:gd name="T2" fmla="*/ 60 w 155"/>
                <a:gd name="T3" fmla="*/ 37 h 168"/>
                <a:gd name="T4" fmla="*/ 76 w 155"/>
                <a:gd name="T5" fmla="*/ 53 h 168"/>
                <a:gd name="T6" fmla="*/ 78 w 155"/>
                <a:gd name="T7" fmla="*/ 91 h 168"/>
                <a:gd name="T8" fmla="*/ 61 w 155"/>
                <a:gd name="T9" fmla="*/ 87 h 168"/>
                <a:gd name="T10" fmla="*/ 44 w 155"/>
                <a:gd name="T11" fmla="*/ 60 h 168"/>
                <a:gd name="T12" fmla="*/ 0 w 155"/>
                <a:gd name="T13" fmla="*/ 128 h 168"/>
                <a:gd name="T14" fmla="*/ 66 w 155"/>
                <a:gd name="T15" fmla="*/ 142 h 168"/>
                <a:gd name="T16" fmla="*/ 92 w 155"/>
                <a:gd name="T17" fmla="*/ 168 h 168"/>
                <a:gd name="T18" fmla="*/ 105 w 155"/>
                <a:gd name="T19" fmla="*/ 168 h 168"/>
                <a:gd name="T20" fmla="*/ 114 w 155"/>
                <a:gd name="T21" fmla="*/ 110 h 168"/>
                <a:gd name="T22" fmla="*/ 155 w 155"/>
                <a:gd name="T23" fmla="*/ 91 h 168"/>
                <a:gd name="T24" fmla="*/ 137 w 155"/>
                <a:gd name="T2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 h="168">
                  <a:moveTo>
                    <a:pt x="137" y="0"/>
                  </a:moveTo>
                  <a:lnTo>
                    <a:pt x="60" y="37"/>
                  </a:lnTo>
                  <a:lnTo>
                    <a:pt x="76" y="53"/>
                  </a:lnTo>
                  <a:lnTo>
                    <a:pt x="78" y="91"/>
                  </a:lnTo>
                  <a:lnTo>
                    <a:pt x="61" y="87"/>
                  </a:lnTo>
                  <a:lnTo>
                    <a:pt x="44" y="60"/>
                  </a:lnTo>
                  <a:lnTo>
                    <a:pt x="0" y="128"/>
                  </a:lnTo>
                  <a:lnTo>
                    <a:pt x="66" y="142"/>
                  </a:lnTo>
                  <a:lnTo>
                    <a:pt x="92" y="168"/>
                  </a:lnTo>
                  <a:lnTo>
                    <a:pt x="105" y="168"/>
                  </a:lnTo>
                  <a:lnTo>
                    <a:pt x="114" y="110"/>
                  </a:lnTo>
                  <a:lnTo>
                    <a:pt x="155" y="91"/>
                  </a:lnTo>
                  <a:lnTo>
                    <a:pt x="13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2" name="Freeform 317">
              <a:extLst>
                <a:ext uri="{FF2B5EF4-FFF2-40B4-BE49-F238E27FC236}">
                  <a16:creationId xmlns:a16="http://schemas.microsoft.com/office/drawing/2014/main" id="{AE302540-B557-4E2B-84F0-8343DBF125B3}"/>
                </a:ext>
              </a:extLst>
            </p:cNvPr>
            <p:cNvSpPr>
              <a:spLocks/>
            </p:cNvSpPr>
            <p:nvPr/>
          </p:nvSpPr>
          <p:spPr bwMode="auto">
            <a:xfrm>
              <a:off x="5968207" y="2597943"/>
              <a:ext cx="80963" cy="60325"/>
            </a:xfrm>
            <a:custGeom>
              <a:avLst/>
              <a:gdLst>
                <a:gd name="T0" fmla="*/ 11 w 153"/>
                <a:gd name="T1" fmla="*/ 0 h 113"/>
                <a:gd name="T2" fmla="*/ 0 w 153"/>
                <a:gd name="T3" fmla="*/ 27 h 113"/>
                <a:gd name="T4" fmla="*/ 118 w 153"/>
                <a:gd name="T5" fmla="*/ 106 h 113"/>
                <a:gd name="T6" fmla="*/ 152 w 153"/>
                <a:gd name="T7" fmla="*/ 113 h 113"/>
                <a:gd name="T8" fmla="*/ 153 w 153"/>
                <a:gd name="T9" fmla="*/ 76 h 113"/>
                <a:gd name="T10" fmla="*/ 124 w 153"/>
                <a:gd name="T11" fmla="*/ 43 h 113"/>
                <a:gd name="T12" fmla="*/ 105 w 153"/>
                <a:gd name="T13" fmla="*/ 43 h 113"/>
                <a:gd name="T14" fmla="*/ 80 w 153"/>
                <a:gd name="T15" fmla="*/ 15 h 113"/>
                <a:gd name="T16" fmla="*/ 11 w 153"/>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13">
                  <a:moveTo>
                    <a:pt x="11" y="0"/>
                  </a:moveTo>
                  <a:lnTo>
                    <a:pt x="0" y="27"/>
                  </a:lnTo>
                  <a:lnTo>
                    <a:pt x="118" y="106"/>
                  </a:lnTo>
                  <a:lnTo>
                    <a:pt x="152" y="113"/>
                  </a:lnTo>
                  <a:lnTo>
                    <a:pt x="153" y="76"/>
                  </a:lnTo>
                  <a:lnTo>
                    <a:pt x="124" y="43"/>
                  </a:lnTo>
                  <a:lnTo>
                    <a:pt x="105" y="43"/>
                  </a:lnTo>
                  <a:lnTo>
                    <a:pt x="80" y="15"/>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3" name="Freeform 318">
              <a:extLst>
                <a:ext uri="{FF2B5EF4-FFF2-40B4-BE49-F238E27FC236}">
                  <a16:creationId xmlns:a16="http://schemas.microsoft.com/office/drawing/2014/main" id="{4946E9DB-4222-46EF-9689-777AE0F3A804}"/>
                </a:ext>
              </a:extLst>
            </p:cNvPr>
            <p:cNvSpPr>
              <a:spLocks/>
            </p:cNvSpPr>
            <p:nvPr/>
          </p:nvSpPr>
          <p:spPr bwMode="auto">
            <a:xfrm>
              <a:off x="6041232" y="2486818"/>
              <a:ext cx="195263" cy="244475"/>
            </a:xfrm>
            <a:custGeom>
              <a:avLst/>
              <a:gdLst>
                <a:gd name="T0" fmla="*/ 36 w 371"/>
                <a:gd name="T1" fmla="*/ 61 h 460"/>
                <a:gd name="T2" fmla="*/ 97 w 371"/>
                <a:gd name="T3" fmla="*/ 51 h 460"/>
                <a:gd name="T4" fmla="*/ 97 w 371"/>
                <a:gd name="T5" fmla="*/ 8 h 460"/>
                <a:gd name="T6" fmla="*/ 149 w 371"/>
                <a:gd name="T7" fmla="*/ 0 h 460"/>
                <a:gd name="T8" fmla="*/ 177 w 371"/>
                <a:gd name="T9" fmla="*/ 27 h 460"/>
                <a:gd name="T10" fmla="*/ 206 w 371"/>
                <a:gd name="T11" fmla="*/ 31 h 460"/>
                <a:gd name="T12" fmla="*/ 253 w 371"/>
                <a:gd name="T13" fmla="*/ 11 h 460"/>
                <a:gd name="T14" fmla="*/ 294 w 371"/>
                <a:gd name="T15" fmla="*/ 22 h 460"/>
                <a:gd name="T16" fmla="*/ 330 w 371"/>
                <a:gd name="T17" fmla="*/ 54 h 460"/>
                <a:gd name="T18" fmla="*/ 335 w 371"/>
                <a:gd name="T19" fmla="*/ 172 h 460"/>
                <a:gd name="T20" fmla="*/ 371 w 371"/>
                <a:gd name="T21" fmla="*/ 220 h 460"/>
                <a:gd name="T22" fmla="*/ 324 w 371"/>
                <a:gd name="T23" fmla="*/ 227 h 460"/>
                <a:gd name="T24" fmla="*/ 245 w 371"/>
                <a:gd name="T25" fmla="*/ 277 h 460"/>
                <a:gd name="T26" fmla="*/ 251 w 371"/>
                <a:gd name="T27" fmla="*/ 293 h 460"/>
                <a:gd name="T28" fmla="*/ 322 w 371"/>
                <a:gd name="T29" fmla="*/ 360 h 460"/>
                <a:gd name="T30" fmla="*/ 317 w 371"/>
                <a:gd name="T31" fmla="*/ 393 h 460"/>
                <a:gd name="T32" fmla="*/ 251 w 371"/>
                <a:gd name="T33" fmla="*/ 426 h 460"/>
                <a:gd name="T34" fmla="*/ 190 w 371"/>
                <a:gd name="T35" fmla="*/ 428 h 460"/>
                <a:gd name="T36" fmla="*/ 176 w 371"/>
                <a:gd name="T37" fmla="*/ 460 h 460"/>
                <a:gd name="T38" fmla="*/ 144 w 371"/>
                <a:gd name="T39" fmla="*/ 460 h 460"/>
                <a:gd name="T40" fmla="*/ 129 w 371"/>
                <a:gd name="T41" fmla="*/ 426 h 460"/>
                <a:gd name="T42" fmla="*/ 74 w 371"/>
                <a:gd name="T43" fmla="*/ 413 h 460"/>
                <a:gd name="T44" fmla="*/ 73 w 371"/>
                <a:gd name="T45" fmla="*/ 358 h 460"/>
                <a:gd name="T46" fmla="*/ 26 w 371"/>
                <a:gd name="T47" fmla="*/ 327 h 460"/>
                <a:gd name="T48" fmla="*/ 31 w 371"/>
                <a:gd name="T49" fmla="*/ 287 h 460"/>
                <a:gd name="T50" fmla="*/ 0 w 371"/>
                <a:gd name="T51" fmla="*/ 244 h 460"/>
                <a:gd name="T52" fmla="*/ 8 w 371"/>
                <a:gd name="T53" fmla="*/ 188 h 460"/>
                <a:gd name="T54" fmla="*/ 51 w 371"/>
                <a:gd name="T55" fmla="*/ 167 h 460"/>
                <a:gd name="T56" fmla="*/ 36 w 371"/>
                <a:gd name="T57" fmla="*/ 6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1" h="460">
                  <a:moveTo>
                    <a:pt x="36" y="61"/>
                  </a:moveTo>
                  <a:lnTo>
                    <a:pt x="97" y="51"/>
                  </a:lnTo>
                  <a:lnTo>
                    <a:pt x="97" y="8"/>
                  </a:lnTo>
                  <a:lnTo>
                    <a:pt x="149" y="0"/>
                  </a:lnTo>
                  <a:lnTo>
                    <a:pt x="177" y="27"/>
                  </a:lnTo>
                  <a:lnTo>
                    <a:pt x="206" y="31"/>
                  </a:lnTo>
                  <a:lnTo>
                    <a:pt x="253" y="11"/>
                  </a:lnTo>
                  <a:lnTo>
                    <a:pt x="294" y="22"/>
                  </a:lnTo>
                  <a:lnTo>
                    <a:pt x="330" y="54"/>
                  </a:lnTo>
                  <a:lnTo>
                    <a:pt x="335" y="172"/>
                  </a:lnTo>
                  <a:lnTo>
                    <a:pt x="371" y="220"/>
                  </a:lnTo>
                  <a:lnTo>
                    <a:pt x="324" y="227"/>
                  </a:lnTo>
                  <a:lnTo>
                    <a:pt x="245" y="277"/>
                  </a:lnTo>
                  <a:lnTo>
                    <a:pt x="251" y="293"/>
                  </a:lnTo>
                  <a:lnTo>
                    <a:pt x="322" y="360"/>
                  </a:lnTo>
                  <a:lnTo>
                    <a:pt x="317" y="393"/>
                  </a:lnTo>
                  <a:lnTo>
                    <a:pt x="251" y="426"/>
                  </a:lnTo>
                  <a:lnTo>
                    <a:pt x="190" y="428"/>
                  </a:lnTo>
                  <a:lnTo>
                    <a:pt x="176" y="460"/>
                  </a:lnTo>
                  <a:lnTo>
                    <a:pt x="144" y="460"/>
                  </a:lnTo>
                  <a:lnTo>
                    <a:pt x="129" y="426"/>
                  </a:lnTo>
                  <a:lnTo>
                    <a:pt x="74" y="413"/>
                  </a:lnTo>
                  <a:lnTo>
                    <a:pt x="73" y="358"/>
                  </a:lnTo>
                  <a:lnTo>
                    <a:pt x="26" y="327"/>
                  </a:lnTo>
                  <a:lnTo>
                    <a:pt x="31" y="287"/>
                  </a:lnTo>
                  <a:lnTo>
                    <a:pt x="0" y="244"/>
                  </a:lnTo>
                  <a:lnTo>
                    <a:pt x="8" y="188"/>
                  </a:lnTo>
                  <a:lnTo>
                    <a:pt x="51" y="167"/>
                  </a:lnTo>
                  <a:lnTo>
                    <a:pt x="36" y="6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4" name="Freeform 319">
              <a:extLst>
                <a:ext uri="{FF2B5EF4-FFF2-40B4-BE49-F238E27FC236}">
                  <a16:creationId xmlns:a16="http://schemas.microsoft.com/office/drawing/2014/main" id="{8543B85A-46BA-48D0-913D-9D0A846B5A1D}"/>
                </a:ext>
              </a:extLst>
            </p:cNvPr>
            <p:cNvSpPr>
              <a:spLocks/>
            </p:cNvSpPr>
            <p:nvPr/>
          </p:nvSpPr>
          <p:spPr bwMode="auto">
            <a:xfrm>
              <a:off x="6071394" y="2370931"/>
              <a:ext cx="58738" cy="114300"/>
            </a:xfrm>
            <a:custGeom>
              <a:avLst/>
              <a:gdLst>
                <a:gd name="T0" fmla="*/ 74 w 111"/>
                <a:gd name="T1" fmla="*/ 0 h 214"/>
                <a:gd name="T2" fmla="*/ 3 w 111"/>
                <a:gd name="T3" fmla="*/ 78 h 214"/>
                <a:gd name="T4" fmla="*/ 0 w 111"/>
                <a:gd name="T5" fmla="*/ 130 h 214"/>
                <a:gd name="T6" fmla="*/ 32 w 111"/>
                <a:gd name="T7" fmla="*/ 214 h 214"/>
                <a:gd name="T8" fmla="*/ 83 w 111"/>
                <a:gd name="T9" fmla="*/ 204 h 214"/>
                <a:gd name="T10" fmla="*/ 77 w 111"/>
                <a:gd name="T11" fmla="*/ 135 h 214"/>
                <a:gd name="T12" fmla="*/ 111 w 111"/>
                <a:gd name="T13" fmla="*/ 96 h 214"/>
                <a:gd name="T14" fmla="*/ 111 w 111"/>
                <a:gd name="T15" fmla="*/ 66 h 214"/>
                <a:gd name="T16" fmla="*/ 86 w 111"/>
                <a:gd name="T17" fmla="*/ 2 h 214"/>
                <a:gd name="T18" fmla="*/ 74 w 111"/>
                <a:gd name="T19"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214">
                  <a:moveTo>
                    <a:pt x="74" y="0"/>
                  </a:moveTo>
                  <a:lnTo>
                    <a:pt x="3" y="78"/>
                  </a:lnTo>
                  <a:lnTo>
                    <a:pt x="0" y="130"/>
                  </a:lnTo>
                  <a:lnTo>
                    <a:pt x="32" y="214"/>
                  </a:lnTo>
                  <a:lnTo>
                    <a:pt x="83" y="204"/>
                  </a:lnTo>
                  <a:lnTo>
                    <a:pt x="77" y="135"/>
                  </a:lnTo>
                  <a:lnTo>
                    <a:pt x="111" y="96"/>
                  </a:lnTo>
                  <a:lnTo>
                    <a:pt x="111" y="66"/>
                  </a:lnTo>
                  <a:lnTo>
                    <a:pt x="86" y="2"/>
                  </a:lnTo>
                  <a:lnTo>
                    <a:pt x="74" y="0"/>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US"/>
            </a:p>
          </p:txBody>
        </p:sp>
        <p:sp>
          <p:nvSpPr>
            <p:cNvPr id="455" name="Freeform 320">
              <a:extLst>
                <a:ext uri="{FF2B5EF4-FFF2-40B4-BE49-F238E27FC236}">
                  <a16:creationId xmlns:a16="http://schemas.microsoft.com/office/drawing/2014/main" id="{2E3C150D-78A4-43B1-A3D1-9EDA8163EF93}"/>
                </a:ext>
              </a:extLst>
            </p:cNvPr>
            <p:cNvSpPr>
              <a:spLocks/>
            </p:cNvSpPr>
            <p:nvPr/>
          </p:nvSpPr>
          <p:spPr bwMode="auto">
            <a:xfrm>
              <a:off x="6133307" y="2443956"/>
              <a:ext cx="28575" cy="26988"/>
            </a:xfrm>
            <a:custGeom>
              <a:avLst/>
              <a:gdLst>
                <a:gd name="T0" fmla="*/ 37 w 54"/>
                <a:gd name="T1" fmla="*/ 1 h 50"/>
                <a:gd name="T2" fmla="*/ 21 w 54"/>
                <a:gd name="T3" fmla="*/ 0 h 50"/>
                <a:gd name="T4" fmla="*/ 0 w 54"/>
                <a:gd name="T5" fmla="*/ 19 h 50"/>
                <a:gd name="T6" fmla="*/ 3 w 54"/>
                <a:gd name="T7" fmla="*/ 49 h 50"/>
                <a:gd name="T8" fmla="*/ 52 w 54"/>
                <a:gd name="T9" fmla="*/ 50 h 50"/>
                <a:gd name="T10" fmla="*/ 54 w 54"/>
                <a:gd name="T11" fmla="*/ 17 h 50"/>
                <a:gd name="T12" fmla="*/ 37 w 54"/>
                <a:gd name="T13" fmla="*/ 1 h 50"/>
              </a:gdLst>
              <a:ahLst/>
              <a:cxnLst>
                <a:cxn ang="0">
                  <a:pos x="T0" y="T1"/>
                </a:cxn>
                <a:cxn ang="0">
                  <a:pos x="T2" y="T3"/>
                </a:cxn>
                <a:cxn ang="0">
                  <a:pos x="T4" y="T5"/>
                </a:cxn>
                <a:cxn ang="0">
                  <a:pos x="T6" y="T7"/>
                </a:cxn>
                <a:cxn ang="0">
                  <a:pos x="T8" y="T9"/>
                </a:cxn>
                <a:cxn ang="0">
                  <a:pos x="T10" y="T11"/>
                </a:cxn>
                <a:cxn ang="0">
                  <a:pos x="T12" y="T13"/>
                </a:cxn>
              </a:cxnLst>
              <a:rect l="0" t="0" r="r" b="b"/>
              <a:pathLst>
                <a:path w="54" h="50">
                  <a:moveTo>
                    <a:pt x="37" y="1"/>
                  </a:moveTo>
                  <a:lnTo>
                    <a:pt x="21" y="0"/>
                  </a:lnTo>
                  <a:lnTo>
                    <a:pt x="0" y="19"/>
                  </a:lnTo>
                  <a:lnTo>
                    <a:pt x="3" y="49"/>
                  </a:lnTo>
                  <a:lnTo>
                    <a:pt x="52" y="50"/>
                  </a:lnTo>
                  <a:lnTo>
                    <a:pt x="54" y="17"/>
                  </a:lnTo>
                  <a:lnTo>
                    <a:pt x="37" y="1"/>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US"/>
            </a:p>
          </p:txBody>
        </p:sp>
        <p:sp>
          <p:nvSpPr>
            <p:cNvPr id="456" name="Freeform 321">
              <a:extLst>
                <a:ext uri="{FF2B5EF4-FFF2-40B4-BE49-F238E27FC236}">
                  <a16:creationId xmlns:a16="http://schemas.microsoft.com/office/drawing/2014/main" id="{3712936F-176E-482F-BEFC-7178694297A9}"/>
                </a:ext>
              </a:extLst>
            </p:cNvPr>
            <p:cNvSpPr>
              <a:spLocks/>
            </p:cNvSpPr>
            <p:nvPr/>
          </p:nvSpPr>
          <p:spPr bwMode="auto">
            <a:xfrm>
              <a:off x="6288882" y="2358231"/>
              <a:ext cx="26988" cy="38100"/>
            </a:xfrm>
            <a:custGeom>
              <a:avLst/>
              <a:gdLst>
                <a:gd name="T0" fmla="*/ 35 w 50"/>
                <a:gd name="T1" fmla="*/ 0 h 71"/>
                <a:gd name="T2" fmla="*/ 0 w 50"/>
                <a:gd name="T3" fmla="*/ 30 h 71"/>
                <a:gd name="T4" fmla="*/ 18 w 50"/>
                <a:gd name="T5" fmla="*/ 71 h 71"/>
                <a:gd name="T6" fmla="*/ 50 w 50"/>
                <a:gd name="T7" fmla="*/ 40 h 71"/>
                <a:gd name="T8" fmla="*/ 35 w 50"/>
                <a:gd name="T9" fmla="*/ 0 h 71"/>
              </a:gdLst>
              <a:ahLst/>
              <a:cxnLst>
                <a:cxn ang="0">
                  <a:pos x="T0" y="T1"/>
                </a:cxn>
                <a:cxn ang="0">
                  <a:pos x="T2" y="T3"/>
                </a:cxn>
                <a:cxn ang="0">
                  <a:pos x="T4" y="T5"/>
                </a:cxn>
                <a:cxn ang="0">
                  <a:pos x="T6" y="T7"/>
                </a:cxn>
                <a:cxn ang="0">
                  <a:pos x="T8" y="T9"/>
                </a:cxn>
              </a:cxnLst>
              <a:rect l="0" t="0" r="r" b="b"/>
              <a:pathLst>
                <a:path w="50" h="71">
                  <a:moveTo>
                    <a:pt x="35" y="0"/>
                  </a:moveTo>
                  <a:lnTo>
                    <a:pt x="0" y="30"/>
                  </a:lnTo>
                  <a:lnTo>
                    <a:pt x="18" y="71"/>
                  </a:lnTo>
                  <a:lnTo>
                    <a:pt x="50" y="40"/>
                  </a:lnTo>
                  <a:lnTo>
                    <a:pt x="3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7" name="Freeform 322">
              <a:extLst>
                <a:ext uri="{FF2B5EF4-FFF2-40B4-BE49-F238E27FC236}">
                  <a16:creationId xmlns:a16="http://schemas.microsoft.com/office/drawing/2014/main" id="{137DF246-13EC-4551-8F15-A2AE3A7D2862}"/>
                </a:ext>
              </a:extLst>
            </p:cNvPr>
            <p:cNvSpPr>
              <a:spLocks/>
            </p:cNvSpPr>
            <p:nvPr/>
          </p:nvSpPr>
          <p:spPr bwMode="auto">
            <a:xfrm>
              <a:off x="6036469" y="2713831"/>
              <a:ext cx="101600" cy="66675"/>
            </a:xfrm>
            <a:custGeom>
              <a:avLst/>
              <a:gdLst>
                <a:gd name="T0" fmla="*/ 75 w 192"/>
                <a:gd name="T1" fmla="*/ 0 h 125"/>
                <a:gd name="T2" fmla="*/ 0 w 192"/>
                <a:gd name="T3" fmla="*/ 79 h 125"/>
                <a:gd name="T4" fmla="*/ 2 w 192"/>
                <a:gd name="T5" fmla="*/ 88 h 125"/>
                <a:gd name="T6" fmla="*/ 32 w 192"/>
                <a:gd name="T7" fmla="*/ 78 h 125"/>
                <a:gd name="T8" fmla="*/ 60 w 192"/>
                <a:gd name="T9" fmla="*/ 116 h 125"/>
                <a:gd name="T10" fmla="*/ 106 w 192"/>
                <a:gd name="T11" fmla="*/ 100 h 125"/>
                <a:gd name="T12" fmla="*/ 139 w 192"/>
                <a:gd name="T13" fmla="*/ 125 h 125"/>
                <a:gd name="T14" fmla="*/ 152 w 192"/>
                <a:gd name="T15" fmla="*/ 118 h 125"/>
                <a:gd name="T16" fmla="*/ 192 w 192"/>
                <a:gd name="T17" fmla="*/ 55 h 125"/>
                <a:gd name="T18" fmla="*/ 181 w 192"/>
                <a:gd name="T19" fmla="*/ 46 h 125"/>
                <a:gd name="T20" fmla="*/ 142 w 192"/>
                <a:gd name="T21" fmla="*/ 45 h 125"/>
                <a:gd name="T22" fmla="*/ 123 w 192"/>
                <a:gd name="T23" fmla="*/ 5 h 125"/>
                <a:gd name="T24" fmla="*/ 75 w 192"/>
                <a:gd name="T2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25">
                  <a:moveTo>
                    <a:pt x="75" y="0"/>
                  </a:moveTo>
                  <a:lnTo>
                    <a:pt x="0" y="79"/>
                  </a:lnTo>
                  <a:lnTo>
                    <a:pt x="2" y="88"/>
                  </a:lnTo>
                  <a:lnTo>
                    <a:pt x="32" y="78"/>
                  </a:lnTo>
                  <a:lnTo>
                    <a:pt x="60" y="116"/>
                  </a:lnTo>
                  <a:lnTo>
                    <a:pt x="106" y="100"/>
                  </a:lnTo>
                  <a:lnTo>
                    <a:pt x="139" y="125"/>
                  </a:lnTo>
                  <a:lnTo>
                    <a:pt x="152" y="118"/>
                  </a:lnTo>
                  <a:lnTo>
                    <a:pt x="192" y="55"/>
                  </a:lnTo>
                  <a:lnTo>
                    <a:pt x="181" y="46"/>
                  </a:lnTo>
                  <a:lnTo>
                    <a:pt x="142" y="45"/>
                  </a:lnTo>
                  <a:lnTo>
                    <a:pt x="123" y="5"/>
                  </a:lnTo>
                  <a:lnTo>
                    <a:pt x="7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8" name="Freeform 323">
              <a:extLst>
                <a:ext uri="{FF2B5EF4-FFF2-40B4-BE49-F238E27FC236}">
                  <a16:creationId xmlns:a16="http://schemas.microsoft.com/office/drawing/2014/main" id="{1DDC8ECA-0197-418C-BDCA-BCF9FBCDB962}"/>
                </a:ext>
              </a:extLst>
            </p:cNvPr>
            <p:cNvSpPr>
              <a:spLocks/>
            </p:cNvSpPr>
            <p:nvPr/>
          </p:nvSpPr>
          <p:spPr bwMode="auto">
            <a:xfrm>
              <a:off x="6179344" y="2609056"/>
              <a:ext cx="138113" cy="79375"/>
            </a:xfrm>
            <a:custGeom>
              <a:avLst/>
              <a:gdLst>
                <a:gd name="T0" fmla="*/ 71 w 262"/>
                <a:gd name="T1" fmla="*/ 121 h 150"/>
                <a:gd name="T2" fmla="*/ 122 w 262"/>
                <a:gd name="T3" fmla="*/ 121 h 150"/>
                <a:gd name="T4" fmla="*/ 146 w 262"/>
                <a:gd name="T5" fmla="*/ 121 h 150"/>
                <a:gd name="T6" fmla="*/ 187 w 262"/>
                <a:gd name="T7" fmla="*/ 150 h 150"/>
                <a:gd name="T8" fmla="*/ 262 w 262"/>
                <a:gd name="T9" fmla="*/ 88 h 150"/>
                <a:gd name="T10" fmla="*/ 190 w 262"/>
                <a:gd name="T11" fmla="*/ 35 h 150"/>
                <a:gd name="T12" fmla="*/ 116 w 262"/>
                <a:gd name="T13" fmla="*/ 0 h 150"/>
                <a:gd name="T14" fmla="*/ 68 w 262"/>
                <a:gd name="T15" fmla="*/ 9 h 150"/>
                <a:gd name="T16" fmla="*/ 0 w 262"/>
                <a:gd name="T17" fmla="*/ 52 h 150"/>
                <a:gd name="T18" fmla="*/ 71 w 262"/>
                <a:gd name="T19" fmla="*/ 1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150">
                  <a:moveTo>
                    <a:pt x="71" y="121"/>
                  </a:moveTo>
                  <a:lnTo>
                    <a:pt x="122" y="121"/>
                  </a:lnTo>
                  <a:lnTo>
                    <a:pt x="146" y="121"/>
                  </a:lnTo>
                  <a:lnTo>
                    <a:pt x="187" y="150"/>
                  </a:lnTo>
                  <a:lnTo>
                    <a:pt x="262" y="88"/>
                  </a:lnTo>
                  <a:lnTo>
                    <a:pt x="190" y="35"/>
                  </a:lnTo>
                  <a:lnTo>
                    <a:pt x="116" y="0"/>
                  </a:lnTo>
                  <a:lnTo>
                    <a:pt x="68" y="9"/>
                  </a:lnTo>
                  <a:lnTo>
                    <a:pt x="0" y="52"/>
                  </a:lnTo>
                  <a:lnTo>
                    <a:pt x="71" y="12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9" name="Freeform 324">
              <a:extLst>
                <a:ext uri="{FF2B5EF4-FFF2-40B4-BE49-F238E27FC236}">
                  <a16:creationId xmlns:a16="http://schemas.microsoft.com/office/drawing/2014/main" id="{8F3040A1-4DCD-4872-8BC4-5421B6244FA0}"/>
                </a:ext>
              </a:extLst>
            </p:cNvPr>
            <p:cNvSpPr>
              <a:spLocks/>
            </p:cNvSpPr>
            <p:nvPr/>
          </p:nvSpPr>
          <p:spPr bwMode="auto">
            <a:xfrm>
              <a:off x="6284119" y="2659856"/>
              <a:ext cx="127000" cy="49213"/>
            </a:xfrm>
            <a:custGeom>
              <a:avLst/>
              <a:gdLst>
                <a:gd name="T0" fmla="*/ 0 w 240"/>
                <a:gd name="T1" fmla="*/ 65 h 93"/>
                <a:gd name="T2" fmla="*/ 11 w 240"/>
                <a:gd name="T3" fmla="*/ 75 h 93"/>
                <a:gd name="T4" fmla="*/ 13 w 240"/>
                <a:gd name="T5" fmla="*/ 93 h 93"/>
                <a:gd name="T6" fmla="*/ 144 w 240"/>
                <a:gd name="T7" fmla="*/ 90 h 93"/>
                <a:gd name="T8" fmla="*/ 240 w 240"/>
                <a:gd name="T9" fmla="*/ 48 h 93"/>
                <a:gd name="T10" fmla="*/ 238 w 240"/>
                <a:gd name="T11" fmla="*/ 6 h 93"/>
                <a:gd name="T12" fmla="*/ 220 w 240"/>
                <a:gd name="T13" fmla="*/ 14 h 93"/>
                <a:gd name="T14" fmla="*/ 194 w 240"/>
                <a:gd name="T15" fmla="*/ 0 h 93"/>
                <a:gd name="T16" fmla="*/ 177 w 240"/>
                <a:gd name="T17" fmla="*/ 0 h 93"/>
                <a:gd name="T18" fmla="*/ 135 w 240"/>
                <a:gd name="T19" fmla="*/ 17 h 93"/>
                <a:gd name="T20" fmla="*/ 76 w 240"/>
                <a:gd name="T21" fmla="*/ 3 h 93"/>
                <a:gd name="T22" fmla="*/ 0 w 240"/>
                <a:gd name="T23" fmla="*/ 6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93">
                  <a:moveTo>
                    <a:pt x="0" y="65"/>
                  </a:moveTo>
                  <a:lnTo>
                    <a:pt x="11" y="75"/>
                  </a:lnTo>
                  <a:lnTo>
                    <a:pt x="13" y="93"/>
                  </a:lnTo>
                  <a:lnTo>
                    <a:pt x="144" y="90"/>
                  </a:lnTo>
                  <a:lnTo>
                    <a:pt x="240" y="48"/>
                  </a:lnTo>
                  <a:lnTo>
                    <a:pt x="238" y="6"/>
                  </a:lnTo>
                  <a:lnTo>
                    <a:pt x="220" y="14"/>
                  </a:lnTo>
                  <a:lnTo>
                    <a:pt x="194" y="0"/>
                  </a:lnTo>
                  <a:lnTo>
                    <a:pt x="177" y="0"/>
                  </a:lnTo>
                  <a:lnTo>
                    <a:pt x="135" y="17"/>
                  </a:lnTo>
                  <a:lnTo>
                    <a:pt x="76" y="3"/>
                  </a:lnTo>
                  <a:lnTo>
                    <a:pt x="0" y="6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0" name="Freeform 325">
              <a:extLst>
                <a:ext uri="{FF2B5EF4-FFF2-40B4-BE49-F238E27FC236}">
                  <a16:creationId xmlns:a16="http://schemas.microsoft.com/office/drawing/2014/main" id="{1D8ABDF9-03BC-4A22-B5C9-37438E59CDE5}"/>
                </a:ext>
              </a:extLst>
            </p:cNvPr>
            <p:cNvSpPr>
              <a:spLocks/>
            </p:cNvSpPr>
            <p:nvPr/>
          </p:nvSpPr>
          <p:spPr bwMode="auto">
            <a:xfrm>
              <a:off x="6139657" y="2680493"/>
              <a:ext cx="144463" cy="73025"/>
            </a:xfrm>
            <a:custGeom>
              <a:avLst/>
              <a:gdLst>
                <a:gd name="T0" fmla="*/ 11 w 271"/>
                <a:gd name="T1" fmla="*/ 77 h 140"/>
                <a:gd name="T2" fmla="*/ 0 w 271"/>
                <a:gd name="T3" fmla="*/ 101 h 140"/>
                <a:gd name="T4" fmla="*/ 9 w 271"/>
                <a:gd name="T5" fmla="*/ 117 h 140"/>
                <a:gd name="T6" fmla="*/ 49 w 271"/>
                <a:gd name="T7" fmla="*/ 109 h 140"/>
                <a:gd name="T8" fmla="*/ 83 w 271"/>
                <a:gd name="T9" fmla="*/ 109 h 140"/>
                <a:gd name="T10" fmla="*/ 120 w 271"/>
                <a:gd name="T11" fmla="*/ 140 h 140"/>
                <a:gd name="T12" fmla="*/ 199 w 271"/>
                <a:gd name="T13" fmla="*/ 126 h 140"/>
                <a:gd name="T14" fmla="*/ 255 w 271"/>
                <a:gd name="T15" fmla="*/ 92 h 140"/>
                <a:gd name="T16" fmla="*/ 271 w 271"/>
                <a:gd name="T17" fmla="*/ 68 h 140"/>
                <a:gd name="T18" fmla="*/ 269 w 271"/>
                <a:gd name="T19" fmla="*/ 39 h 140"/>
                <a:gd name="T20" fmla="*/ 217 w 271"/>
                <a:gd name="T21" fmla="*/ 0 h 140"/>
                <a:gd name="T22" fmla="*/ 147 w 271"/>
                <a:gd name="T23" fmla="*/ 1 h 140"/>
                <a:gd name="T24" fmla="*/ 142 w 271"/>
                <a:gd name="T25" fmla="*/ 40 h 140"/>
                <a:gd name="T26" fmla="*/ 69 w 271"/>
                <a:gd name="T27" fmla="*/ 76 h 140"/>
                <a:gd name="T28" fmla="*/ 11 w 271"/>
                <a:gd name="T29" fmla="*/ 7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1" h="140">
                  <a:moveTo>
                    <a:pt x="11" y="77"/>
                  </a:moveTo>
                  <a:lnTo>
                    <a:pt x="0" y="101"/>
                  </a:lnTo>
                  <a:lnTo>
                    <a:pt x="9" y="117"/>
                  </a:lnTo>
                  <a:lnTo>
                    <a:pt x="49" y="109"/>
                  </a:lnTo>
                  <a:lnTo>
                    <a:pt x="83" y="109"/>
                  </a:lnTo>
                  <a:lnTo>
                    <a:pt x="120" y="140"/>
                  </a:lnTo>
                  <a:lnTo>
                    <a:pt x="199" y="126"/>
                  </a:lnTo>
                  <a:lnTo>
                    <a:pt x="255" y="92"/>
                  </a:lnTo>
                  <a:lnTo>
                    <a:pt x="271" y="68"/>
                  </a:lnTo>
                  <a:lnTo>
                    <a:pt x="269" y="39"/>
                  </a:lnTo>
                  <a:lnTo>
                    <a:pt x="217" y="0"/>
                  </a:lnTo>
                  <a:lnTo>
                    <a:pt x="147" y="1"/>
                  </a:lnTo>
                  <a:lnTo>
                    <a:pt x="142" y="40"/>
                  </a:lnTo>
                  <a:lnTo>
                    <a:pt x="69" y="76"/>
                  </a:lnTo>
                  <a:lnTo>
                    <a:pt x="11" y="7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1" name="Freeform 326">
              <a:extLst>
                <a:ext uri="{FF2B5EF4-FFF2-40B4-BE49-F238E27FC236}">
                  <a16:creationId xmlns:a16="http://schemas.microsoft.com/office/drawing/2014/main" id="{5BE2C671-E6F6-4B75-80AF-9B7999BBB988}"/>
                </a:ext>
              </a:extLst>
            </p:cNvPr>
            <p:cNvSpPr>
              <a:spLocks/>
            </p:cNvSpPr>
            <p:nvPr/>
          </p:nvSpPr>
          <p:spPr bwMode="auto">
            <a:xfrm>
              <a:off x="6280944" y="2690018"/>
              <a:ext cx="141288" cy="77788"/>
            </a:xfrm>
            <a:custGeom>
              <a:avLst/>
              <a:gdLst>
                <a:gd name="T0" fmla="*/ 20 w 267"/>
                <a:gd name="T1" fmla="*/ 49 h 147"/>
                <a:gd name="T2" fmla="*/ 0 w 267"/>
                <a:gd name="T3" fmla="*/ 80 h 147"/>
                <a:gd name="T4" fmla="*/ 2 w 267"/>
                <a:gd name="T5" fmla="*/ 128 h 147"/>
                <a:gd name="T6" fmla="*/ 33 w 267"/>
                <a:gd name="T7" fmla="*/ 144 h 147"/>
                <a:gd name="T8" fmla="*/ 131 w 267"/>
                <a:gd name="T9" fmla="*/ 147 h 147"/>
                <a:gd name="T10" fmla="*/ 267 w 267"/>
                <a:gd name="T11" fmla="*/ 32 h 147"/>
                <a:gd name="T12" fmla="*/ 267 w 267"/>
                <a:gd name="T13" fmla="*/ 7 h 147"/>
                <a:gd name="T14" fmla="*/ 252 w 267"/>
                <a:gd name="T15" fmla="*/ 0 h 147"/>
                <a:gd name="T16" fmla="*/ 154 w 267"/>
                <a:gd name="T17" fmla="*/ 44 h 147"/>
                <a:gd name="T18" fmla="*/ 20 w 267"/>
                <a:gd name="T19" fmla="*/ 4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147">
                  <a:moveTo>
                    <a:pt x="20" y="49"/>
                  </a:moveTo>
                  <a:lnTo>
                    <a:pt x="0" y="80"/>
                  </a:lnTo>
                  <a:lnTo>
                    <a:pt x="2" y="128"/>
                  </a:lnTo>
                  <a:lnTo>
                    <a:pt x="33" y="144"/>
                  </a:lnTo>
                  <a:lnTo>
                    <a:pt x="131" y="147"/>
                  </a:lnTo>
                  <a:lnTo>
                    <a:pt x="267" y="32"/>
                  </a:lnTo>
                  <a:lnTo>
                    <a:pt x="267" y="7"/>
                  </a:lnTo>
                  <a:lnTo>
                    <a:pt x="252" y="0"/>
                  </a:lnTo>
                  <a:lnTo>
                    <a:pt x="154" y="44"/>
                  </a:lnTo>
                  <a:lnTo>
                    <a:pt x="20" y="4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2" name="Freeform 327">
              <a:extLst>
                <a:ext uri="{FF2B5EF4-FFF2-40B4-BE49-F238E27FC236}">
                  <a16:creationId xmlns:a16="http://schemas.microsoft.com/office/drawing/2014/main" id="{ACD6862E-FFF6-463B-8108-C0CB4B8AE1A5}"/>
                </a:ext>
              </a:extLst>
            </p:cNvPr>
            <p:cNvSpPr>
              <a:spLocks/>
            </p:cNvSpPr>
            <p:nvPr/>
          </p:nvSpPr>
          <p:spPr bwMode="auto">
            <a:xfrm>
              <a:off x="6207919" y="2737643"/>
              <a:ext cx="66675" cy="49213"/>
            </a:xfrm>
            <a:custGeom>
              <a:avLst/>
              <a:gdLst>
                <a:gd name="T0" fmla="*/ 124 w 125"/>
                <a:gd name="T1" fmla="*/ 0 h 91"/>
                <a:gd name="T2" fmla="*/ 81 w 125"/>
                <a:gd name="T3" fmla="*/ 26 h 91"/>
                <a:gd name="T4" fmla="*/ 0 w 125"/>
                <a:gd name="T5" fmla="*/ 44 h 91"/>
                <a:gd name="T6" fmla="*/ 16 w 125"/>
                <a:gd name="T7" fmla="*/ 90 h 91"/>
                <a:gd name="T8" fmla="*/ 73 w 125"/>
                <a:gd name="T9" fmla="*/ 91 h 91"/>
                <a:gd name="T10" fmla="*/ 125 w 125"/>
                <a:gd name="T11" fmla="*/ 48 h 91"/>
                <a:gd name="T12" fmla="*/ 124 w 125"/>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25" h="91">
                  <a:moveTo>
                    <a:pt x="124" y="0"/>
                  </a:moveTo>
                  <a:lnTo>
                    <a:pt x="81" y="26"/>
                  </a:lnTo>
                  <a:lnTo>
                    <a:pt x="0" y="44"/>
                  </a:lnTo>
                  <a:lnTo>
                    <a:pt x="16" y="90"/>
                  </a:lnTo>
                  <a:lnTo>
                    <a:pt x="73" y="91"/>
                  </a:lnTo>
                  <a:lnTo>
                    <a:pt x="125" y="48"/>
                  </a:lnTo>
                  <a:lnTo>
                    <a:pt x="12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3" name="Freeform 328">
              <a:extLst>
                <a:ext uri="{FF2B5EF4-FFF2-40B4-BE49-F238E27FC236}">
                  <a16:creationId xmlns:a16="http://schemas.microsoft.com/office/drawing/2014/main" id="{03C5C7A4-79E0-4D44-BC07-017D58ABD1C7}"/>
                </a:ext>
              </a:extLst>
            </p:cNvPr>
            <p:cNvSpPr>
              <a:spLocks/>
            </p:cNvSpPr>
            <p:nvPr/>
          </p:nvSpPr>
          <p:spPr bwMode="auto">
            <a:xfrm>
              <a:off x="6214269" y="2766218"/>
              <a:ext cx="122238" cy="115888"/>
            </a:xfrm>
            <a:custGeom>
              <a:avLst/>
              <a:gdLst>
                <a:gd name="T0" fmla="*/ 129 w 232"/>
                <a:gd name="T1" fmla="*/ 0 h 217"/>
                <a:gd name="T2" fmla="*/ 68 w 232"/>
                <a:gd name="T3" fmla="*/ 51 h 217"/>
                <a:gd name="T4" fmla="*/ 7 w 232"/>
                <a:gd name="T5" fmla="*/ 51 h 217"/>
                <a:gd name="T6" fmla="*/ 0 w 232"/>
                <a:gd name="T7" fmla="*/ 93 h 217"/>
                <a:gd name="T8" fmla="*/ 27 w 232"/>
                <a:gd name="T9" fmla="*/ 100 h 217"/>
                <a:gd name="T10" fmla="*/ 41 w 232"/>
                <a:gd name="T11" fmla="*/ 80 h 217"/>
                <a:gd name="T12" fmla="*/ 64 w 232"/>
                <a:gd name="T13" fmla="*/ 99 h 217"/>
                <a:gd name="T14" fmla="*/ 81 w 232"/>
                <a:gd name="T15" fmla="*/ 161 h 217"/>
                <a:gd name="T16" fmla="*/ 203 w 232"/>
                <a:gd name="T17" fmla="*/ 217 h 217"/>
                <a:gd name="T18" fmla="*/ 214 w 232"/>
                <a:gd name="T19" fmla="*/ 204 h 217"/>
                <a:gd name="T20" fmla="*/ 91 w 232"/>
                <a:gd name="T21" fmla="*/ 77 h 217"/>
                <a:gd name="T22" fmla="*/ 104 w 232"/>
                <a:gd name="T23" fmla="*/ 54 h 217"/>
                <a:gd name="T24" fmla="*/ 221 w 232"/>
                <a:gd name="T25" fmla="*/ 49 h 217"/>
                <a:gd name="T26" fmla="*/ 232 w 232"/>
                <a:gd name="T27" fmla="*/ 12 h 217"/>
                <a:gd name="T28" fmla="*/ 156 w 232"/>
                <a:gd name="T29" fmla="*/ 14 h 217"/>
                <a:gd name="T30" fmla="*/ 129 w 232"/>
                <a:gd name="T3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 h="217">
                  <a:moveTo>
                    <a:pt x="129" y="0"/>
                  </a:moveTo>
                  <a:lnTo>
                    <a:pt x="68" y="51"/>
                  </a:lnTo>
                  <a:lnTo>
                    <a:pt x="7" y="51"/>
                  </a:lnTo>
                  <a:lnTo>
                    <a:pt x="0" y="93"/>
                  </a:lnTo>
                  <a:lnTo>
                    <a:pt x="27" y="100"/>
                  </a:lnTo>
                  <a:lnTo>
                    <a:pt x="41" y="80"/>
                  </a:lnTo>
                  <a:lnTo>
                    <a:pt x="64" y="99"/>
                  </a:lnTo>
                  <a:lnTo>
                    <a:pt x="81" y="161"/>
                  </a:lnTo>
                  <a:lnTo>
                    <a:pt x="203" y="217"/>
                  </a:lnTo>
                  <a:lnTo>
                    <a:pt x="214" y="204"/>
                  </a:lnTo>
                  <a:lnTo>
                    <a:pt x="91" y="77"/>
                  </a:lnTo>
                  <a:lnTo>
                    <a:pt x="104" y="54"/>
                  </a:lnTo>
                  <a:lnTo>
                    <a:pt x="221" y="49"/>
                  </a:lnTo>
                  <a:lnTo>
                    <a:pt x="232" y="12"/>
                  </a:lnTo>
                  <a:lnTo>
                    <a:pt x="156" y="14"/>
                  </a:lnTo>
                  <a:lnTo>
                    <a:pt x="12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4" name="Freeform 329">
              <a:extLst>
                <a:ext uri="{FF2B5EF4-FFF2-40B4-BE49-F238E27FC236}">
                  <a16:creationId xmlns:a16="http://schemas.microsoft.com/office/drawing/2014/main" id="{078F6A6F-0A3C-491B-B9CE-3D3FDD973A1B}"/>
                </a:ext>
              </a:extLst>
            </p:cNvPr>
            <p:cNvSpPr>
              <a:spLocks/>
            </p:cNvSpPr>
            <p:nvPr/>
          </p:nvSpPr>
          <p:spPr bwMode="auto">
            <a:xfrm>
              <a:off x="6271419" y="2799556"/>
              <a:ext cx="82550" cy="69850"/>
            </a:xfrm>
            <a:custGeom>
              <a:avLst/>
              <a:gdLst>
                <a:gd name="T0" fmla="*/ 6 w 158"/>
                <a:gd name="T1" fmla="*/ 2 h 131"/>
                <a:gd name="T2" fmla="*/ 0 w 158"/>
                <a:gd name="T3" fmla="*/ 13 h 131"/>
                <a:gd name="T4" fmla="*/ 115 w 158"/>
                <a:gd name="T5" fmla="*/ 131 h 131"/>
                <a:gd name="T6" fmla="*/ 158 w 158"/>
                <a:gd name="T7" fmla="*/ 69 h 131"/>
                <a:gd name="T8" fmla="*/ 156 w 158"/>
                <a:gd name="T9" fmla="*/ 44 h 131"/>
                <a:gd name="T10" fmla="*/ 119 w 158"/>
                <a:gd name="T11" fmla="*/ 0 h 131"/>
                <a:gd name="T12" fmla="*/ 6 w 158"/>
                <a:gd name="T13" fmla="*/ 2 h 131"/>
              </a:gdLst>
              <a:ahLst/>
              <a:cxnLst>
                <a:cxn ang="0">
                  <a:pos x="T0" y="T1"/>
                </a:cxn>
                <a:cxn ang="0">
                  <a:pos x="T2" y="T3"/>
                </a:cxn>
                <a:cxn ang="0">
                  <a:pos x="T4" y="T5"/>
                </a:cxn>
                <a:cxn ang="0">
                  <a:pos x="T6" y="T7"/>
                </a:cxn>
                <a:cxn ang="0">
                  <a:pos x="T8" y="T9"/>
                </a:cxn>
                <a:cxn ang="0">
                  <a:pos x="T10" y="T11"/>
                </a:cxn>
                <a:cxn ang="0">
                  <a:pos x="T12" y="T13"/>
                </a:cxn>
              </a:cxnLst>
              <a:rect l="0" t="0" r="r" b="b"/>
              <a:pathLst>
                <a:path w="158" h="131">
                  <a:moveTo>
                    <a:pt x="6" y="2"/>
                  </a:moveTo>
                  <a:lnTo>
                    <a:pt x="0" y="13"/>
                  </a:lnTo>
                  <a:lnTo>
                    <a:pt x="115" y="131"/>
                  </a:lnTo>
                  <a:lnTo>
                    <a:pt x="158" y="69"/>
                  </a:lnTo>
                  <a:lnTo>
                    <a:pt x="156" y="44"/>
                  </a:lnTo>
                  <a:lnTo>
                    <a:pt x="119" y="0"/>
                  </a:lnTo>
                  <a:lnTo>
                    <a:pt x="6" y="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5" name="Freeform 330">
              <a:extLst>
                <a:ext uri="{FF2B5EF4-FFF2-40B4-BE49-F238E27FC236}">
                  <a16:creationId xmlns:a16="http://schemas.microsoft.com/office/drawing/2014/main" id="{C7BA9492-0BA4-4B0C-A7D9-E77CF0FB83E7}"/>
                </a:ext>
              </a:extLst>
            </p:cNvPr>
            <p:cNvSpPr>
              <a:spLocks/>
            </p:cNvSpPr>
            <p:nvPr/>
          </p:nvSpPr>
          <p:spPr bwMode="auto">
            <a:xfrm>
              <a:off x="6065044" y="2743993"/>
              <a:ext cx="263525" cy="279400"/>
            </a:xfrm>
            <a:custGeom>
              <a:avLst/>
              <a:gdLst>
                <a:gd name="T0" fmla="*/ 11 w 498"/>
                <a:gd name="T1" fmla="*/ 74 h 529"/>
                <a:gd name="T2" fmla="*/ 0 w 498"/>
                <a:gd name="T3" fmla="*/ 102 h 529"/>
                <a:gd name="T4" fmla="*/ 3 w 498"/>
                <a:gd name="T5" fmla="*/ 130 h 529"/>
                <a:gd name="T6" fmla="*/ 44 w 498"/>
                <a:gd name="T7" fmla="*/ 179 h 529"/>
                <a:gd name="T8" fmla="*/ 108 w 498"/>
                <a:gd name="T9" fmla="*/ 176 h 529"/>
                <a:gd name="T10" fmla="*/ 250 w 498"/>
                <a:gd name="T11" fmla="*/ 341 h 529"/>
                <a:gd name="T12" fmla="*/ 340 w 498"/>
                <a:gd name="T13" fmla="*/ 367 h 529"/>
                <a:gd name="T14" fmla="*/ 391 w 498"/>
                <a:gd name="T15" fmla="*/ 416 h 529"/>
                <a:gd name="T16" fmla="*/ 405 w 498"/>
                <a:gd name="T17" fmla="*/ 529 h 529"/>
                <a:gd name="T18" fmla="*/ 432 w 498"/>
                <a:gd name="T19" fmla="*/ 513 h 529"/>
                <a:gd name="T20" fmla="*/ 456 w 498"/>
                <a:gd name="T21" fmla="*/ 452 h 529"/>
                <a:gd name="T22" fmla="*/ 450 w 498"/>
                <a:gd name="T23" fmla="*/ 407 h 529"/>
                <a:gd name="T24" fmla="*/ 492 w 498"/>
                <a:gd name="T25" fmla="*/ 403 h 529"/>
                <a:gd name="T26" fmla="*/ 498 w 498"/>
                <a:gd name="T27" fmla="*/ 379 h 529"/>
                <a:gd name="T28" fmla="*/ 381 w 498"/>
                <a:gd name="T29" fmla="*/ 322 h 529"/>
                <a:gd name="T30" fmla="*/ 270 w 498"/>
                <a:gd name="T31" fmla="*/ 212 h 529"/>
                <a:gd name="T32" fmla="*/ 225 w 498"/>
                <a:gd name="T33" fmla="*/ 147 h 529"/>
                <a:gd name="T34" fmla="*/ 215 w 498"/>
                <a:gd name="T35" fmla="*/ 85 h 529"/>
                <a:gd name="T36" fmla="*/ 271 w 498"/>
                <a:gd name="T37" fmla="*/ 71 h 529"/>
                <a:gd name="T38" fmla="*/ 256 w 498"/>
                <a:gd name="T39" fmla="*/ 31 h 529"/>
                <a:gd name="T40" fmla="*/ 222 w 498"/>
                <a:gd name="T41" fmla="*/ 1 h 529"/>
                <a:gd name="T42" fmla="*/ 191 w 498"/>
                <a:gd name="T43" fmla="*/ 0 h 529"/>
                <a:gd name="T44" fmla="*/ 150 w 498"/>
                <a:gd name="T45" fmla="*/ 11 h 529"/>
                <a:gd name="T46" fmla="*/ 110 w 498"/>
                <a:gd name="T47" fmla="*/ 67 h 529"/>
                <a:gd name="T48" fmla="*/ 87 w 498"/>
                <a:gd name="T49" fmla="*/ 82 h 529"/>
                <a:gd name="T50" fmla="*/ 50 w 498"/>
                <a:gd name="T51" fmla="*/ 60 h 529"/>
                <a:gd name="T52" fmla="*/ 11 w 498"/>
                <a:gd name="T53" fmla="*/ 7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8" h="529">
                  <a:moveTo>
                    <a:pt x="11" y="74"/>
                  </a:moveTo>
                  <a:lnTo>
                    <a:pt x="0" y="102"/>
                  </a:lnTo>
                  <a:lnTo>
                    <a:pt x="3" y="130"/>
                  </a:lnTo>
                  <a:lnTo>
                    <a:pt x="44" y="179"/>
                  </a:lnTo>
                  <a:lnTo>
                    <a:pt x="108" y="176"/>
                  </a:lnTo>
                  <a:lnTo>
                    <a:pt x="250" y="341"/>
                  </a:lnTo>
                  <a:lnTo>
                    <a:pt x="340" y="367"/>
                  </a:lnTo>
                  <a:lnTo>
                    <a:pt x="391" y="416"/>
                  </a:lnTo>
                  <a:lnTo>
                    <a:pt x="405" y="529"/>
                  </a:lnTo>
                  <a:lnTo>
                    <a:pt x="432" y="513"/>
                  </a:lnTo>
                  <a:lnTo>
                    <a:pt x="456" y="452"/>
                  </a:lnTo>
                  <a:lnTo>
                    <a:pt x="450" y="407"/>
                  </a:lnTo>
                  <a:lnTo>
                    <a:pt x="492" y="403"/>
                  </a:lnTo>
                  <a:lnTo>
                    <a:pt x="498" y="379"/>
                  </a:lnTo>
                  <a:lnTo>
                    <a:pt x="381" y="322"/>
                  </a:lnTo>
                  <a:lnTo>
                    <a:pt x="270" y="212"/>
                  </a:lnTo>
                  <a:lnTo>
                    <a:pt x="225" y="147"/>
                  </a:lnTo>
                  <a:lnTo>
                    <a:pt x="215" y="85"/>
                  </a:lnTo>
                  <a:lnTo>
                    <a:pt x="271" y="71"/>
                  </a:lnTo>
                  <a:lnTo>
                    <a:pt x="256" y="31"/>
                  </a:lnTo>
                  <a:lnTo>
                    <a:pt x="222" y="1"/>
                  </a:lnTo>
                  <a:lnTo>
                    <a:pt x="191" y="0"/>
                  </a:lnTo>
                  <a:lnTo>
                    <a:pt x="150" y="11"/>
                  </a:lnTo>
                  <a:lnTo>
                    <a:pt x="110" y="67"/>
                  </a:lnTo>
                  <a:lnTo>
                    <a:pt x="87" y="82"/>
                  </a:lnTo>
                  <a:lnTo>
                    <a:pt x="50" y="60"/>
                  </a:lnTo>
                  <a:lnTo>
                    <a:pt x="11" y="7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6" name="Freeform 331">
              <a:extLst>
                <a:ext uri="{FF2B5EF4-FFF2-40B4-BE49-F238E27FC236}">
                  <a16:creationId xmlns:a16="http://schemas.microsoft.com/office/drawing/2014/main" id="{472F0FAE-DAF9-448F-A5AC-35C014DE9BF2}"/>
                </a:ext>
              </a:extLst>
            </p:cNvPr>
            <p:cNvSpPr>
              <a:spLocks/>
            </p:cNvSpPr>
            <p:nvPr/>
          </p:nvSpPr>
          <p:spPr bwMode="auto">
            <a:xfrm>
              <a:off x="6195219" y="3012281"/>
              <a:ext cx="58738" cy="47625"/>
            </a:xfrm>
            <a:custGeom>
              <a:avLst/>
              <a:gdLst>
                <a:gd name="T0" fmla="*/ 110 w 111"/>
                <a:gd name="T1" fmla="*/ 14 h 90"/>
                <a:gd name="T2" fmla="*/ 85 w 111"/>
                <a:gd name="T3" fmla="*/ 0 h 90"/>
                <a:gd name="T4" fmla="*/ 0 w 111"/>
                <a:gd name="T5" fmla="*/ 14 h 90"/>
                <a:gd name="T6" fmla="*/ 3 w 111"/>
                <a:gd name="T7" fmla="*/ 36 h 90"/>
                <a:gd name="T8" fmla="*/ 79 w 111"/>
                <a:gd name="T9" fmla="*/ 75 h 90"/>
                <a:gd name="T10" fmla="*/ 92 w 111"/>
                <a:gd name="T11" fmla="*/ 87 h 90"/>
                <a:gd name="T12" fmla="*/ 111 w 111"/>
                <a:gd name="T13" fmla="*/ 90 h 90"/>
                <a:gd name="T14" fmla="*/ 110 w 111"/>
                <a:gd name="T15" fmla="*/ 14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90">
                  <a:moveTo>
                    <a:pt x="110" y="14"/>
                  </a:moveTo>
                  <a:lnTo>
                    <a:pt x="85" y="0"/>
                  </a:lnTo>
                  <a:lnTo>
                    <a:pt x="0" y="14"/>
                  </a:lnTo>
                  <a:lnTo>
                    <a:pt x="3" y="36"/>
                  </a:lnTo>
                  <a:lnTo>
                    <a:pt x="79" y="75"/>
                  </a:lnTo>
                  <a:lnTo>
                    <a:pt x="92" y="87"/>
                  </a:lnTo>
                  <a:lnTo>
                    <a:pt x="111" y="90"/>
                  </a:lnTo>
                  <a:lnTo>
                    <a:pt x="110" y="1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7" name="Freeform 332">
              <a:extLst>
                <a:ext uri="{FF2B5EF4-FFF2-40B4-BE49-F238E27FC236}">
                  <a16:creationId xmlns:a16="http://schemas.microsoft.com/office/drawing/2014/main" id="{C8A45078-27B3-4BBB-A0DF-74C429824A79}"/>
                </a:ext>
              </a:extLst>
            </p:cNvPr>
            <p:cNvSpPr>
              <a:spLocks/>
            </p:cNvSpPr>
            <p:nvPr/>
          </p:nvSpPr>
          <p:spPr bwMode="auto">
            <a:xfrm>
              <a:off x="6239669" y="3086893"/>
              <a:ext cx="20638" cy="23813"/>
            </a:xfrm>
            <a:custGeom>
              <a:avLst/>
              <a:gdLst>
                <a:gd name="T0" fmla="*/ 29 w 39"/>
                <a:gd name="T1" fmla="*/ 0 h 46"/>
                <a:gd name="T2" fmla="*/ 0 w 39"/>
                <a:gd name="T3" fmla="*/ 6 h 46"/>
                <a:gd name="T4" fmla="*/ 1 w 39"/>
                <a:gd name="T5" fmla="*/ 37 h 46"/>
                <a:gd name="T6" fmla="*/ 27 w 39"/>
                <a:gd name="T7" fmla="*/ 46 h 46"/>
                <a:gd name="T8" fmla="*/ 39 w 39"/>
                <a:gd name="T9" fmla="*/ 36 h 46"/>
                <a:gd name="T10" fmla="*/ 29 w 39"/>
                <a:gd name="T11" fmla="*/ 0 h 46"/>
              </a:gdLst>
              <a:ahLst/>
              <a:cxnLst>
                <a:cxn ang="0">
                  <a:pos x="T0" y="T1"/>
                </a:cxn>
                <a:cxn ang="0">
                  <a:pos x="T2" y="T3"/>
                </a:cxn>
                <a:cxn ang="0">
                  <a:pos x="T4" y="T5"/>
                </a:cxn>
                <a:cxn ang="0">
                  <a:pos x="T6" y="T7"/>
                </a:cxn>
                <a:cxn ang="0">
                  <a:pos x="T8" y="T9"/>
                </a:cxn>
                <a:cxn ang="0">
                  <a:pos x="T10" y="T11"/>
                </a:cxn>
              </a:cxnLst>
              <a:rect l="0" t="0" r="r" b="b"/>
              <a:pathLst>
                <a:path w="39" h="46">
                  <a:moveTo>
                    <a:pt x="29" y="0"/>
                  </a:moveTo>
                  <a:lnTo>
                    <a:pt x="0" y="6"/>
                  </a:lnTo>
                  <a:lnTo>
                    <a:pt x="1" y="37"/>
                  </a:lnTo>
                  <a:lnTo>
                    <a:pt x="27" y="46"/>
                  </a:lnTo>
                  <a:lnTo>
                    <a:pt x="39" y="36"/>
                  </a:lnTo>
                  <a:lnTo>
                    <a:pt x="2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8" name="Freeform 333">
              <a:extLst>
                <a:ext uri="{FF2B5EF4-FFF2-40B4-BE49-F238E27FC236}">
                  <a16:creationId xmlns:a16="http://schemas.microsoft.com/office/drawing/2014/main" id="{73A11670-86B8-4E6F-8C5D-F29EBE7A451B}"/>
                </a:ext>
              </a:extLst>
            </p:cNvPr>
            <p:cNvSpPr>
              <a:spLocks/>
            </p:cNvSpPr>
            <p:nvPr/>
          </p:nvSpPr>
          <p:spPr bwMode="auto">
            <a:xfrm>
              <a:off x="6419057" y="2539206"/>
              <a:ext cx="381000" cy="269875"/>
            </a:xfrm>
            <a:custGeom>
              <a:avLst/>
              <a:gdLst>
                <a:gd name="T0" fmla="*/ 84 w 722"/>
                <a:gd name="T1" fmla="*/ 53 h 511"/>
                <a:gd name="T2" fmla="*/ 34 w 722"/>
                <a:gd name="T3" fmla="*/ 82 h 511"/>
                <a:gd name="T4" fmla="*/ 46 w 722"/>
                <a:gd name="T5" fmla="*/ 134 h 511"/>
                <a:gd name="T6" fmla="*/ 0 w 722"/>
                <a:gd name="T7" fmla="*/ 231 h 511"/>
                <a:gd name="T8" fmla="*/ 0 w 722"/>
                <a:gd name="T9" fmla="*/ 273 h 511"/>
                <a:gd name="T10" fmla="*/ 22 w 722"/>
                <a:gd name="T11" fmla="*/ 287 h 511"/>
                <a:gd name="T12" fmla="*/ 160 w 722"/>
                <a:gd name="T13" fmla="*/ 294 h 511"/>
                <a:gd name="T14" fmla="*/ 199 w 722"/>
                <a:gd name="T15" fmla="*/ 262 h 511"/>
                <a:gd name="T16" fmla="*/ 240 w 722"/>
                <a:gd name="T17" fmla="*/ 275 h 511"/>
                <a:gd name="T18" fmla="*/ 300 w 722"/>
                <a:gd name="T19" fmla="*/ 355 h 511"/>
                <a:gd name="T20" fmla="*/ 256 w 722"/>
                <a:gd name="T21" fmla="*/ 433 h 511"/>
                <a:gd name="T22" fmla="*/ 308 w 722"/>
                <a:gd name="T23" fmla="*/ 448 h 511"/>
                <a:gd name="T24" fmla="*/ 376 w 722"/>
                <a:gd name="T25" fmla="*/ 370 h 511"/>
                <a:gd name="T26" fmla="*/ 415 w 722"/>
                <a:gd name="T27" fmla="*/ 377 h 511"/>
                <a:gd name="T28" fmla="*/ 450 w 722"/>
                <a:gd name="T29" fmla="*/ 402 h 511"/>
                <a:gd name="T30" fmla="*/ 419 w 722"/>
                <a:gd name="T31" fmla="*/ 444 h 511"/>
                <a:gd name="T32" fmla="*/ 461 w 722"/>
                <a:gd name="T33" fmla="*/ 511 h 511"/>
                <a:gd name="T34" fmla="*/ 507 w 722"/>
                <a:gd name="T35" fmla="*/ 511 h 511"/>
                <a:gd name="T36" fmla="*/ 530 w 722"/>
                <a:gd name="T37" fmla="*/ 466 h 511"/>
                <a:gd name="T38" fmla="*/ 579 w 722"/>
                <a:gd name="T39" fmla="*/ 456 h 511"/>
                <a:gd name="T40" fmla="*/ 580 w 722"/>
                <a:gd name="T41" fmla="*/ 421 h 511"/>
                <a:gd name="T42" fmla="*/ 491 w 722"/>
                <a:gd name="T43" fmla="*/ 406 h 511"/>
                <a:gd name="T44" fmla="*/ 494 w 722"/>
                <a:gd name="T45" fmla="*/ 368 h 511"/>
                <a:gd name="T46" fmla="*/ 580 w 722"/>
                <a:gd name="T47" fmla="*/ 368 h 511"/>
                <a:gd name="T48" fmla="*/ 674 w 722"/>
                <a:gd name="T49" fmla="*/ 293 h 511"/>
                <a:gd name="T50" fmla="*/ 716 w 722"/>
                <a:gd name="T51" fmla="*/ 256 h 511"/>
                <a:gd name="T52" fmla="*/ 722 w 722"/>
                <a:gd name="T53" fmla="*/ 142 h 511"/>
                <a:gd name="T54" fmla="*/ 537 w 722"/>
                <a:gd name="T55" fmla="*/ 125 h 511"/>
                <a:gd name="T56" fmla="*/ 461 w 722"/>
                <a:gd name="T57" fmla="*/ 19 h 511"/>
                <a:gd name="T58" fmla="*/ 409 w 722"/>
                <a:gd name="T59" fmla="*/ 0 h 511"/>
                <a:gd name="T60" fmla="*/ 346 w 722"/>
                <a:gd name="T61" fmla="*/ 3 h 511"/>
                <a:gd name="T62" fmla="*/ 317 w 722"/>
                <a:gd name="T63" fmla="*/ 74 h 511"/>
                <a:gd name="T64" fmla="*/ 187 w 722"/>
                <a:gd name="T65" fmla="*/ 75 h 511"/>
                <a:gd name="T66" fmla="*/ 145 w 722"/>
                <a:gd name="T67" fmla="*/ 56 h 511"/>
                <a:gd name="T68" fmla="*/ 84 w 722"/>
                <a:gd name="T69" fmla="*/ 53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2" h="511">
                  <a:moveTo>
                    <a:pt x="84" y="53"/>
                  </a:moveTo>
                  <a:lnTo>
                    <a:pt x="34" y="82"/>
                  </a:lnTo>
                  <a:lnTo>
                    <a:pt x="46" y="134"/>
                  </a:lnTo>
                  <a:lnTo>
                    <a:pt x="0" y="231"/>
                  </a:lnTo>
                  <a:lnTo>
                    <a:pt x="0" y="273"/>
                  </a:lnTo>
                  <a:lnTo>
                    <a:pt x="22" y="287"/>
                  </a:lnTo>
                  <a:lnTo>
                    <a:pt x="160" y="294"/>
                  </a:lnTo>
                  <a:lnTo>
                    <a:pt x="199" y="262"/>
                  </a:lnTo>
                  <a:lnTo>
                    <a:pt x="240" y="275"/>
                  </a:lnTo>
                  <a:lnTo>
                    <a:pt x="300" y="355"/>
                  </a:lnTo>
                  <a:lnTo>
                    <a:pt x="256" y="433"/>
                  </a:lnTo>
                  <a:lnTo>
                    <a:pt x="308" y="448"/>
                  </a:lnTo>
                  <a:lnTo>
                    <a:pt x="376" y="370"/>
                  </a:lnTo>
                  <a:lnTo>
                    <a:pt x="415" y="377"/>
                  </a:lnTo>
                  <a:lnTo>
                    <a:pt x="450" y="402"/>
                  </a:lnTo>
                  <a:lnTo>
                    <a:pt x="419" y="444"/>
                  </a:lnTo>
                  <a:lnTo>
                    <a:pt x="461" y="511"/>
                  </a:lnTo>
                  <a:lnTo>
                    <a:pt x="507" y="511"/>
                  </a:lnTo>
                  <a:lnTo>
                    <a:pt x="530" y="466"/>
                  </a:lnTo>
                  <a:lnTo>
                    <a:pt x="579" y="456"/>
                  </a:lnTo>
                  <a:lnTo>
                    <a:pt x="580" y="421"/>
                  </a:lnTo>
                  <a:lnTo>
                    <a:pt x="491" y="406"/>
                  </a:lnTo>
                  <a:lnTo>
                    <a:pt x="494" y="368"/>
                  </a:lnTo>
                  <a:lnTo>
                    <a:pt x="580" y="368"/>
                  </a:lnTo>
                  <a:lnTo>
                    <a:pt x="674" y="293"/>
                  </a:lnTo>
                  <a:lnTo>
                    <a:pt x="716" y="256"/>
                  </a:lnTo>
                  <a:lnTo>
                    <a:pt x="722" y="142"/>
                  </a:lnTo>
                  <a:lnTo>
                    <a:pt x="537" y="125"/>
                  </a:lnTo>
                  <a:lnTo>
                    <a:pt x="461" y="19"/>
                  </a:lnTo>
                  <a:lnTo>
                    <a:pt x="409" y="0"/>
                  </a:lnTo>
                  <a:lnTo>
                    <a:pt x="346" y="3"/>
                  </a:lnTo>
                  <a:lnTo>
                    <a:pt x="317" y="74"/>
                  </a:lnTo>
                  <a:lnTo>
                    <a:pt x="187" y="75"/>
                  </a:lnTo>
                  <a:lnTo>
                    <a:pt x="145" y="56"/>
                  </a:lnTo>
                  <a:lnTo>
                    <a:pt x="84" y="53"/>
                  </a:lnTo>
                  <a:close/>
                </a:path>
              </a:pathLst>
            </a:custGeom>
            <a:solidFill>
              <a:srgbClr val="72BFC5"/>
            </a:solidFill>
            <a:ln>
              <a:noFill/>
            </a:ln>
          </p:spPr>
          <p:txBody>
            <a:bodyPr vert="horz" wrap="square" lIns="91440" tIns="45720" rIns="91440" bIns="45720" numCol="1" anchor="t" anchorCtr="0" compatLnSpc="1">
              <a:prstTxWarp prst="textNoShape">
                <a:avLst/>
              </a:prstTxWarp>
            </a:bodyPr>
            <a:lstStyle/>
            <a:p>
              <a:endParaRPr lang="en-US"/>
            </a:p>
          </p:txBody>
        </p:sp>
        <p:sp>
          <p:nvSpPr>
            <p:cNvPr id="469" name="Freeform 334">
              <a:extLst>
                <a:ext uri="{FF2B5EF4-FFF2-40B4-BE49-F238E27FC236}">
                  <a16:creationId xmlns:a16="http://schemas.microsoft.com/office/drawing/2014/main" id="{FA723197-C458-4B55-8449-A0F8728AD74F}"/>
                </a:ext>
              </a:extLst>
            </p:cNvPr>
            <p:cNvSpPr>
              <a:spLocks/>
            </p:cNvSpPr>
            <p:nvPr/>
          </p:nvSpPr>
          <p:spPr bwMode="auto">
            <a:xfrm>
              <a:off x="6509544" y="2685256"/>
              <a:ext cx="60325" cy="82550"/>
            </a:xfrm>
            <a:custGeom>
              <a:avLst/>
              <a:gdLst>
                <a:gd name="T0" fmla="*/ 0 w 113"/>
                <a:gd name="T1" fmla="*/ 28 h 157"/>
                <a:gd name="T2" fmla="*/ 53 w 113"/>
                <a:gd name="T3" fmla="*/ 109 h 157"/>
                <a:gd name="T4" fmla="*/ 49 w 113"/>
                <a:gd name="T5" fmla="*/ 156 h 157"/>
                <a:gd name="T6" fmla="*/ 68 w 113"/>
                <a:gd name="T7" fmla="*/ 157 h 157"/>
                <a:gd name="T8" fmla="*/ 113 w 113"/>
                <a:gd name="T9" fmla="*/ 81 h 157"/>
                <a:gd name="T10" fmla="*/ 59 w 113"/>
                <a:gd name="T11" fmla="*/ 13 h 157"/>
                <a:gd name="T12" fmla="*/ 27 w 113"/>
                <a:gd name="T13" fmla="*/ 0 h 157"/>
                <a:gd name="T14" fmla="*/ 0 w 113"/>
                <a:gd name="T15" fmla="*/ 28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57">
                  <a:moveTo>
                    <a:pt x="0" y="28"/>
                  </a:moveTo>
                  <a:lnTo>
                    <a:pt x="53" y="109"/>
                  </a:lnTo>
                  <a:lnTo>
                    <a:pt x="49" y="156"/>
                  </a:lnTo>
                  <a:lnTo>
                    <a:pt x="68" y="157"/>
                  </a:lnTo>
                  <a:lnTo>
                    <a:pt x="113" y="81"/>
                  </a:lnTo>
                  <a:lnTo>
                    <a:pt x="59" y="13"/>
                  </a:lnTo>
                  <a:lnTo>
                    <a:pt x="27" y="0"/>
                  </a:lnTo>
                  <a:lnTo>
                    <a:pt x="0" y="2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0" name="Freeform 335">
              <a:extLst>
                <a:ext uri="{FF2B5EF4-FFF2-40B4-BE49-F238E27FC236}">
                  <a16:creationId xmlns:a16="http://schemas.microsoft.com/office/drawing/2014/main" id="{55B2D5F3-1401-4BEC-926A-B589BFE0FB7D}"/>
                </a:ext>
              </a:extLst>
            </p:cNvPr>
            <p:cNvSpPr>
              <a:spLocks/>
            </p:cNvSpPr>
            <p:nvPr/>
          </p:nvSpPr>
          <p:spPr bwMode="auto">
            <a:xfrm>
              <a:off x="6376194" y="2697956"/>
              <a:ext cx="207963" cy="141288"/>
            </a:xfrm>
            <a:custGeom>
              <a:avLst/>
              <a:gdLst>
                <a:gd name="T0" fmla="*/ 104 w 393"/>
                <a:gd name="T1" fmla="*/ 0 h 267"/>
                <a:gd name="T2" fmla="*/ 100 w 393"/>
                <a:gd name="T3" fmla="*/ 25 h 267"/>
                <a:gd name="T4" fmla="*/ 0 w 393"/>
                <a:gd name="T5" fmla="*/ 107 h 267"/>
                <a:gd name="T6" fmla="*/ 83 w 393"/>
                <a:gd name="T7" fmla="*/ 229 h 267"/>
                <a:gd name="T8" fmla="*/ 136 w 393"/>
                <a:gd name="T9" fmla="*/ 267 h 267"/>
                <a:gd name="T10" fmla="*/ 232 w 393"/>
                <a:gd name="T11" fmla="*/ 267 h 267"/>
                <a:gd name="T12" fmla="*/ 263 w 393"/>
                <a:gd name="T13" fmla="*/ 240 h 267"/>
                <a:gd name="T14" fmla="*/ 306 w 393"/>
                <a:gd name="T15" fmla="*/ 234 h 267"/>
                <a:gd name="T16" fmla="*/ 337 w 393"/>
                <a:gd name="T17" fmla="*/ 254 h 267"/>
                <a:gd name="T18" fmla="*/ 393 w 393"/>
                <a:gd name="T19" fmla="*/ 190 h 267"/>
                <a:gd name="T20" fmla="*/ 383 w 393"/>
                <a:gd name="T21" fmla="*/ 158 h 267"/>
                <a:gd name="T22" fmla="*/ 326 w 393"/>
                <a:gd name="T23" fmla="*/ 144 h 267"/>
                <a:gd name="T24" fmla="*/ 287 w 393"/>
                <a:gd name="T25" fmla="*/ 142 h 267"/>
                <a:gd name="T26" fmla="*/ 289 w 393"/>
                <a:gd name="T27" fmla="*/ 87 h 267"/>
                <a:gd name="T28" fmla="*/ 238 w 393"/>
                <a:gd name="T29" fmla="*/ 6 h 267"/>
                <a:gd name="T30" fmla="*/ 104 w 393"/>
                <a:gd name="T31"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3" h="267">
                  <a:moveTo>
                    <a:pt x="104" y="0"/>
                  </a:moveTo>
                  <a:lnTo>
                    <a:pt x="100" y="25"/>
                  </a:lnTo>
                  <a:lnTo>
                    <a:pt x="0" y="107"/>
                  </a:lnTo>
                  <a:lnTo>
                    <a:pt x="83" y="229"/>
                  </a:lnTo>
                  <a:lnTo>
                    <a:pt x="136" y="267"/>
                  </a:lnTo>
                  <a:lnTo>
                    <a:pt x="232" y="267"/>
                  </a:lnTo>
                  <a:lnTo>
                    <a:pt x="263" y="240"/>
                  </a:lnTo>
                  <a:lnTo>
                    <a:pt x="306" y="234"/>
                  </a:lnTo>
                  <a:lnTo>
                    <a:pt x="337" y="254"/>
                  </a:lnTo>
                  <a:lnTo>
                    <a:pt x="393" y="190"/>
                  </a:lnTo>
                  <a:lnTo>
                    <a:pt x="383" y="158"/>
                  </a:lnTo>
                  <a:lnTo>
                    <a:pt x="326" y="144"/>
                  </a:lnTo>
                  <a:lnTo>
                    <a:pt x="287" y="142"/>
                  </a:lnTo>
                  <a:lnTo>
                    <a:pt x="289" y="87"/>
                  </a:lnTo>
                  <a:lnTo>
                    <a:pt x="238" y="6"/>
                  </a:lnTo>
                  <a:lnTo>
                    <a:pt x="10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1" name="Freeform 336">
              <a:extLst>
                <a:ext uri="{FF2B5EF4-FFF2-40B4-BE49-F238E27FC236}">
                  <a16:creationId xmlns:a16="http://schemas.microsoft.com/office/drawing/2014/main" id="{8F365CD7-A001-417F-B5E4-F181AF513DAA}"/>
                </a:ext>
              </a:extLst>
            </p:cNvPr>
            <p:cNvSpPr>
              <a:spLocks/>
            </p:cNvSpPr>
            <p:nvPr/>
          </p:nvSpPr>
          <p:spPr bwMode="auto">
            <a:xfrm>
              <a:off x="6333332" y="2761456"/>
              <a:ext cx="85725" cy="131763"/>
            </a:xfrm>
            <a:custGeom>
              <a:avLst/>
              <a:gdLst>
                <a:gd name="T0" fmla="*/ 71 w 161"/>
                <a:gd name="T1" fmla="*/ 0 h 248"/>
                <a:gd name="T2" fmla="*/ 37 w 161"/>
                <a:gd name="T3" fmla="*/ 26 h 248"/>
                <a:gd name="T4" fmla="*/ 19 w 161"/>
                <a:gd name="T5" fmla="*/ 26 h 248"/>
                <a:gd name="T6" fmla="*/ 8 w 161"/>
                <a:gd name="T7" fmla="*/ 63 h 248"/>
                <a:gd name="T8" fmla="*/ 49 w 161"/>
                <a:gd name="T9" fmla="*/ 110 h 248"/>
                <a:gd name="T10" fmla="*/ 52 w 161"/>
                <a:gd name="T11" fmla="*/ 149 h 248"/>
                <a:gd name="T12" fmla="*/ 0 w 161"/>
                <a:gd name="T13" fmla="*/ 221 h 248"/>
                <a:gd name="T14" fmla="*/ 8 w 161"/>
                <a:gd name="T15" fmla="*/ 243 h 248"/>
                <a:gd name="T16" fmla="*/ 38 w 161"/>
                <a:gd name="T17" fmla="*/ 248 h 248"/>
                <a:gd name="T18" fmla="*/ 61 w 161"/>
                <a:gd name="T19" fmla="*/ 217 h 248"/>
                <a:gd name="T20" fmla="*/ 74 w 161"/>
                <a:gd name="T21" fmla="*/ 216 h 248"/>
                <a:gd name="T22" fmla="*/ 95 w 161"/>
                <a:gd name="T23" fmla="*/ 236 h 248"/>
                <a:gd name="T24" fmla="*/ 161 w 161"/>
                <a:gd name="T25" fmla="*/ 217 h 248"/>
                <a:gd name="T26" fmla="*/ 155 w 161"/>
                <a:gd name="T27" fmla="*/ 123 h 248"/>
                <a:gd name="T28" fmla="*/ 71 w 161"/>
                <a:gd name="T29"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 h="248">
                  <a:moveTo>
                    <a:pt x="71" y="0"/>
                  </a:moveTo>
                  <a:lnTo>
                    <a:pt x="37" y="26"/>
                  </a:lnTo>
                  <a:lnTo>
                    <a:pt x="19" y="26"/>
                  </a:lnTo>
                  <a:lnTo>
                    <a:pt x="8" y="63"/>
                  </a:lnTo>
                  <a:lnTo>
                    <a:pt x="49" y="110"/>
                  </a:lnTo>
                  <a:lnTo>
                    <a:pt x="52" y="149"/>
                  </a:lnTo>
                  <a:lnTo>
                    <a:pt x="0" y="221"/>
                  </a:lnTo>
                  <a:lnTo>
                    <a:pt x="8" y="243"/>
                  </a:lnTo>
                  <a:lnTo>
                    <a:pt x="38" y="248"/>
                  </a:lnTo>
                  <a:lnTo>
                    <a:pt x="61" y="217"/>
                  </a:lnTo>
                  <a:lnTo>
                    <a:pt x="74" y="216"/>
                  </a:lnTo>
                  <a:lnTo>
                    <a:pt x="95" y="236"/>
                  </a:lnTo>
                  <a:lnTo>
                    <a:pt x="161" y="217"/>
                  </a:lnTo>
                  <a:lnTo>
                    <a:pt x="155" y="123"/>
                  </a:lnTo>
                  <a:lnTo>
                    <a:pt x="7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2" name="Freeform 337">
              <a:extLst>
                <a:ext uri="{FF2B5EF4-FFF2-40B4-BE49-F238E27FC236}">
                  <a16:creationId xmlns:a16="http://schemas.microsoft.com/office/drawing/2014/main" id="{39EA752B-E987-43EF-9FB6-F58C9BAD201D}"/>
                </a:ext>
              </a:extLst>
            </p:cNvPr>
            <p:cNvSpPr>
              <a:spLocks/>
            </p:cNvSpPr>
            <p:nvPr/>
          </p:nvSpPr>
          <p:spPr bwMode="auto">
            <a:xfrm>
              <a:off x="6425407" y="2831306"/>
              <a:ext cx="123825" cy="79375"/>
            </a:xfrm>
            <a:custGeom>
              <a:avLst/>
              <a:gdLst>
                <a:gd name="T0" fmla="*/ 0 w 235"/>
                <a:gd name="T1" fmla="*/ 2 h 149"/>
                <a:gd name="T2" fmla="*/ 3 w 235"/>
                <a:gd name="T3" fmla="*/ 87 h 149"/>
                <a:gd name="T4" fmla="*/ 31 w 235"/>
                <a:gd name="T5" fmla="*/ 148 h 149"/>
                <a:gd name="T6" fmla="*/ 139 w 235"/>
                <a:gd name="T7" fmla="*/ 149 h 149"/>
                <a:gd name="T8" fmla="*/ 187 w 235"/>
                <a:gd name="T9" fmla="*/ 114 h 149"/>
                <a:gd name="T10" fmla="*/ 235 w 235"/>
                <a:gd name="T11" fmla="*/ 96 h 149"/>
                <a:gd name="T12" fmla="*/ 224 w 235"/>
                <a:gd name="T13" fmla="*/ 41 h 149"/>
                <a:gd name="T14" fmla="*/ 235 w 235"/>
                <a:gd name="T15" fmla="*/ 12 h 149"/>
                <a:gd name="T16" fmla="*/ 211 w 235"/>
                <a:gd name="T17" fmla="*/ 0 h 149"/>
                <a:gd name="T18" fmla="*/ 177 w 235"/>
                <a:gd name="T19" fmla="*/ 3 h 149"/>
                <a:gd name="T20" fmla="*/ 151 w 235"/>
                <a:gd name="T21" fmla="*/ 29 h 149"/>
                <a:gd name="T22" fmla="*/ 41 w 235"/>
                <a:gd name="T23" fmla="*/ 29 h 149"/>
                <a:gd name="T24" fmla="*/ 0 w 235"/>
                <a:gd name="T25"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149">
                  <a:moveTo>
                    <a:pt x="0" y="2"/>
                  </a:moveTo>
                  <a:lnTo>
                    <a:pt x="3" y="87"/>
                  </a:lnTo>
                  <a:lnTo>
                    <a:pt x="31" y="148"/>
                  </a:lnTo>
                  <a:lnTo>
                    <a:pt x="139" y="149"/>
                  </a:lnTo>
                  <a:lnTo>
                    <a:pt x="187" y="114"/>
                  </a:lnTo>
                  <a:lnTo>
                    <a:pt x="235" y="96"/>
                  </a:lnTo>
                  <a:lnTo>
                    <a:pt x="224" y="41"/>
                  </a:lnTo>
                  <a:lnTo>
                    <a:pt x="235" y="12"/>
                  </a:lnTo>
                  <a:lnTo>
                    <a:pt x="211" y="0"/>
                  </a:lnTo>
                  <a:lnTo>
                    <a:pt x="177" y="3"/>
                  </a:lnTo>
                  <a:lnTo>
                    <a:pt x="151" y="29"/>
                  </a:lnTo>
                  <a:lnTo>
                    <a:pt x="41" y="29"/>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3" name="Freeform 338">
              <a:extLst>
                <a:ext uri="{FF2B5EF4-FFF2-40B4-BE49-F238E27FC236}">
                  <a16:creationId xmlns:a16="http://schemas.microsoft.com/office/drawing/2014/main" id="{9885B968-8AA1-42AC-B489-06A107AE6402}"/>
                </a:ext>
              </a:extLst>
            </p:cNvPr>
            <p:cNvSpPr>
              <a:spLocks/>
            </p:cNvSpPr>
            <p:nvPr/>
          </p:nvSpPr>
          <p:spPr bwMode="auto">
            <a:xfrm>
              <a:off x="6358732" y="2883693"/>
              <a:ext cx="34925" cy="79375"/>
            </a:xfrm>
            <a:custGeom>
              <a:avLst/>
              <a:gdLst>
                <a:gd name="T0" fmla="*/ 0 w 66"/>
                <a:gd name="T1" fmla="*/ 30 h 152"/>
                <a:gd name="T2" fmla="*/ 0 w 66"/>
                <a:gd name="T3" fmla="*/ 110 h 152"/>
                <a:gd name="T4" fmla="*/ 22 w 66"/>
                <a:gd name="T5" fmla="*/ 152 h 152"/>
                <a:gd name="T6" fmla="*/ 38 w 66"/>
                <a:gd name="T7" fmla="*/ 150 h 152"/>
                <a:gd name="T8" fmla="*/ 66 w 66"/>
                <a:gd name="T9" fmla="*/ 100 h 152"/>
                <a:gd name="T10" fmla="*/ 49 w 66"/>
                <a:gd name="T11" fmla="*/ 76 h 152"/>
                <a:gd name="T12" fmla="*/ 43 w 66"/>
                <a:gd name="T13" fmla="*/ 20 h 152"/>
                <a:gd name="T14" fmla="*/ 22 w 66"/>
                <a:gd name="T15" fmla="*/ 0 h 152"/>
                <a:gd name="T16" fmla="*/ 0 w 66"/>
                <a:gd name="T17" fmla="*/ 3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52">
                  <a:moveTo>
                    <a:pt x="0" y="30"/>
                  </a:moveTo>
                  <a:lnTo>
                    <a:pt x="0" y="110"/>
                  </a:lnTo>
                  <a:lnTo>
                    <a:pt x="22" y="152"/>
                  </a:lnTo>
                  <a:lnTo>
                    <a:pt x="38" y="150"/>
                  </a:lnTo>
                  <a:lnTo>
                    <a:pt x="66" y="100"/>
                  </a:lnTo>
                  <a:lnTo>
                    <a:pt x="49" y="76"/>
                  </a:lnTo>
                  <a:lnTo>
                    <a:pt x="43" y="20"/>
                  </a:lnTo>
                  <a:lnTo>
                    <a:pt x="22" y="0"/>
                  </a:lnTo>
                  <a:lnTo>
                    <a:pt x="0" y="3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4" name="Freeform 339">
              <a:extLst>
                <a:ext uri="{FF2B5EF4-FFF2-40B4-BE49-F238E27FC236}">
                  <a16:creationId xmlns:a16="http://schemas.microsoft.com/office/drawing/2014/main" id="{8E14E432-D8AB-4092-B196-2DB018816754}"/>
                </a:ext>
              </a:extLst>
            </p:cNvPr>
            <p:cNvSpPr>
              <a:spLocks/>
            </p:cNvSpPr>
            <p:nvPr/>
          </p:nvSpPr>
          <p:spPr bwMode="auto">
            <a:xfrm>
              <a:off x="6390482" y="2883693"/>
              <a:ext cx="44450" cy="44450"/>
            </a:xfrm>
            <a:custGeom>
              <a:avLst/>
              <a:gdLst>
                <a:gd name="T0" fmla="*/ 57 w 85"/>
                <a:gd name="T1" fmla="*/ 0 h 85"/>
                <a:gd name="T2" fmla="*/ 0 w 85"/>
                <a:gd name="T3" fmla="*/ 19 h 85"/>
                <a:gd name="T4" fmla="*/ 3 w 85"/>
                <a:gd name="T5" fmla="*/ 68 h 85"/>
                <a:gd name="T6" fmla="*/ 16 w 85"/>
                <a:gd name="T7" fmla="*/ 85 h 85"/>
                <a:gd name="T8" fmla="*/ 85 w 85"/>
                <a:gd name="T9" fmla="*/ 54 h 85"/>
                <a:gd name="T10" fmla="*/ 57 w 85"/>
                <a:gd name="T11" fmla="*/ 0 h 85"/>
              </a:gdLst>
              <a:ahLst/>
              <a:cxnLst>
                <a:cxn ang="0">
                  <a:pos x="T0" y="T1"/>
                </a:cxn>
                <a:cxn ang="0">
                  <a:pos x="T2" y="T3"/>
                </a:cxn>
                <a:cxn ang="0">
                  <a:pos x="T4" y="T5"/>
                </a:cxn>
                <a:cxn ang="0">
                  <a:pos x="T6" y="T7"/>
                </a:cxn>
                <a:cxn ang="0">
                  <a:pos x="T8" y="T9"/>
                </a:cxn>
                <a:cxn ang="0">
                  <a:pos x="T10" y="T11"/>
                </a:cxn>
              </a:cxnLst>
              <a:rect l="0" t="0" r="r" b="b"/>
              <a:pathLst>
                <a:path w="85" h="85">
                  <a:moveTo>
                    <a:pt x="57" y="0"/>
                  </a:moveTo>
                  <a:lnTo>
                    <a:pt x="0" y="19"/>
                  </a:lnTo>
                  <a:lnTo>
                    <a:pt x="3" y="68"/>
                  </a:lnTo>
                  <a:lnTo>
                    <a:pt x="16" y="85"/>
                  </a:lnTo>
                  <a:lnTo>
                    <a:pt x="85" y="54"/>
                  </a:lnTo>
                  <a:lnTo>
                    <a:pt x="57"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5" name="Freeform 340">
              <a:extLst>
                <a:ext uri="{FF2B5EF4-FFF2-40B4-BE49-F238E27FC236}">
                  <a16:creationId xmlns:a16="http://schemas.microsoft.com/office/drawing/2014/main" id="{5CA216E6-4F0E-42F9-9B67-33857BA8BEE0}"/>
                </a:ext>
              </a:extLst>
            </p:cNvPr>
            <p:cNvSpPr>
              <a:spLocks/>
            </p:cNvSpPr>
            <p:nvPr/>
          </p:nvSpPr>
          <p:spPr bwMode="auto">
            <a:xfrm>
              <a:off x="6380957" y="2902743"/>
              <a:ext cx="141288" cy="165100"/>
            </a:xfrm>
            <a:custGeom>
              <a:avLst/>
              <a:gdLst>
                <a:gd name="T0" fmla="*/ 2 w 267"/>
                <a:gd name="T1" fmla="*/ 126 h 312"/>
                <a:gd name="T2" fmla="*/ 0 w 267"/>
                <a:gd name="T3" fmla="*/ 150 h 312"/>
                <a:gd name="T4" fmla="*/ 80 w 267"/>
                <a:gd name="T5" fmla="*/ 189 h 312"/>
                <a:gd name="T6" fmla="*/ 118 w 267"/>
                <a:gd name="T7" fmla="*/ 204 h 312"/>
                <a:gd name="T8" fmla="*/ 98 w 267"/>
                <a:gd name="T9" fmla="*/ 225 h 312"/>
                <a:gd name="T10" fmla="*/ 54 w 267"/>
                <a:gd name="T11" fmla="*/ 229 h 312"/>
                <a:gd name="T12" fmla="*/ 47 w 267"/>
                <a:gd name="T13" fmla="*/ 249 h 312"/>
                <a:gd name="T14" fmla="*/ 62 w 267"/>
                <a:gd name="T15" fmla="*/ 284 h 312"/>
                <a:gd name="T16" fmla="*/ 112 w 267"/>
                <a:gd name="T17" fmla="*/ 310 h 312"/>
                <a:gd name="T18" fmla="*/ 133 w 267"/>
                <a:gd name="T19" fmla="*/ 312 h 312"/>
                <a:gd name="T20" fmla="*/ 136 w 267"/>
                <a:gd name="T21" fmla="*/ 252 h 312"/>
                <a:gd name="T22" fmla="*/ 169 w 267"/>
                <a:gd name="T23" fmla="*/ 214 h 312"/>
                <a:gd name="T24" fmla="*/ 81 w 267"/>
                <a:gd name="T25" fmla="*/ 109 h 312"/>
                <a:gd name="T26" fmla="*/ 92 w 267"/>
                <a:gd name="T27" fmla="*/ 74 h 312"/>
                <a:gd name="T28" fmla="*/ 113 w 267"/>
                <a:gd name="T29" fmla="*/ 73 h 312"/>
                <a:gd name="T30" fmla="*/ 145 w 267"/>
                <a:gd name="T31" fmla="*/ 98 h 312"/>
                <a:gd name="T32" fmla="*/ 164 w 267"/>
                <a:gd name="T33" fmla="*/ 88 h 312"/>
                <a:gd name="T34" fmla="*/ 171 w 267"/>
                <a:gd name="T35" fmla="*/ 53 h 312"/>
                <a:gd name="T36" fmla="*/ 263 w 267"/>
                <a:gd name="T37" fmla="*/ 53 h 312"/>
                <a:gd name="T38" fmla="*/ 267 w 267"/>
                <a:gd name="T39" fmla="*/ 0 h 312"/>
                <a:gd name="T40" fmla="*/ 228 w 267"/>
                <a:gd name="T41" fmla="*/ 27 h 312"/>
                <a:gd name="T42" fmla="*/ 115 w 267"/>
                <a:gd name="T43" fmla="*/ 24 h 312"/>
                <a:gd name="T44" fmla="*/ 41 w 267"/>
                <a:gd name="T45" fmla="*/ 62 h 312"/>
                <a:gd name="T46" fmla="*/ 2 w 267"/>
                <a:gd name="T47" fmla="*/ 12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7" h="312">
                  <a:moveTo>
                    <a:pt x="2" y="126"/>
                  </a:moveTo>
                  <a:lnTo>
                    <a:pt x="0" y="150"/>
                  </a:lnTo>
                  <a:lnTo>
                    <a:pt x="80" y="189"/>
                  </a:lnTo>
                  <a:lnTo>
                    <a:pt x="118" y="204"/>
                  </a:lnTo>
                  <a:lnTo>
                    <a:pt x="98" y="225"/>
                  </a:lnTo>
                  <a:lnTo>
                    <a:pt x="54" y="229"/>
                  </a:lnTo>
                  <a:lnTo>
                    <a:pt x="47" y="249"/>
                  </a:lnTo>
                  <a:lnTo>
                    <a:pt x="62" y="284"/>
                  </a:lnTo>
                  <a:lnTo>
                    <a:pt x="112" y="310"/>
                  </a:lnTo>
                  <a:lnTo>
                    <a:pt x="133" y="312"/>
                  </a:lnTo>
                  <a:lnTo>
                    <a:pt x="136" y="252"/>
                  </a:lnTo>
                  <a:lnTo>
                    <a:pt x="169" y="214"/>
                  </a:lnTo>
                  <a:lnTo>
                    <a:pt x="81" y="109"/>
                  </a:lnTo>
                  <a:lnTo>
                    <a:pt x="92" y="74"/>
                  </a:lnTo>
                  <a:lnTo>
                    <a:pt x="113" y="73"/>
                  </a:lnTo>
                  <a:lnTo>
                    <a:pt x="145" y="98"/>
                  </a:lnTo>
                  <a:lnTo>
                    <a:pt x="164" y="88"/>
                  </a:lnTo>
                  <a:lnTo>
                    <a:pt x="171" y="53"/>
                  </a:lnTo>
                  <a:lnTo>
                    <a:pt x="263" y="53"/>
                  </a:lnTo>
                  <a:lnTo>
                    <a:pt x="267" y="0"/>
                  </a:lnTo>
                  <a:lnTo>
                    <a:pt x="228" y="27"/>
                  </a:lnTo>
                  <a:lnTo>
                    <a:pt x="115" y="24"/>
                  </a:lnTo>
                  <a:lnTo>
                    <a:pt x="41" y="62"/>
                  </a:lnTo>
                  <a:lnTo>
                    <a:pt x="2" y="12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6" name="Freeform 341">
              <a:extLst>
                <a:ext uri="{FF2B5EF4-FFF2-40B4-BE49-F238E27FC236}">
                  <a16:creationId xmlns:a16="http://schemas.microsoft.com/office/drawing/2014/main" id="{881C01E1-AB4F-4B39-9D46-A3C7F2A6C7C8}"/>
                </a:ext>
              </a:extLst>
            </p:cNvPr>
            <p:cNvSpPr>
              <a:spLocks/>
            </p:cNvSpPr>
            <p:nvPr/>
          </p:nvSpPr>
          <p:spPr bwMode="auto">
            <a:xfrm>
              <a:off x="6528594" y="2888456"/>
              <a:ext cx="41275" cy="42863"/>
            </a:xfrm>
            <a:custGeom>
              <a:avLst/>
              <a:gdLst>
                <a:gd name="T0" fmla="*/ 3 w 78"/>
                <a:gd name="T1" fmla="*/ 18 h 79"/>
                <a:gd name="T2" fmla="*/ 0 w 78"/>
                <a:gd name="T3" fmla="*/ 79 h 79"/>
                <a:gd name="T4" fmla="*/ 53 w 78"/>
                <a:gd name="T5" fmla="*/ 63 h 79"/>
                <a:gd name="T6" fmla="*/ 78 w 78"/>
                <a:gd name="T7" fmla="*/ 47 h 79"/>
                <a:gd name="T8" fmla="*/ 71 w 78"/>
                <a:gd name="T9" fmla="*/ 20 h 79"/>
                <a:gd name="T10" fmla="*/ 45 w 78"/>
                <a:gd name="T11" fmla="*/ 0 h 79"/>
                <a:gd name="T12" fmla="*/ 3 w 78"/>
                <a:gd name="T13" fmla="*/ 18 h 79"/>
              </a:gdLst>
              <a:ahLst/>
              <a:cxnLst>
                <a:cxn ang="0">
                  <a:pos x="T0" y="T1"/>
                </a:cxn>
                <a:cxn ang="0">
                  <a:pos x="T2" y="T3"/>
                </a:cxn>
                <a:cxn ang="0">
                  <a:pos x="T4" y="T5"/>
                </a:cxn>
                <a:cxn ang="0">
                  <a:pos x="T6" y="T7"/>
                </a:cxn>
                <a:cxn ang="0">
                  <a:pos x="T8" y="T9"/>
                </a:cxn>
                <a:cxn ang="0">
                  <a:pos x="T10" y="T11"/>
                </a:cxn>
                <a:cxn ang="0">
                  <a:pos x="T12" y="T13"/>
                </a:cxn>
              </a:cxnLst>
              <a:rect l="0" t="0" r="r" b="b"/>
              <a:pathLst>
                <a:path w="78" h="79">
                  <a:moveTo>
                    <a:pt x="3" y="18"/>
                  </a:moveTo>
                  <a:lnTo>
                    <a:pt x="0" y="79"/>
                  </a:lnTo>
                  <a:lnTo>
                    <a:pt x="53" y="63"/>
                  </a:lnTo>
                  <a:lnTo>
                    <a:pt x="78" y="47"/>
                  </a:lnTo>
                  <a:lnTo>
                    <a:pt x="71" y="20"/>
                  </a:lnTo>
                  <a:lnTo>
                    <a:pt x="45" y="0"/>
                  </a:lnTo>
                  <a:lnTo>
                    <a:pt x="3" y="1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7" name="Freeform 342">
              <a:extLst>
                <a:ext uri="{FF2B5EF4-FFF2-40B4-BE49-F238E27FC236}">
                  <a16:creationId xmlns:a16="http://schemas.microsoft.com/office/drawing/2014/main" id="{9DAAEE75-3AE7-4299-93BF-96D3F0A9C2D6}"/>
                </a:ext>
              </a:extLst>
            </p:cNvPr>
            <p:cNvSpPr>
              <a:spLocks/>
            </p:cNvSpPr>
            <p:nvPr/>
          </p:nvSpPr>
          <p:spPr bwMode="auto">
            <a:xfrm>
              <a:off x="6468269" y="3088481"/>
              <a:ext cx="66675" cy="23813"/>
            </a:xfrm>
            <a:custGeom>
              <a:avLst/>
              <a:gdLst>
                <a:gd name="T0" fmla="*/ 11 w 127"/>
                <a:gd name="T1" fmla="*/ 0 h 45"/>
                <a:gd name="T2" fmla="*/ 38 w 127"/>
                <a:gd name="T3" fmla="*/ 1 h 45"/>
                <a:gd name="T4" fmla="*/ 51 w 127"/>
                <a:gd name="T5" fmla="*/ 18 h 45"/>
                <a:gd name="T6" fmla="*/ 91 w 127"/>
                <a:gd name="T7" fmla="*/ 18 h 45"/>
                <a:gd name="T8" fmla="*/ 118 w 127"/>
                <a:gd name="T9" fmla="*/ 8 h 45"/>
                <a:gd name="T10" fmla="*/ 127 w 127"/>
                <a:gd name="T11" fmla="*/ 19 h 45"/>
                <a:gd name="T12" fmla="*/ 108 w 127"/>
                <a:gd name="T13" fmla="*/ 42 h 45"/>
                <a:gd name="T14" fmla="*/ 29 w 127"/>
                <a:gd name="T15" fmla="*/ 45 h 45"/>
                <a:gd name="T16" fmla="*/ 15 w 127"/>
                <a:gd name="T17" fmla="*/ 26 h 45"/>
                <a:gd name="T18" fmla="*/ 0 w 127"/>
                <a:gd name="T19" fmla="*/ 17 h 45"/>
                <a:gd name="T20" fmla="*/ 11 w 127"/>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5">
                  <a:moveTo>
                    <a:pt x="11" y="0"/>
                  </a:moveTo>
                  <a:lnTo>
                    <a:pt x="38" y="1"/>
                  </a:lnTo>
                  <a:lnTo>
                    <a:pt x="51" y="18"/>
                  </a:lnTo>
                  <a:lnTo>
                    <a:pt x="91" y="18"/>
                  </a:lnTo>
                  <a:lnTo>
                    <a:pt x="118" y="8"/>
                  </a:lnTo>
                  <a:lnTo>
                    <a:pt x="127" y="19"/>
                  </a:lnTo>
                  <a:lnTo>
                    <a:pt x="108" y="42"/>
                  </a:lnTo>
                  <a:lnTo>
                    <a:pt x="29" y="45"/>
                  </a:lnTo>
                  <a:lnTo>
                    <a:pt x="15" y="26"/>
                  </a:lnTo>
                  <a:lnTo>
                    <a:pt x="0" y="17"/>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478" name="Group 477">
              <a:extLst>
                <a:ext uri="{FF2B5EF4-FFF2-40B4-BE49-F238E27FC236}">
                  <a16:creationId xmlns:a16="http://schemas.microsoft.com/office/drawing/2014/main" id="{3FD68D78-6FA9-49BB-B6E8-F2719C1E3A09}"/>
                </a:ext>
              </a:extLst>
            </p:cNvPr>
            <p:cNvGrpSpPr/>
            <p:nvPr/>
          </p:nvGrpSpPr>
          <p:grpSpPr>
            <a:xfrm>
              <a:off x="6456839" y="3442323"/>
              <a:ext cx="413068" cy="530395"/>
              <a:chOff x="4861957" y="2974805"/>
              <a:chExt cx="406956" cy="530396"/>
            </a:xfrm>
            <a:grpFill/>
          </p:grpSpPr>
          <p:sp>
            <p:nvSpPr>
              <p:cNvPr id="479" name="Freeform 256">
                <a:extLst>
                  <a:ext uri="{FF2B5EF4-FFF2-40B4-BE49-F238E27FC236}">
                    <a16:creationId xmlns:a16="http://schemas.microsoft.com/office/drawing/2014/main" id="{DD3419F8-5B77-4232-A8B0-53985622CC23}"/>
                  </a:ext>
                </a:extLst>
              </p:cNvPr>
              <p:cNvSpPr>
                <a:spLocks/>
              </p:cNvSpPr>
              <p:nvPr/>
            </p:nvSpPr>
            <p:spPr bwMode="auto">
              <a:xfrm>
                <a:off x="4861957" y="3242540"/>
                <a:ext cx="378698" cy="262661"/>
              </a:xfrm>
              <a:custGeom>
                <a:avLst/>
                <a:gdLst/>
                <a:ahLst/>
                <a:cxnLst>
                  <a:cxn ang="0">
                    <a:pos x="9544" y="7432"/>
                  </a:cxn>
                  <a:cxn ang="0">
                    <a:pos x="7131" y="8061"/>
                  </a:cxn>
                  <a:cxn ang="0">
                    <a:pos x="6293" y="7537"/>
                  </a:cxn>
                  <a:cxn ang="0">
                    <a:pos x="5139" y="7432"/>
                  </a:cxn>
                  <a:cxn ang="0">
                    <a:pos x="3671" y="5962"/>
                  </a:cxn>
                  <a:cxn ang="0">
                    <a:pos x="2727" y="4809"/>
                  </a:cxn>
                  <a:cxn ang="0">
                    <a:pos x="1363" y="3970"/>
                  </a:cxn>
                  <a:cxn ang="0">
                    <a:pos x="1259" y="3130"/>
                  </a:cxn>
                  <a:cxn ang="0">
                    <a:pos x="420" y="2081"/>
                  </a:cxn>
                  <a:cxn ang="0">
                    <a:pos x="209" y="1137"/>
                  </a:cxn>
                  <a:cxn ang="0">
                    <a:pos x="99" y="259"/>
                  </a:cxn>
                  <a:cxn ang="0">
                    <a:pos x="526" y="92"/>
                  </a:cxn>
                  <a:cxn ang="0">
                    <a:pos x="836" y="7"/>
                  </a:cxn>
                  <a:cxn ang="0">
                    <a:pos x="1096" y="36"/>
                  </a:cxn>
                  <a:cxn ang="0">
                    <a:pos x="1238" y="258"/>
                  </a:cxn>
                  <a:cxn ang="0">
                    <a:pos x="1300" y="355"/>
                  </a:cxn>
                  <a:cxn ang="0">
                    <a:pos x="1481" y="465"/>
                  </a:cxn>
                  <a:cxn ang="0">
                    <a:pos x="1604" y="591"/>
                  </a:cxn>
                  <a:cxn ang="0">
                    <a:pos x="1694" y="765"/>
                  </a:cxn>
                  <a:cxn ang="0">
                    <a:pos x="1783" y="961"/>
                  </a:cxn>
                  <a:cxn ang="0">
                    <a:pos x="1872" y="1065"/>
                  </a:cxn>
                  <a:cxn ang="0">
                    <a:pos x="2042" y="1116"/>
                  </a:cxn>
                  <a:cxn ang="0">
                    <a:pos x="2313" y="1086"/>
                  </a:cxn>
                  <a:cxn ang="0">
                    <a:pos x="2814" y="924"/>
                  </a:cxn>
                  <a:cxn ang="0">
                    <a:pos x="3208" y="832"/>
                  </a:cxn>
                  <a:cxn ang="0">
                    <a:pos x="3519" y="859"/>
                  </a:cxn>
                  <a:cxn ang="0">
                    <a:pos x="3633" y="1057"/>
                  </a:cxn>
                  <a:cxn ang="0">
                    <a:pos x="3760" y="1158"/>
                  </a:cxn>
                  <a:cxn ang="0">
                    <a:pos x="4018" y="1237"/>
                  </a:cxn>
                  <a:cxn ang="0">
                    <a:pos x="4327" y="1251"/>
                  </a:cxn>
                  <a:cxn ang="0">
                    <a:pos x="4606" y="1161"/>
                  </a:cxn>
                  <a:cxn ang="0">
                    <a:pos x="4767" y="1015"/>
                  </a:cxn>
                  <a:cxn ang="0">
                    <a:pos x="4960" y="859"/>
                  </a:cxn>
                  <a:cxn ang="0">
                    <a:pos x="5215" y="782"/>
                  </a:cxn>
                  <a:cxn ang="0">
                    <a:pos x="5411" y="757"/>
                  </a:cxn>
                  <a:cxn ang="0">
                    <a:pos x="5384" y="683"/>
                  </a:cxn>
                  <a:cxn ang="0">
                    <a:pos x="5435" y="517"/>
                  </a:cxn>
                  <a:cxn ang="0">
                    <a:pos x="5686" y="307"/>
                  </a:cxn>
                  <a:cxn ang="0">
                    <a:pos x="6080" y="244"/>
                  </a:cxn>
                  <a:cxn ang="0">
                    <a:pos x="6493" y="312"/>
                  </a:cxn>
                  <a:cxn ang="0">
                    <a:pos x="6801" y="487"/>
                  </a:cxn>
                  <a:cxn ang="0">
                    <a:pos x="6898" y="721"/>
                  </a:cxn>
                  <a:cxn ang="0">
                    <a:pos x="6982" y="794"/>
                  </a:cxn>
                  <a:cxn ang="0">
                    <a:pos x="7146" y="752"/>
                  </a:cxn>
                  <a:cxn ang="0">
                    <a:pos x="7259" y="751"/>
                  </a:cxn>
                  <a:cxn ang="0">
                    <a:pos x="7306" y="901"/>
                  </a:cxn>
                  <a:cxn ang="0">
                    <a:pos x="7494" y="1014"/>
                  </a:cxn>
                  <a:cxn ang="0">
                    <a:pos x="7626" y="1253"/>
                  </a:cxn>
                  <a:cxn ang="0">
                    <a:pos x="7728" y="1591"/>
                  </a:cxn>
                  <a:cxn ang="0">
                    <a:pos x="7882" y="1976"/>
                  </a:cxn>
                  <a:cxn ang="0">
                    <a:pos x="8219" y="1984"/>
                  </a:cxn>
                  <a:cxn ang="0">
                    <a:pos x="8889" y="1897"/>
                  </a:cxn>
                  <a:cxn ang="0">
                    <a:pos x="9257" y="1863"/>
                  </a:cxn>
                  <a:cxn ang="0">
                    <a:pos x="9432" y="1891"/>
                  </a:cxn>
                  <a:cxn ang="0">
                    <a:pos x="9630" y="2029"/>
                  </a:cxn>
                  <a:cxn ang="0">
                    <a:pos x="9649" y="2292"/>
                  </a:cxn>
                  <a:cxn ang="0">
                    <a:pos x="9544" y="3865"/>
                  </a:cxn>
                  <a:cxn ang="0">
                    <a:pos x="8705" y="4389"/>
                  </a:cxn>
                  <a:cxn ang="0">
                    <a:pos x="9438" y="5018"/>
                  </a:cxn>
                  <a:cxn ang="0">
                    <a:pos x="10592" y="6488"/>
                  </a:cxn>
                </a:cxnLst>
                <a:rect l="0" t="0" r="r" b="b"/>
                <a:pathLst>
                  <a:path w="10907" h="8061">
                    <a:moveTo>
                      <a:pt x="10907" y="7117"/>
                    </a:moveTo>
                    <a:lnTo>
                      <a:pt x="10382" y="7117"/>
                    </a:lnTo>
                    <a:lnTo>
                      <a:pt x="9963" y="7117"/>
                    </a:lnTo>
                    <a:lnTo>
                      <a:pt x="9753" y="7222"/>
                    </a:lnTo>
                    <a:lnTo>
                      <a:pt x="9649" y="7222"/>
                    </a:lnTo>
                    <a:lnTo>
                      <a:pt x="9649" y="7326"/>
                    </a:lnTo>
                    <a:lnTo>
                      <a:pt x="9544" y="7432"/>
                    </a:lnTo>
                    <a:lnTo>
                      <a:pt x="9544" y="7641"/>
                    </a:lnTo>
                    <a:lnTo>
                      <a:pt x="9544" y="7746"/>
                    </a:lnTo>
                    <a:lnTo>
                      <a:pt x="8809" y="7852"/>
                    </a:lnTo>
                    <a:lnTo>
                      <a:pt x="8076" y="8061"/>
                    </a:lnTo>
                    <a:lnTo>
                      <a:pt x="7551" y="8061"/>
                    </a:lnTo>
                    <a:lnTo>
                      <a:pt x="7237" y="8061"/>
                    </a:lnTo>
                    <a:lnTo>
                      <a:pt x="7131" y="8061"/>
                    </a:lnTo>
                    <a:lnTo>
                      <a:pt x="7026" y="8061"/>
                    </a:lnTo>
                    <a:lnTo>
                      <a:pt x="6922" y="7956"/>
                    </a:lnTo>
                    <a:lnTo>
                      <a:pt x="6817" y="7852"/>
                    </a:lnTo>
                    <a:lnTo>
                      <a:pt x="6712" y="7746"/>
                    </a:lnTo>
                    <a:lnTo>
                      <a:pt x="6607" y="7641"/>
                    </a:lnTo>
                    <a:lnTo>
                      <a:pt x="6397" y="7641"/>
                    </a:lnTo>
                    <a:lnTo>
                      <a:pt x="6293" y="7537"/>
                    </a:lnTo>
                    <a:lnTo>
                      <a:pt x="6083" y="7537"/>
                    </a:lnTo>
                    <a:lnTo>
                      <a:pt x="5978" y="7432"/>
                    </a:lnTo>
                    <a:lnTo>
                      <a:pt x="5663" y="7432"/>
                    </a:lnTo>
                    <a:lnTo>
                      <a:pt x="5558" y="7432"/>
                    </a:lnTo>
                    <a:lnTo>
                      <a:pt x="5454" y="7537"/>
                    </a:lnTo>
                    <a:lnTo>
                      <a:pt x="5349" y="7537"/>
                    </a:lnTo>
                    <a:lnTo>
                      <a:pt x="5139" y="7432"/>
                    </a:lnTo>
                    <a:lnTo>
                      <a:pt x="5034" y="7432"/>
                    </a:lnTo>
                    <a:lnTo>
                      <a:pt x="4405" y="6802"/>
                    </a:lnTo>
                    <a:lnTo>
                      <a:pt x="4195" y="6593"/>
                    </a:lnTo>
                    <a:lnTo>
                      <a:pt x="3986" y="6382"/>
                    </a:lnTo>
                    <a:lnTo>
                      <a:pt x="3880" y="6173"/>
                    </a:lnTo>
                    <a:lnTo>
                      <a:pt x="3775" y="6068"/>
                    </a:lnTo>
                    <a:lnTo>
                      <a:pt x="3671" y="5962"/>
                    </a:lnTo>
                    <a:lnTo>
                      <a:pt x="3566" y="5858"/>
                    </a:lnTo>
                    <a:lnTo>
                      <a:pt x="3461" y="5753"/>
                    </a:lnTo>
                    <a:lnTo>
                      <a:pt x="3356" y="5648"/>
                    </a:lnTo>
                    <a:lnTo>
                      <a:pt x="3146" y="5333"/>
                    </a:lnTo>
                    <a:lnTo>
                      <a:pt x="3042" y="5124"/>
                    </a:lnTo>
                    <a:lnTo>
                      <a:pt x="2936" y="5018"/>
                    </a:lnTo>
                    <a:lnTo>
                      <a:pt x="2727" y="4809"/>
                    </a:lnTo>
                    <a:lnTo>
                      <a:pt x="2622" y="4704"/>
                    </a:lnTo>
                    <a:lnTo>
                      <a:pt x="2412" y="4600"/>
                    </a:lnTo>
                    <a:lnTo>
                      <a:pt x="2098" y="4494"/>
                    </a:lnTo>
                    <a:lnTo>
                      <a:pt x="1992" y="4389"/>
                    </a:lnTo>
                    <a:lnTo>
                      <a:pt x="1888" y="4285"/>
                    </a:lnTo>
                    <a:lnTo>
                      <a:pt x="1678" y="4180"/>
                    </a:lnTo>
                    <a:lnTo>
                      <a:pt x="1363" y="3970"/>
                    </a:lnTo>
                    <a:lnTo>
                      <a:pt x="1259" y="3865"/>
                    </a:lnTo>
                    <a:lnTo>
                      <a:pt x="1153" y="3760"/>
                    </a:lnTo>
                    <a:lnTo>
                      <a:pt x="1153" y="3656"/>
                    </a:lnTo>
                    <a:lnTo>
                      <a:pt x="1048" y="3656"/>
                    </a:lnTo>
                    <a:lnTo>
                      <a:pt x="1048" y="3550"/>
                    </a:lnTo>
                    <a:lnTo>
                      <a:pt x="1153" y="3445"/>
                    </a:lnTo>
                    <a:lnTo>
                      <a:pt x="1259" y="3130"/>
                    </a:lnTo>
                    <a:lnTo>
                      <a:pt x="1363" y="3130"/>
                    </a:lnTo>
                    <a:lnTo>
                      <a:pt x="1363" y="3025"/>
                    </a:lnTo>
                    <a:lnTo>
                      <a:pt x="1363" y="2921"/>
                    </a:lnTo>
                    <a:lnTo>
                      <a:pt x="1259" y="2816"/>
                    </a:lnTo>
                    <a:lnTo>
                      <a:pt x="1048" y="2606"/>
                    </a:lnTo>
                    <a:lnTo>
                      <a:pt x="735" y="2396"/>
                    </a:lnTo>
                    <a:lnTo>
                      <a:pt x="420" y="2081"/>
                    </a:lnTo>
                    <a:lnTo>
                      <a:pt x="524" y="2081"/>
                    </a:lnTo>
                    <a:lnTo>
                      <a:pt x="524" y="1977"/>
                    </a:lnTo>
                    <a:lnTo>
                      <a:pt x="524" y="1872"/>
                    </a:lnTo>
                    <a:lnTo>
                      <a:pt x="524" y="1766"/>
                    </a:lnTo>
                    <a:lnTo>
                      <a:pt x="420" y="1662"/>
                    </a:lnTo>
                    <a:lnTo>
                      <a:pt x="315" y="1452"/>
                    </a:lnTo>
                    <a:lnTo>
                      <a:pt x="209" y="1137"/>
                    </a:lnTo>
                    <a:lnTo>
                      <a:pt x="105" y="1033"/>
                    </a:lnTo>
                    <a:lnTo>
                      <a:pt x="105" y="822"/>
                    </a:lnTo>
                    <a:lnTo>
                      <a:pt x="0" y="613"/>
                    </a:lnTo>
                    <a:lnTo>
                      <a:pt x="0" y="294"/>
                    </a:lnTo>
                    <a:lnTo>
                      <a:pt x="30" y="284"/>
                    </a:lnTo>
                    <a:lnTo>
                      <a:pt x="64" y="272"/>
                    </a:lnTo>
                    <a:lnTo>
                      <a:pt x="99" y="259"/>
                    </a:lnTo>
                    <a:lnTo>
                      <a:pt x="137" y="246"/>
                    </a:lnTo>
                    <a:lnTo>
                      <a:pt x="202" y="222"/>
                    </a:lnTo>
                    <a:lnTo>
                      <a:pt x="274" y="192"/>
                    </a:lnTo>
                    <a:lnTo>
                      <a:pt x="355" y="160"/>
                    </a:lnTo>
                    <a:lnTo>
                      <a:pt x="439" y="125"/>
                    </a:lnTo>
                    <a:lnTo>
                      <a:pt x="482" y="108"/>
                    </a:lnTo>
                    <a:lnTo>
                      <a:pt x="526" y="92"/>
                    </a:lnTo>
                    <a:lnTo>
                      <a:pt x="571" y="76"/>
                    </a:lnTo>
                    <a:lnTo>
                      <a:pt x="616" y="61"/>
                    </a:lnTo>
                    <a:lnTo>
                      <a:pt x="660" y="47"/>
                    </a:lnTo>
                    <a:lnTo>
                      <a:pt x="705" y="35"/>
                    </a:lnTo>
                    <a:lnTo>
                      <a:pt x="749" y="23"/>
                    </a:lnTo>
                    <a:lnTo>
                      <a:pt x="792" y="14"/>
                    </a:lnTo>
                    <a:lnTo>
                      <a:pt x="836" y="7"/>
                    </a:lnTo>
                    <a:lnTo>
                      <a:pt x="878" y="3"/>
                    </a:lnTo>
                    <a:lnTo>
                      <a:pt x="918" y="0"/>
                    </a:lnTo>
                    <a:lnTo>
                      <a:pt x="957" y="1"/>
                    </a:lnTo>
                    <a:lnTo>
                      <a:pt x="995" y="4"/>
                    </a:lnTo>
                    <a:lnTo>
                      <a:pt x="1031" y="11"/>
                    </a:lnTo>
                    <a:lnTo>
                      <a:pt x="1065" y="21"/>
                    </a:lnTo>
                    <a:lnTo>
                      <a:pt x="1096" y="36"/>
                    </a:lnTo>
                    <a:lnTo>
                      <a:pt x="1126" y="54"/>
                    </a:lnTo>
                    <a:lnTo>
                      <a:pt x="1152" y="76"/>
                    </a:lnTo>
                    <a:lnTo>
                      <a:pt x="1175" y="103"/>
                    </a:lnTo>
                    <a:lnTo>
                      <a:pt x="1197" y="134"/>
                    </a:lnTo>
                    <a:lnTo>
                      <a:pt x="1214" y="171"/>
                    </a:lnTo>
                    <a:lnTo>
                      <a:pt x="1228" y="211"/>
                    </a:lnTo>
                    <a:lnTo>
                      <a:pt x="1238" y="258"/>
                    </a:lnTo>
                    <a:lnTo>
                      <a:pt x="1245" y="311"/>
                    </a:lnTo>
                    <a:lnTo>
                      <a:pt x="1247" y="316"/>
                    </a:lnTo>
                    <a:lnTo>
                      <a:pt x="1250" y="320"/>
                    </a:lnTo>
                    <a:lnTo>
                      <a:pt x="1255" y="325"/>
                    </a:lnTo>
                    <a:lnTo>
                      <a:pt x="1261" y="331"/>
                    </a:lnTo>
                    <a:lnTo>
                      <a:pt x="1278" y="343"/>
                    </a:lnTo>
                    <a:lnTo>
                      <a:pt x="1300" y="355"/>
                    </a:lnTo>
                    <a:lnTo>
                      <a:pt x="1328" y="369"/>
                    </a:lnTo>
                    <a:lnTo>
                      <a:pt x="1358" y="385"/>
                    </a:lnTo>
                    <a:lnTo>
                      <a:pt x="1392" y="404"/>
                    </a:lnTo>
                    <a:lnTo>
                      <a:pt x="1426" y="426"/>
                    </a:lnTo>
                    <a:lnTo>
                      <a:pt x="1445" y="438"/>
                    </a:lnTo>
                    <a:lnTo>
                      <a:pt x="1463" y="450"/>
                    </a:lnTo>
                    <a:lnTo>
                      <a:pt x="1481" y="465"/>
                    </a:lnTo>
                    <a:lnTo>
                      <a:pt x="1500" y="479"/>
                    </a:lnTo>
                    <a:lnTo>
                      <a:pt x="1518" y="495"/>
                    </a:lnTo>
                    <a:lnTo>
                      <a:pt x="1536" y="511"/>
                    </a:lnTo>
                    <a:lnTo>
                      <a:pt x="1554" y="530"/>
                    </a:lnTo>
                    <a:lnTo>
                      <a:pt x="1572" y="549"/>
                    </a:lnTo>
                    <a:lnTo>
                      <a:pt x="1588" y="569"/>
                    </a:lnTo>
                    <a:lnTo>
                      <a:pt x="1604" y="591"/>
                    </a:lnTo>
                    <a:lnTo>
                      <a:pt x="1619" y="614"/>
                    </a:lnTo>
                    <a:lnTo>
                      <a:pt x="1635" y="637"/>
                    </a:lnTo>
                    <a:lnTo>
                      <a:pt x="1648" y="664"/>
                    </a:lnTo>
                    <a:lnTo>
                      <a:pt x="1661" y="690"/>
                    </a:lnTo>
                    <a:lnTo>
                      <a:pt x="1672" y="719"/>
                    </a:lnTo>
                    <a:lnTo>
                      <a:pt x="1682" y="749"/>
                    </a:lnTo>
                    <a:lnTo>
                      <a:pt x="1694" y="765"/>
                    </a:lnTo>
                    <a:lnTo>
                      <a:pt x="1703" y="783"/>
                    </a:lnTo>
                    <a:lnTo>
                      <a:pt x="1712" y="800"/>
                    </a:lnTo>
                    <a:lnTo>
                      <a:pt x="1720" y="817"/>
                    </a:lnTo>
                    <a:lnTo>
                      <a:pt x="1735" y="854"/>
                    </a:lnTo>
                    <a:lnTo>
                      <a:pt x="1750" y="890"/>
                    </a:lnTo>
                    <a:lnTo>
                      <a:pt x="1766" y="926"/>
                    </a:lnTo>
                    <a:lnTo>
                      <a:pt x="1783" y="961"/>
                    </a:lnTo>
                    <a:lnTo>
                      <a:pt x="1793" y="978"/>
                    </a:lnTo>
                    <a:lnTo>
                      <a:pt x="1803" y="995"/>
                    </a:lnTo>
                    <a:lnTo>
                      <a:pt x="1814" y="1010"/>
                    </a:lnTo>
                    <a:lnTo>
                      <a:pt x="1827" y="1026"/>
                    </a:lnTo>
                    <a:lnTo>
                      <a:pt x="1841" y="1040"/>
                    </a:lnTo>
                    <a:lnTo>
                      <a:pt x="1855" y="1053"/>
                    </a:lnTo>
                    <a:lnTo>
                      <a:pt x="1872" y="1065"/>
                    </a:lnTo>
                    <a:lnTo>
                      <a:pt x="1891" y="1076"/>
                    </a:lnTo>
                    <a:lnTo>
                      <a:pt x="1910" y="1086"/>
                    </a:lnTo>
                    <a:lnTo>
                      <a:pt x="1932" y="1095"/>
                    </a:lnTo>
                    <a:lnTo>
                      <a:pt x="1956" y="1103"/>
                    </a:lnTo>
                    <a:lnTo>
                      <a:pt x="1982" y="1109"/>
                    </a:lnTo>
                    <a:lnTo>
                      <a:pt x="2011" y="1113"/>
                    </a:lnTo>
                    <a:lnTo>
                      <a:pt x="2042" y="1116"/>
                    </a:lnTo>
                    <a:lnTo>
                      <a:pt x="2076" y="1117"/>
                    </a:lnTo>
                    <a:lnTo>
                      <a:pt x="2112" y="1116"/>
                    </a:lnTo>
                    <a:lnTo>
                      <a:pt x="2152" y="1113"/>
                    </a:lnTo>
                    <a:lnTo>
                      <a:pt x="2193" y="1109"/>
                    </a:lnTo>
                    <a:lnTo>
                      <a:pt x="2239" y="1102"/>
                    </a:lnTo>
                    <a:lnTo>
                      <a:pt x="2288" y="1093"/>
                    </a:lnTo>
                    <a:lnTo>
                      <a:pt x="2313" y="1086"/>
                    </a:lnTo>
                    <a:lnTo>
                      <a:pt x="2343" y="1078"/>
                    </a:lnTo>
                    <a:lnTo>
                      <a:pt x="2377" y="1068"/>
                    </a:lnTo>
                    <a:lnTo>
                      <a:pt x="2415" y="1056"/>
                    </a:lnTo>
                    <a:lnTo>
                      <a:pt x="2500" y="1028"/>
                    </a:lnTo>
                    <a:lnTo>
                      <a:pt x="2598" y="994"/>
                    </a:lnTo>
                    <a:lnTo>
                      <a:pt x="2702" y="959"/>
                    </a:lnTo>
                    <a:lnTo>
                      <a:pt x="2814" y="924"/>
                    </a:lnTo>
                    <a:lnTo>
                      <a:pt x="2871" y="908"/>
                    </a:lnTo>
                    <a:lnTo>
                      <a:pt x="2928" y="891"/>
                    </a:lnTo>
                    <a:lnTo>
                      <a:pt x="2986" y="876"/>
                    </a:lnTo>
                    <a:lnTo>
                      <a:pt x="3043" y="863"/>
                    </a:lnTo>
                    <a:lnTo>
                      <a:pt x="3099" y="851"/>
                    </a:lnTo>
                    <a:lnTo>
                      <a:pt x="3155" y="841"/>
                    </a:lnTo>
                    <a:lnTo>
                      <a:pt x="3208" y="832"/>
                    </a:lnTo>
                    <a:lnTo>
                      <a:pt x="3260" y="827"/>
                    </a:lnTo>
                    <a:lnTo>
                      <a:pt x="3311" y="824"/>
                    </a:lnTo>
                    <a:lnTo>
                      <a:pt x="3359" y="824"/>
                    </a:lnTo>
                    <a:lnTo>
                      <a:pt x="3403" y="827"/>
                    </a:lnTo>
                    <a:lnTo>
                      <a:pt x="3446" y="834"/>
                    </a:lnTo>
                    <a:lnTo>
                      <a:pt x="3485" y="845"/>
                    </a:lnTo>
                    <a:lnTo>
                      <a:pt x="3519" y="859"/>
                    </a:lnTo>
                    <a:lnTo>
                      <a:pt x="3551" y="877"/>
                    </a:lnTo>
                    <a:lnTo>
                      <a:pt x="3576" y="901"/>
                    </a:lnTo>
                    <a:lnTo>
                      <a:pt x="3599" y="928"/>
                    </a:lnTo>
                    <a:lnTo>
                      <a:pt x="3615" y="961"/>
                    </a:lnTo>
                    <a:lnTo>
                      <a:pt x="3625" y="999"/>
                    </a:lnTo>
                    <a:lnTo>
                      <a:pt x="3630" y="1043"/>
                    </a:lnTo>
                    <a:lnTo>
                      <a:pt x="3633" y="1057"/>
                    </a:lnTo>
                    <a:lnTo>
                      <a:pt x="3640" y="1071"/>
                    </a:lnTo>
                    <a:lnTo>
                      <a:pt x="3651" y="1085"/>
                    </a:lnTo>
                    <a:lnTo>
                      <a:pt x="3667" y="1101"/>
                    </a:lnTo>
                    <a:lnTo>
                      <a:pt x="3685" y="1115"/>
                    </a:lnTo>
                    <a:lnTo>
                      <a:pt x="3707" y="1129"/>
                    </a:lnTo>
                    <a:lnTo>
                      <a:pt x="3732" y="1143"/>
                    </a:lnTo>
                    <a:lnTo>
                      <a:pt x="3760" y="1158"/>
                    </a:lnTo>
                    <a:lnTo>
                      <a:pt x="3791" y="1172"/>
                    </a:lnTo>
                    <a:lnTo>
                      <a:pt x="3824" y="1184"/>
                    </a:lnTo>
                    <a:lnTo>
                      <a:pt x="3860" y="1197"/>
                    </a:lnTo>
                    <a:lnTo>
                      <a:pt x="3896" y="1208"/>
                    </a:lnTo>
                    <a:lnTo>
                      <a:pt x="3936" y="1219"/>
                    </a:lnTo>
                    <a:lnTo>
                      <a:pt x="3976" y="1229"/>
                    </a:lnTo>
                    <a:lnTo>
                      <a:pt x="4018" y="1237"/>
                    </a:lnTo>
                    <a:lnTo>
                      <a:pt x="4061" y="1244"/>
                    </a:lnTo>
                    <a:lnTo>
                      <a:pt x="4104" y="1249"/>
                    </a:lnTo>
                    <a:lnTo>
                      <a:pt x="4149" y="1253"/>
                    </a:lnTo>
                    <a:lnTo>
                      <a:pt x="4194" y="1256"/>
                    </a:lnTo>
                    <a:lnTo>
                      <a:pt x="4239" y="1256"/>
                    </a:lnTo>
                    <a:lnTo>
                      <a:pt x="4282" y="1255"/>
                    </a:lnTo>
                    <a:lnTo>
                      <a:pt x="4327" y="1251"/>
                    </a:lnTo>
                    <a:lnTo>
                      <a:pt x="4371" y="1246"/>
                    </a:lnTo>
                    <a:lnTo>
                      <a:pt x="4413" y="1238"/>
                    </a:lnTo>
                    <a:lnTo>
                      <a:pt x="4455" y="1228"/>
                    </a:lnTo>
                    <a:lnTo>
                      <a:pt x="4496" y="1216"/>
                    </a:lnTo>
                    <a:lnTo>
                      <a:pt x="4534" y="1200"/>
                    </a:lnTo>
                    <a:lnTo>
                      <a:pt x="4571" y="1182"/>
                    </a:lnTo>
                    <a:lnTo>
                      <a:pt x="4606" y="1161"/>
                    </a:lnTo>
                    <a:lnTo>
                      <a:pt x="4639" y="1136"/>
                    </a:lnTo>
                    <a:lnTo>
                      <a:pt x="4669" y="1110"/>
                    </a:lnTo>
                    <a:lnTo>
                      <a:pt x="4697" y="1079"/>
                    </a:lnTo>
                    <a:lnTo>
                      <a:pt x="4711" y="1064"/>
                    </a:lnTo>
                    <a:lnTo>
                      <a:pt x="4727" y="1048"/>
                    </a:lnTo>
                    <a:lnTo>
                      <a:pt x="4747" y="1032"/>
                    </a:lnTo>
                    <a:lnTo>
                      <a:pt x="4767" y="1015"/>
                    </a:lnTo>
                    <a:lnTo>
                      <a:pt x="4812" y="981"/>
                    </a:lnTo>
                    <a:lnTo>
                      <a:pt x="4858" y="946"/>
                    </a:lnTo>
                    <a:lnTo>
                      <a:pt x="4882" y="929"/>
                    </a:lnTo>
                    <a:lnTo>
                      <a:pt x="4904" y="912"/>
                    </a:lnTo>
                    <a:lnTo>
                      <a:pt x="4924" y="893"/>
                    </a:lnTo>
                    <a:lnTo>
                      <a:pt x="4944" y="876"/>
                    </a:lnTo>
                    <a:lnTo>
                      <a:pt x="4960" y="859"/>
                    </a:lnTo>
                    <a:lnTo>
                      <a:pt x="4973" y="842"/>
                    </a:lnTo>
                    <a:lnTo>
                      <a:pt x="4979" y="833"/>
                    </a:lnTo>
                    <a:lnTo>
                      <a:pt x="4984" y="824"/>
                    </a:lnTo>
                    <a:lnTo>
                      <a:pt x="4988" y="816"/>
                    </a:lnTo>
                    <a:lnTo>
                      <a:pt x="4991" y="808"/>
                    </a:lnTo>
                    <a:lnTo>
                      <a:pt x="5116" y="793"/>
                    </a:lnTo>
                    <a:lnTo>
                      <a:pt x="5215" y="782"/>
                    </a:lnTo>
                    <a:lnTo>
                      <a:pt x="5289" y="776"/>
                    </a:lnTo>
                    <a:lnTo>
                      <a:pt x="5343" y="770"/>
                    </a:lnTo>
                    <a:lnTo>
                      <a:pt x="5379" y="767"/>
                    </a:lnTo>
                    <a:lnTo>
                      <a:pt x="5400" y="764"/>
                    </a:lnTo>
                    <a:lnTo>
                      <a:pt x="5406" y="762"/>
                    </a:lnTo>
                    <a:lnTo>
                      <a:pt x="5410" y="760"/>
                    </a:lnTo>
                    <a:lnTo>
                      <a:pt x="5411" y="757"/>
                    </a:lnTo>
                    <a:lnTo>
                      <a:pt x="5410" y="754"/>
                    </a:lnTo>
                    <a:lnTo>
                      <a:pt x="5405" y="744"/>
                    </a:lnTo>
                    <a:lnTo>
                      <a:pt x="5397" y="730"/>
                    </a:lnTo>
                    <a:lnTo>
                      <a:pt x="5393" y="721"/>
                    </a:lnTo>
                    <a:lnTo>
                      <a:pt x="5389" y="709"/>
                    </a:lnTo>
                    <a:lnTo>
                      <a:pt x="5386" y="697"/>
                    </a:lnTo>
                    <a:lnTo>
                      <a:pt x="5384" y="683"/>
                    </a:lnTo>
                    <a:lnTo>
                      <a:pt x="5384" y="667"/>
                    </a:lnTo>
                    <a:lnTo>
                      <a:pt x="5386" y="647"/>
                    </a:lnTo>
                    <a:lnTo>
                      <a:pt x="5390" y="627"/>
                    </a:lnTo>
                    <a:lnTo>
                      <a:pt x="5396" y="604"/>
                    </a:lnTo>
                    <a:lnTo>
                      <a:pt x="5406" y="577"/>
                    </a:lnTo>
                    <a:lnTo>
                      <a:pt x="5419" y="549"/>
                    </a:lnTo>
                    <a:lnTo>
                      <a:pt x="5435" y="517"/>
                    </a:lnTo>
                    <a:lnTo>
                      <a:pt x="5457" y="483"/>
                    </a:lnTo>
                    <a:lnTo>
                      <a:pt x="5484" y="444"/>
                    </a:lnTo>
                    <a:lnTo>
                      <a:pt x="5517" y="411"/>
                    </a:lnTo>
                    <a:lnTo>
                      <a:pt x="5554" y="379"/>
                    </a:lnTo>
                    <a:lnTo>
                      <a:pt x="5595" y="352"/>
                    </a:lnTo>
                    <a:lnTo>
                      <a:pt x="5639" y="327"/>
                    </a:lnTo>
                    <a:lnTo>
                      <a:pt x="5686" y="307"/>
                    </a:lnTo>
                    <a:lnTo>
                      <a:pt x="5737" y="289"/>
                    </a:lnTo>
                    <a:lnTo>
                      <a:pt x="5790" y="274"/>
                    </a:lnTo>
                    <a:lnTo>
                      <a:pt x="5845" y="262"/>
                    </a:lnTo>
                    <a:lnTo>
                      <a:pt x="5902" y="253"/>
                    </a:lnTo>
                    <a:lnTo>
                      <a:pt x="5961" y="247"/>
                    </a:lnTo>
                    <a:lnTo>
                      <a:pt x="6021" y="244"/>
                    </a:lnTo>
                    <a:lnTo>
                      <a:pt x="6080" y="244"/>
                    </a:lnTo>
                    <a:lnTo>
                      <a:pt x="6141" y="246"/>
                    </a:lnTo>
                    <a:lnTo>
                      <a:pt x="6201" y="251"/>
                    </a:lnTo>
                    <a:lnTo>
                      <a:pt x="6262" y="258"/>
                    </a:lnTo>
                    <a:lnTo>
                      <a:pt x="6321" y="268"/>
                    </a:lnTo>
                    <a:lnTo>
                      <a:pt x="6380" y="281"/>
                    </a:lnTo>
                    <a:lnTo>
                      <a:pt x="6437" y="295"/>
                    </a:lnTo>
                    <a:lnTo>
                      <a:pt x="6493" y="312"/>
                    </a:lnTo>
                    <a:lnTo>
                      <a:pt x="6546" y="330"/>
                    </a:lnTo>
                    <a:lnTo>
                      <a:pt x="6597" y="352"/>
                    </a:lnTo>
                    <a:lnTo>
                      <a:pt x="6644" y="375"/>
                    </a:lnTo>
                    <a:lnTo>
                      <a:pt x="6689" y="401"/>
                    </a:lnTo>
                    <a:lnTo>
                      <a:pt x="6731" y="427"/>
                    </a:lnTo>
                    <a:lnTo>
                      <a:pt x="6768" y="456"/>
                    </a:lnTo>
                    <a:lnTo>
                      <a:pt x="6801" y="487"/>
                    </a:lnTo>
                    <a:lnTo>
                      <a:pt x="6829" y="519"/>
                    </a:lnTo>
                    <a:lnTo>
                      <a:pt x="6853" y="554"/>
                    </a:lnTo>
                    <a:lnTo>
                      <a:pt x="6871" y="590"/>
                    </a:lnTo>
                    <a:lnTo>
                      <a:pt x="6883" y="626"/>
                    </a:lnTo>
                    <a:lnTo>
                      <a:pt x="6889" y="666"/>
                    </a:lnTo>
                    <a:lnTo>
                      <a:pt x="6893" y="695"/>
                    </a:lnTo>
                    <a:lnTo>
                      <a:pt x="6898" y="721"/>
                    </a:lnTo>
                    <a:lnTo>
                      <a:pt x="6905" y="742"/>
                    </a:lnTo>
                    <a:lnTo>
                      <a:pt x="6916" y="758"/>
                    </a:lnTo>
                    <a:lnTo>
                      <a:pt x="6926" y="772"/>
                    </a:lnTo>
                    <a:lnTo>
                      <a:pt x="6938" y="782"/>
                    </a:lnTo>
                    <a:lnTo>
                      <a:pt x="6951" y="789"/>
                    </a:lnTo>
                    <a:lnTo>
                      <a:pt x="6966" y="793"/>
                    </a:lnTo>
                    <a:lnTo>
                      <a:pt x="6982" y="794"/>
                    </a:lnTo>
                    <a:lnTo>
                      <a:pt x="6999" y="794"/>
                    </a:lnTo>
                    <a:lnTo>
                      <a:pt x="7016" y="791"/>
                    </a:lnTo>
                    <a:lnTo>
                      <a:pt x="7033" y="788"/>
                    </a:lnTo>
                    <a:lnTo>
                      <a:pt x="7071" y="777"/>
                    </a:lnTo>
                    <a:lnTo>
                      <a:pt x="7109" y="763"/>
                    </a:lnTo>
                    <a:lnTo>
                      <a:pt x="7127" y="757"/>
                    </a:lnTo>
                    <a:lnTo>
                      <a:pt x="7146" y="752"/>
                    </a:lnTo>
                    <a:lnTo>
                      <a:pt x="7165" y="747"/>
                    </a:lnTo>
                    <a:lnTo>
                      <a:pt x="7182" y="743"/>
                    </a:lnTo>
                    <a:lnTo>
                      <a:pt x="7199" y="740"/>
                    </a:lnTo>
                    <a:lnTo>
                      <a:pt x="7215" y="740"/>
                    </a:lnTo>
                    <a:lnTo>
                      <a:pt x="7231" y="741"/>
                    </a:lnTo>
                    <a:lnTo>
                      <a:pt x="7246" y="745"/>
                    </a:lnTo>
                    <a:lnTo>
                      <a:pt x="7259" y="751"/>
                    </a:lnTo>
                    <a:lnTo>
                      <a:pt x="7270" y="760"/>
                    </a:lnTo>
                    <a:lnTo>
                      <a:pt x="7280" y="773"/>
                    </a:lnTo>
                    <a:lnTo>
                      <a:pt x="7289" y="791"/>
                    </a:lnTo>
                    <a:lnTo>
                      <a:pt x="7297" y="811"/>
                    </a:lnTo>
                    <a:lnTo>
                      <a:pt x="7302" y="836"/>
                    </a:lnTo>
                    <a:lnTo>
                      <a:pt x="7305" y="866"/>
                    </a:lnTo>
                    <a:lnTo>
                      <a:pt x="7306" y="901"/>
                    </a:lnTo>
                    <a:lnTo>
                      <a:pt x="7336" y="907"/>
                    </a:lnTo>
                    <a:lnTo>
                      <a:pt x="7366" y="917"/>
                    </a:lnTo>
                    <a:lnTo>
                      <a:pt x="7394" y="930"/>
                    </a:lnTo>
                    <a:lnTo>
                      <a:pt x="7421" y="946"/>
                    </a:lnTo>
                    <a:lnTo>
                      <a:pt x="7446" y="967"/>
                    </a:lnTo>
                    <a:lnTo>
                      <a:pt x="7470" y="989"/>
                    </a:lnTo>
                    <a:lnTo>
                      <a:pt x="7494" y="1014"/>
                    </a:lnTo>
                    <a:lnTo>
                      <a:pt x="7515" y="1043"/>
                    </a:lnTo>
                    <a:lnTo>
                      <a:pt x="7536" y="1073"/>
                    </a:lnTo>
                    <a:lnTo>
                      <a:pt x="7556" y="1106"/>
                    </a:lnTo>
                    <a:lnTo>
                      <a:pt x="7575" y="1140"/>
                    </a:lnTo>
                    <a:lnTo>
                      <a:pt x="7592" y="1177"/>
                    </a:lnTo>
                    <a:lnTo>
                      <a:pt x="7610" y="1215"/>
                    </a:lnTo>
                    <a:lnTo>
                      <a:pt x="7626" y="1253"/>
                    </a:lnTo>
                    <a:lnTo>
                      <a:pt x="7641" y="1294"/>
                    </a:lnTo>
                    <a:lnTo>
                      <a:pt x="7655" y="1334"/>
                    </a:lnTo>
                    <a:lnTo>
                      <a:pt x="7669" y="1377"/>
                    </a:lnTo>
                    <a:lnTo>
                      <a:pt x="7683" y="1419"/>
                    </a:lnTo>
                    <a:lnTo>
                      <a:pt x="7695" y="1461"/>
                    </a:lnTo>
                    <a:lnTo>
                      <a:pt x="7706" y="1505"/>
                    </a:lnTo>
                    <a:lnTo>
                      <a:pt x="7728" y="1591"/>
                    </a:lnTo>
                    <a:lnTo>
                      <a:pt x="7748" y="1673"/>
                    </a:lnTo>
                    <a:lnTo>
                      <a:pt x="7766" y="1753"/>
                    </a:lnTo>
                    <a:lnTo>
                      <a:pt x="7783" y="1827"/>
                    </a:lnTo>
                    <a:lnTo>
                      <a:pt x="7798" y="1895"/>
                    </a:lnTo>
                    <a:lnTo>
                      <a:pt x="7815" y="1954"/>
                    </a:lnTo>
                    <a:lnTo>
                      <a:pt x="7846" y="1967"/>
                    </a:lnTo>
                    <a:lnTo>
                      <a:pt x="7882" y="1976"/>
                    </a:lnTo>
                    <a:lnTo>
                      <a:pt x="7920" y="1983"/>
                    </a:lnTo>
                    <a:lnTo>
                      <a:pt x="7963" y="1987"/>
                    </a:lnTo>
                    <a:lnTo>
                      <a:pt x="8009" y="1990"/>
                    </a:lnTo>
                    <a:lnTo>
                      <a:pt x="8058" y="1991"/>
                    </a:lnTo>
                    <a:lnTo>
                      <a:pt x="8109" y="1990"/>
                    </a:lnTo>
                    <a:lnTo>
                      <a:pt x="8163" y="1988"/>
                    </a:lnTo>
                    <a:lnTo>
                      <a:pt x="8219" y="1984"/>
                    </a:lnTo>
                    <a:lnTo>
                      <a:pt x="8276" y="1979"/>
                    </a:lnTo>
                    <a:lnTo>
                      <a:pt x="8336" y="1973"/>
                    </a:lnTo>
                    <a:lnTo>
                      <a:pt x="8396" y="1966"/>
                    </a:lnTo>
                    <a:lnTo>
                      <a:pt x="8519" y="1950"/>
                    </a:lnTo>
                    <a:lnTo>
                      <a:pt x="8644" y="1932"/>
                    </a:lnTo>
                    <a:lnTo>
                      <a:pt x="8768" y="1914"/>
                    </a:lnTo>
                    <a:lnTo>
                      <a:pt x="8889" y="1897"/>
                    </a:lnTo>
                    <a:lnTo>
                      <a:pt x="8948" y="1889"/>
                    </a:lnTo>
                    <a:lnTo>
                      <a:pt x="9004" y="1882"/>
                    </a:lnTo>
                    <a:lnTo>
                      <a:pt x="9060" y="1876"/>
                    </a:lnTo>
                    <a:lnTo>
                      <a:pt x="9113" y="1871"/>
                    </a:lnTo>
                    <a:lnTo>
                      <a:pt x="9164" y="1867"/>
                    </a:lnTo>
                    <a:lnTo>
                      <a:pt x="9212" y="1864"/>
                    </a:lnTo>
                    <a:lnTo>
                      <a:pt x="9257" y="1863"/>
                    </a:lnTo>
                    <a:lnTo>
                      <a:pt x="9299" y="1863"/>
                    </a:lnTo>
                    <a:lnTo>
                      <a:pt x="9338" y="1866"/>
                    </a:lnTo>
                    <a:lnTo>
                      <a:pt x="9372" y="1870"/>
                    </a:lnTo>
                    <a:lnTo>
                      <a:pt x="9403" y="1877"/>
                    </a:lnTo>
                    <a:lnTo>
                      <a:pt x="9428" y="1885"/>
                    </a:lnTo>
                    <a:lnTo>
                      <a:pt x="9429" y="1888"/>
                    </a:lnTo>
                    <a:lnTo>
                      <a:pt x="9432" y="1891"/>
                    </a:lnTo>
                    <a:lnTo>
                      <a:pt x="9435" y="1895"/>
                    </a:lnTo>
                    <a:lnTo>
                      <a:pt x="9439" y="1899"/>
                    </a:lnTo>
                    <a:lnTo>
                      <a:pt x="9451" y="1910"/>
                    </a:lnTo>
                    <a:lnTo>
                      <a:pt x="9468" y="1922"/>
                    </a:lnTo>
                    <a:lnTo>
                      <a:pt x="9509" y="1952"/>
                    </a:lnTo>
                    <a:lnTo>
                      <a:pt x="9564" y="1988"/>
                    </a:lnTo>
                    <a:lnTo>
                      <a:pt x="9630" y="2029"/>
                    </a:lnTo>
                    <a:lnTo>
                      <a:pt x="9705" y="2073"/>
                    </a:lnTo>
                    <a:lnTo>
                      <a:pt x="9788" y="2121"/>
                    </a:lnTo>
                    <a:lnTo>
                      <a:pt x="9874" y="2170"/>
                    </a:lnTo>
                    <a:lnTo>
                      <a:pt x="9858" y="2186"/>
                    </a:lnTo>
                    <a:lnTo>
                      <a:pt x="9753" y="2186"/>
                    </a:lnTo>
                    <a:lnTo>
                      <a:pt x="9649" y="2186"/>
                    </a:lnTo>
                    <a:lnTo>
                      <a:pt x="9649" y="2292"/>
                    </a:lnTo>
                    <a:lnTo>
                      <a:pt x="9649" y="2396"/>
                    </a:lnTo>
                    <a:lnTo>
                      <a:pt x="9649" y="2711"/>
                    </a:lnTo>
                    <a:lnTo>
                      <a:pt x="9649" y="3130"/>
                    </a:lnTo>
                    <a:lnTo>
                      <a:pt x="9649" y="3550"/>
                    </a:lnTo>
                    <a:lnTo>
                      <a:pt x="9649" y="3656"/>
                    </a:lnTo>
                    <a:lnTo>
                      <a:pt x="9544" y="3760"/>
                    </a:lnTo>
                    <a:lnTo>
                      <a:pt x="9544" y="3865"/>
                    </a:lnTo>
                    <a:lnTo>
                      <a:pt x="9438" y="3970"/>
                    </a:lnTo>
                    <a:lnTo>
                      <a:pt x="9334" y="4074"/>
                    </a:lnTo>
                    <a:lnTo>
                      <a:pt x="9124" y="4180"/>
                    </a:lnTo>
                    <a:lnTo>
                      <a:pt x="8914" y="4285"/>
                    </a:lnTo>
                    <a:lnTo>
                      <a:pt x="8809" y="4285"/>
                    </a:lnTo>
                    <a:lnTo>
                      <a:pt x="8809" y="4389"/>
                    </a:lnTo>
                    <a:lnTo>
                      <a:pt x="8705" y="4389"/>
                    </a:lnTo>
                    <a:lnTo>
                      <a:pt x="8705" y="4494"/>
                    </a:lnTo>
                    <a:lnTo>
                      <a:pt x="8809" y="4600"/>
                    </a:lnTo>
                    <a:lnTo>
                      <a:pt x="8809" y="4704"/>
                    </a:lnTo>
                    <a:lnTo>
                      <a:pt x="9020" y="4809"/>
                    </a:lnTo>
                    <a:lnTo>
                      <a:pt x="9229" y="4914"/>
                    </a:lnTo>
                    <a:lnTo>
                      <a:pt x="9334" y="4914"/>
                    </a:lnTo>
                    <a:lnTo>
                      <a:pt x="9438" y="5018"/>
                    </a:lnTo>
                    <a:lnTo>
                      <a:pt x="9649" y="5229"/>
                    </a:lnTo>
                    <a:lnTo>
                      <a:pt x="9753" y="5438"/>
                    </a:lnTo>
                    <a:lnTo>
                      <a:pt x="9858" y="5648"/>
                    </a:lnTo>
                    <a:lnTo>
                      <a:pt x="10173" y="6068"/>
                    </a:lnTo>
                    <a:lnTo>
                      <a:pt x="10277" y="6173"/>
                    </a:lnTo>
                    <a:lnTo>
                      <a:pt x="10382" y="6382"/>
                    </a:lnTo>
                    <a:lnTo>
                      <a:pt x="10592" y="6488"/>
                    </a:lnTo>
                    <a:lnTo>
                      <a:pt x="10697" y="6593"/>
                    </a:lnTo>
                    <a:lnTo>
                      <a:pt x="10697" y="6697"/>
                    </a:lnTo>
                    <a:lnTo>
                      <a:pt x="10802" y="6802"/>
                    </a:lnTo>
                    <a:lnTo>
                      <a:pt x="10802" y="7012"/>
                    </a:lnTo>
                    <a:lnTo>
                      <a:pt x="10907" y="7117"/>
                    </a:lnTo>
                    <a:close/>
                  </a:path>
                </a:pathLst>
              </a:custGeom>
              <a:grpFill/>
              <a:ln w="9525">
                <a:solidFill>
                  <a:schemeClr val="bg1"/>
                </a:solidFill>
                <a:round/>
                <a:headEnd/>
                <a:tailEnd/>
              </a:ln>
            </p:spPr>
            <p:txBody>
              <a:bodyPr/>
              <a:lstStyle/>
              <a:p>
                <a:pPr>
                  <a:defRPr/>
                </a:pPr>
                <a:endParaRPr lang="en-US">
                  <a:latin typeface="Calibri" pitchFamily="34" charset="0"/>
                </a:endParaRPr>
              </a:p>
            </p:txBody>
          </p:sp>
          <p:sp>
            <p:nvSpPr>
              <p:cNvPr id="480" name="Freeform 257">
                <a:extLst>
                  <a:ext uri="{FF2B5EF4-FFF2-40B4-BE49-F238E27FC236}">
                    <a16:creationId xmlns:a16="http://schemas.microsoft.com/office/drawing/2014/main" id="{E7BE01EE-B94B-4BD3-B2EF-F84E798DC5BA}"/>
                  </a:ext>
                </a:extLst>
              </p:cNvPr>
              <p:cNvSpPr>
                <a:spLocks/>
              </p:cNvSpPr>
              <p:nvPr/>
            </p:nvSpPr>
            <p:spPr bwMode="auto">
              <a:xfrm>
                <a:off x="4861957" y="2974805"/>
                <a:ext cx="406956" cy="338191"/>
              </a:xfrm>
              <a:custGeom>
                <a:avLst/>
                <a:gdLst/>
                <a:ahLst/>
                <a:cxnLst>
                  <a:cxn ang="0">
                    <a:pos x="315" y="7343"/>
                  </a:cxn>
                  <a:cxn ang="0">
                    <a:pos x="1048" y="6504"/>
                  </a:cxn>
                  <a:cxn ang="0">
                    <a:pos x="1783" y="2517"/>
                  </a:cxn>
                  <a:cxn ang="0">
                    <a:pos x="8705" y="1153"/>
                  </a:cxn>
                  <a:cxn ang="0">
                    <a:pos x="9544" y="209"/>
                  </a:cxn>
                  <a:cxn ang="0">
                    <a:pos x="10488" y="420"/>
                  </a:cxn>
                  <a:cxn ang="0">
                    <a:pos x="11221" y="1259"/>
                  </a:cxn>
                  <a:cxn ang="0">
                    <a:pos x="11536" y="2728"/>
                  </a:cxn>
                  <a:cxn ang="0">
                    <a:pos x="11641" y="3776"/>
                  </a:cxn>
                  <a:cxn ang="0">
                    <a:pos x="12271" y="4511"/>
                  </a:cxn>
                  <a:cxn ang="0">
                    <a:pos x="11432" y="5455"/>
                  </a:cxn>
                  <a:cxn ang="0">
                    <a:pos x="11221" y="6819"/>
                  </a:cxn>
                  <a:cxn ang="0">
                    <a:pos x="11117" y="7868"/>
                  </a:cxn>
                  <a:cxn ang="0">
                    <a:pos x="10592" y="8917"/>
                  </a:cxn>
                  <a:cxn ang="0">
                    <a:pos x="10173" y="10071"/>
                  </a:cxn>
                  <a:cxn ang="0">
                    <a:pos x="9630" y="10228"/>
                  </a:cxn>
                  <a:cxn ang="0">
                    <a:pos x="9432" y="10090"/>
                  </a:cxn>
                  <a:cxn ang="0">
                    <a:pos x="9257" y="10062"/>
                  </a:cxn>
                  <a:cxn ang="0">
                    <a:pos x="8889" y="10096"/>
                  </a:cxn>
                  <a:cxn ang="0">
                    <a:pos x="8219" y="10183"/>
                  </a:cxn>
                  <a:cxn ang="0">
                    <a:pos x="7882" y="10175"/>
                  </a:cxn>
                  <a:cxn ang="0">
                    <a:pos x="7728" y="9790"/>
                  </a:cxn>
                  <a:cxn ang="0">
                    <a:pos x="7626" y="9452"/>
                  </a:cxn>
                  <a:cxn ang="0">
                    <a:pos x="7494" y="9213"/>
                  </a:cxn>
                  <a:cxn ang="0">
                    <a:pos x="7306" y="9100"/>
                  </a:cxn>
                  <a:cxn ang="0">
                    <a:pos x="7259" y="8950"/>
                  </a:cxn>
                  <a:cxn ang="0">
                    <a:pos x="7146" y="8951"/>
                  </a:cxn>
                  <a:cxn ang="0">
                    <a:pos x="6982" y="8993"/>
                  </a:cxn>
                  <a:cxn ang="0">
                    <a:pos x="6898" y="8920"/>
                  </a:cxn>
                  <a:cxn ang="0">
                    <a:pos x="6801" y="8686"/>
                  </a:cxn>
                  <a:cxn ang="0">
                    <a:pos x="6493" y="8511"/>
                  </a:cxn>
                  <a:cxn ang="0">
                    <a:pos x="6080" y="8443"/>
                  </a:cxn>
                  <a:cxn ang="0">
                    <a:pos x="5686" y="8506"/>
                  </a:cxn>
                  <a:cxn ang="0">
                    <a:pos x="5435" y="8716"/>
                  </a:cxn>
                  <a:cxn ang="0">
                    <a:pos x="5384" y="8882"/>
                  </a:cxn>
                  <a:cxn ang="0">
                    <a:pos x="5411" y="8956"/>
                  </a:cxn>
                  <a:cxn ang="0">
                    <a:pos x="5215" y="8981"/>
                  </a:cxn>
                  <a:cxn ang="0">
                    <a:pos x="4960" y="9058"/>
                  </a:cxn>
                  <a:cxn ang="0">
                    <a:pos x="4767" y="9214"/>
                  </a:cxn>
                  <a:cxn ang="0">
                    <a:pos x="4606" y="9360"/>
                  </a:cxn>
                  <a:cxn ang="0">
                    <a:pos x="4327" y="9450"/>
                  </a:cxn>
                  <a:cxn ang="0">
                    <a:pos x="4018" y="9436"/>
                  </a:cxn>
                  <a:cxn ang="0">
                    <a:pos x="3760" y="9357"/>
                  </a:cxn>
                  <a:cxn ang="0">
                    <a:pos x="3633" y="9256"/>
                  </a:cxn>
                  <a:cxn ang="0">
                    <a:pos x="3519" y="9058"/>
                  </a:cxn>
                  <a:cxn ang="0">
                    <a:pos x="3208" y="9031"/>
                  </a:cxn>
                  <a:cxn ang="0">
                    <a:pos x="2814" y="9123"/>
                  </a:cxn>
                  <a:cxn ang="0">
                    <a:pos x="2313" y="9285"/>
                  </a:cxn>
                  <a:cxn ang="0">
                    <a:pos x="2042" y="9315"/>
                  </a:cxn>
                  <a:cxn ang="0">
                    <a:pos x="1872" y="9264"/>
                  </a:cxn>
                  <a:cxn ang="0">
                    <a:pos x="1783" y="9160"/>
                  </a:cxn>
                  <a:cxn ang="0">
                    <a:pos x="1694" y="8964"/>
                  </a:cxn>
                  <a:cxn ang="0">
                    <a:pos x="1604" y="8790"/>
                  </a:cxn>
                  <a:cxn ang="0">
                    <a:pos x="1481" y="8664"/>
                  </a:cxn>
                  <a:cxn ang="0">
                    <a:pos x="1300" y="8554"/>
                  </a:cxn>
                  <a:cxn ang="0">
                    <a:pos x="1238" y="8457"/>
                  </a:cxn>
                  <a:cxn ang="0">
                    <a:pos x="1096" y="8235"/>
                  </a:cxn>
                  <a:cxn ang="0">
                    <a:pos x="836" y="8206"/>
                  </a:cxn>
                  <a:cxn ang="0">
                    <a:pos x="526" y="8291"/>
                  </a:cxn>
                  <a:cxn ang="0">
                    <a:pos x="99" y="8458"/>
                  </a:cxn>
                </a:cxnLst>
                <a:rect l="0" t="0" r="r" b="b"/>
                <a:pathLst>
                  <a:path w="12480" h="10369">
                    <a:moveTo>
                      <a:pt x="0" y="8493"/>
                    </a:moveTo>
                    <a:lnTo>
                      <a:pt x="0" y="8392"/>
                    </a:lnTo>
                    <a:lnTo>
                      <a:pt x="0" y="8183"/>
                    </a:lnTo>
                    <a:lnTo>
                      <a:pt x="0" y="7972"/>
                    </a:lnTo>
                    <a:lnTo>
                      <a:pt x="105" y="7763"/>
                    </a:lnTo>
                    <a:lnTo>
                      <a:pt x="105" y="7553"/>
                    </a:lnTo>
                    <a:lnTo>
                      <a:pt x="315" y="7343"/>
                    </a:lnTo>
                    <a:lnTo>
                      <a:pt x="420" y="7133"/>
                    </a:lnTo>
                    <a:lnTo>
                      <a:pt x="420" y="6924"/>
                    </a:lnTo>
                    <a:lnTo>
                      <a:pt x="524" y="6819"/>
                    </a:lnTo>
                    <a:lnTo>
                      <a:pt x="735" y="6713"/>
                    </a:lnTo>
                    <a:lnTo>
                      <a:pt x="944" y="6609"/>
                    </a:lnTo>
                    <a:lnTo>
                      <a:pt x="944" y="6504"/>
                    </a:lnTo>
                    <a:lnTo>
                      <a:pt x="1048" y="6504"/>
                    </a:lnTo>
                    <a:lnTo>
                      <a:pt x="1048" y="3043"/>
                    </a:lnTo>
                    <a:lnTo>
                      <a:pt x="1259" y="2937"/>
                    </a:lnTo>
                    <a:lnTo>
                      <a:pt x="1468" y="2937"/>
                    </a:lnTo>
                    <a:lnTo>
                      <a:pt x="1573" y="2937"/>
                    </a:lnTo>
                    <a:lnTo>
                      <a:pt x="1678" y="2832"/>
                    </a:lnTo>
                    <a:lnTo>
                      <a:pt x="1783" y="2728"/>
                    </a:lnTo>
                    <a:lnTo>
                      <a:pt x="1783" y="2517"/>
                    </a:lnTo>
                    <a:lnTo>
                      <a:pt x="1678" y="1049"/>
                    </a:lnTo>
                    <a:lnTo>
                      <a:pt x="8076" y="944"/>
                    </a:lnTo>
                    <a:lnTo>
                      <a:pt x="8600" y="1153"/>
                    </a:lnTo>
                    <a:lnTo>
                      <a:pt x="8600" y="1259"/>
                    </a:lnTo>
                    <a:lnTo>
                      <a:pt x="8600" y="1364"/>
                    </a:lnTo>
                    <a:lnTo>
                      <a:pt x="8600" y="1259"/>
                    </a:lnTo>
                    <a:lnTo>
                      <a:pt x="8705" y="1153"/>
                    </a:lnTo>
                    <a:lnTo>
                      <a:pt x="8809" y="1049"/>
                    </a:lnTo>
                    <a:lnTo>
                      <a:pt x="8914" y="944"/>
                    </a:lnTo>
                    <a:lnTo>
                      <a:pt x="8914" y="735"/>
                    </a:lnTo>
                    <a:lnTo>
                      <a:pt x="9124" y="629"/>
                    </a:lnTo>
                    <a:lnTo>
                      <a:pt x="9229" y="524"/>
                    </a:lnTo>
                    <a:lnTo>
                      <a:pt x="9334" y="315"/>
                    </a:lnTo>
                    <a:lnTo>
                      <a:pt x="9544" y="209"/>
                    </a:lnTo>
                    <a:lnTo>
                      <a:pt x="9649" y="105"/>
                    </a:lnTo>
                    <a:lnTo>
                      <a:pt x="9858" y="0"/>
                    </a:lnTo>
                    <a:lnTo>
                      <a:pt x="9963" y="0"/>
                    </a:lnTo>
                    <a:lnTo>
                      <a:pt x="10068" y="0"/>
                    </a:lnTo>
                    <a:lnTo>
                      <a:pt x="10173" y="209"/>
                    </a:lnTo>
                    <a:lnTo>
                      <a:pt x="10382" y="315"/>
                    </a:lnTo>
                    <a:lnTo>
                      <a:pt x="10488" y="420"/>
                    </a:lnTo>
                    <a:lnTo>
                      <a:pt x="10697" y="524"/>
                    </a:lnTo>
                    <a:lnTo>
                      <a:pt x="10802" y="735"/>
                    </a:lnTo>
                    <a:lnTo>
                      <a:pt x="11012" y="944"/>
                    </a:lnTo>
                    <a:lnTo>
                      <a:pt x="11117" y="1049"/>
                    </a:lnTo>
                    <a:lnTo>
                      <a:pt x="11117" y="1153"/>
                    </a:lnTo>
                    <a:lnTo>
                      <a:pt x="11221" y="1153"/>
                    </a:lnTo>
                    <a:lnTo>
                      <a:pt x="11221" y="1259"/>
                    </a:lnTo>
                    <a:lnTo>
                      <a:pt x="11221" y="1573"/>
                    </a:lnTo>
                    <a:lnTo>
                      <a:pt x="11221" y="1784"/>
                    </a:lnTo>
                    <a:lnTo>
                      <a:pt x="11221" y="1993"/>
                    </a:lnTo>
                    <a:lnTo>
                      <a:pt x="11327" y="2099"/>
                    </a:lnTo>
                    <a:lnTo>
                      <a:pt x="11327" y="2203"/>
                    </a:lnTo>
                    <a:lnTo>
                      <a:pt x="11432" y="2413"/>
                    </a:lnTo>
                    <a:lnTo>
                      <a:pt x="11536" y="2728"/>
                    </a:lnTo>
                    <a:lnTo>
                      <a:pt x="11641" y="3147"/>
                    </a:lnTo>
                    <a:lnTo>
                      <a:pt x="11745" y="3357"/>
                    </a:lnTo>
                    <a:lnTo>
                      <a:pt x="11745" y="3461"/>
                    </a:lnTo>
                    <a:lnTo>
                      <a:pt x="11745" y="3567"/>
                    </a:lnTo>
                    <a:lnTo>
                      <a:pt x="11641" y="3567"/>
                    </a:lnTo>
                    <a:lnTo>
                      <a:pt x="11641" y="3672"/>
                    </a:lnTo>
                    <a:lnTo>
                      <a:pt x="11641" y="3776"/>
                    </a:lnTo>
                    <a:lnTo>
                      <a:pt x="11745" y="3776"/>
                    </a:lnTo>
                    <a:lnTo>
                      <a:pt x="11851" y="3881"/>
                    </a:lnTo>
                    <a:lnTo>
                      <a:pt x="12165" y="4091"/>
                    </a:lnTo>
                    <a:lnTo>
                      <a:pt x="12480" y="4301"/>
                    </a:lnTo>
                    <a:lnTo>
                      <a:pt x="12375" y="4301"/>
                    </a:lnTo>
                    <a:lnTo>
                      <a:pt x="12375" y="4405"/>
                    </a:lnTo>
                    <a:lnTo>
                      <a:pt x="12271" y="4511"/>
                    </a:lnTo>
                    <a:lnTo>
                      <a:pt x="12165" y="4616"/>
                    </a:lnTo>
                    <a:lnTo>
                      <a:pt x="11956" y="4931"/>
                    </a:lnTo>
                    <a:lnTo>
                      <a:pt x="11745" y="5140"/>
                    </a:lnTo>
                    <a:lnTo>
                      <a:pt x="11641" y="5245"/>
                    </a:lnTo>
                    <a:lnTo>
                      <a:pt x="11536" y="5350"/>
                    </a:lnTo>
                    <a:lnTo>
                      <a:pt x="11432" y="5350"/>
                    </a:lnTo>
                    <a:lnTo>
                      <a:pt x="11432" y="5455"/>
                    </a:lnTo>
                    <a:lnTo>
                      <a:pt x="11432" y="5665"/>
                    </a:lnTo>
                    <a:lnTo>
                      <a:pt x="11432" y="5769"/>
                    </a:lnTo>
                    <a:lnTo>
                      <a:pt x="11432" y="5875"/>
                    </a:lnTo>
                    <a:lnTo>
                      <a:pt x="11327" y="6189"/>
                    </a:lnTo>
                    <a:lnTo>
                      <a:pt x="11327" y="6504"/>
                    </a:lnTo>
                    <a:lnTo>
                      <a:pt x="11221" y="6713"/>
                    </a:lnTo>
                    <a:lnTo>
                      <a:pt x="11221" y="6819"/>
                    </a:lnTo>
                    <a:lnTo>
                      <a:pt x="11221" y="7028"/>
                    </a:lnTo>
                    <a:lnTo>
                      <a:pt x="11327" y="7133"/>
                    </a:lnTo>
                    <a:lnTo>
                      <a:pt x="11327" y="7239"/>
                    </a:lnTo>
                    <a:lnTo>
                      <a:pt x="11327" y="7343"/>
                    </a:lnTo>
                    <a:lnTo>
                      <a:pt x="11327" y="7553"/>
                    </a:lnTo>
                    <a:lnTo>
                      <a:pt x="11221" y="7657"/>
                    </a:lnTo>
                    <a:lnTo>
                      <a:pt x="11117" y="7868"/>
                    </a:lnTo>
                    <a:lnTo>
                      <a:pt x="11117" y="8077"/>
                    </a:lnTo>
                    <a:lnTo>
                      <a:pt x="11117" y="8183"/>
                    </a:lnTo>
                    <a:lnTo>
                      <a:pt x="11117" y="8288"/>
                    </a:lnTo>
                    <a:lnTo>
                      <a:pt x="11012" y="8392"/>
                    </a:lnTo>
                    <a:lnTo>
                      <a:pt x="10907" y="8497"/>
                    </a:lnTo>
                    <a:lnTo>
                      <a:pt x="10802" y="8707"/>
                    </a:lnTo>
                    <a:lnTo>
                      <a:pt x="10592" y="8917"/>
                    </a:lnTo>
                    <a:lnTo>
                      <a:pt x="10488" y="9021"/>
                    </a:lnTo>
                    <a:lnTo>
                      <a:pt x="10382" y="9232"/>
                    </a:lnTo>
                    <a:lnTo>
                      <a:pt x="10382" y="9336"/>
                    </a:lnTo>
                    <a:lnTo>
                      <a:pt x="10277" y="9547"/>
                    </a:lnTo>
                    <a:lnTo>
                      <a:pt x="10277" y="9756"/>
                    </a:lnTo>
                    <a:lnTo>
                      <a:pt x="10173" y="9965"/>
                    </a:lnTo>
                    <a:lnTo>
                      <a:pt x="10173" y="10071"/>
                    </a:lnTo>
                    <a:lnTo>
                      <a:pt x="10173" y="10176"/>
                    </a:lnTo>
                    <a:lnTo>
                      <a:pt x="10068" y="10280"/>
                    </a:lnTo>
                    <a:lnTo>
                      <a:pt x="9963" y="10280"/>
                    </a:lnTo>
                    <a:lnTo>
                      <a:pt x="9874" y="10369"/>
                    </a:lnTo>
                    <a:lnTo>
                      <a:pt x="9788" y="10320"/>
                    </a:lnTo>
                    <a:lnTo>
                      <a:pt x="9705" y="10272"/>
                    </a:lnTo>
                    <a:lnTo>
                      <a:pt x="9630" y="10228"/>
                    </a:lnTo>
                    <a:lnTo>
                      <a:pt x="9564" y="10187"/>
                    </a:lnTo>
                    <a:lnTo>
                      <a:pt x="9509" y="10151"/>
                    </a:lnTo>
                    <a:lnTo>
                      <a:pt x="9468" y="10121"/>
                    </a:lnTo>
                    <a:lnTo>
                      <a:pt x="9451" y="10109"/>
                    </a:lnTo>
                    <a:lnTo>
                      <a:pt x="9439" y="10098"/>
                    </a:lnTo>
                    <a:lnTo>
                      <a:pt x="9435" y="10094"/>
                    </a:lnTo>
                    <a:lnTo>
                      <a:pt x="9432" y="10090"/>
                    </a:lnTo>
                    <a:lnTo>
                      <a:pt x="9429" y="10087"/>
                    </a:lnTo>
                    <a:lnTo>
                      <a:pt x="9428" y="10084"/>
                    </a:lnTo>
                    <a:lnTo>
                      <a:pt x="9403" y="10076"/>
                    </a:lnTo>
                    <a:lnTo>
                      <a:pt x="9372" y="10069"/>
                    </a:lnTo>
                    <a:lnTo>
                      <a:pt x="9338" y="10065"/>
                    </a:lnTo>
                    <a:lnTo>
                      <a:pt x="9299" y="10062"/>
                    </a:lnTo>
                    <a:lnTo>
                      <a:pt x="9257" y="10062"/>
                    </a:lnTo>
                    <a:lnTo>
                      <a:pt x="9212" y="10063"/>
                    </a:lnTo>
                    <a:lnTo>
                      <a:pt x="9164" y="10066"/>
                    </a:lnTo>
                    <a:lnTo>
                      <a:pt x="9113" y="10070"/>
                    </a:lnTo>
                    <a:lnTo>
                      <a:pt x="9060" y="10075"/>
                    </a:lnTo>
                    <a:lnTo>
                      <a:pt x="9004" y="10081"/>
                    </a:lnTo>
                    <a:lnTo>
                      <a:pt x="8948" y="10088"/>
                    </a:lnTo>
                    <a:lnTo>
                      <a:pt x="8889" y="10096"/>
                    </a:lnTo>
                    <a:lnTo>
                      <a:pt x="8768" y="10113"/>
                    </a:lnTo>
                    <a:lnTo>
                      <a:pt x="8644" y="10131"/>
                    </a:lnTo>
                    <a:lnTo>
                      <a:pt x="8519" y="10149"/>
                    </a:lnTo>
                    <a:lnTo>
                      <a:pt x="8396" y="10165"/>
                    </a:lnTo>
                    <a:lnTo>
                      <a:pt x="8336" y="10172"/>
                    </a:lnTo>
                    <a:lnTo>
                      <a:pt x="8276" y="10178"/>
                    </a:lnTo>
                    <a:lnTo>
                      <a:pt x="8219" y="10183"/>
                    </a:lnTo>
                    <a:lnTo>
                      <a:pt x="8163" y="10187"/>
                    </a:lnTo>
                    <a:lnTo>
                      <a:pt x="8109" y="10189"/>
                    </a:lnTo>
                    <a:lnTo>
                      <a:pt x="8058" y="10190"/>
                    </a:lnTo>
                    <a:lnTo>
                      <a:pt x="8009" y="10189"/>
                    </a:lnTo>
                    <a:lnTo>
                      <a:pt x="7963" y="10186"/>
                    </a:lnTo>
                    <a:lnTo>
                      <a:pt x="7920" y="10182"/>
                    </a:lnTo>
                    <a:lnTo>
                      <a:pt x="7882" y="10175"/>
                    </a:lnTo>
                    <a:lnTo>
                      <a:pt x="7846" y="10166"/>
                    </a:lnTo>
                    <a:lnTo>
                      <a:pt x="7815" y="10153"/>
                    </a:lnTo>
                    <a:lnTo>
                      <a:pt x="7798" y="10094"/>
                    </a:lnTo>
                    <a:lnTo>
                      <a:pt x="7783" y="10026"/>
                    </a:lnTo>
                    <a:lnTo>
                      <a:pt x="7766" y="9952"/>
                    </a:lnTo>
                    <a:lnTo>
                      <a:pt x="7748" y="9872"/>
                    </a:lnTo>
                    <a:lnTo>
                      <a:pt x="7728" y="9790"/>
                    </a:lnTo>
                    <a:lnTo>
                      <a:pt x="7706" y="9704"/>
                    </a:lnTo>
                    <a:lnTo>
                      <a:pt x="7695" y="9660"/>
                    </a:lnTo>
                    <a:lnTo>
                      <a:pt x="7683" y="9618"/>
                    </a:lnTo>
                    <a:lnTo>
                      <a:pt x="7669" y="9576"/>
                    </a:lnTo>
                    <a:lnTo>
                      <a:pt x="7655" y="9533"/>
                    </a:lnTo>
                    <a:lnTo>
                      <a:pt x="7641" y="9493"/>
                    </a:lnTo>
                    <a:lnTo>
                      <a:pt x="7626" y="9452"/>
                    </a:lnTo>
                    <a:lnTo>
                      <a:pt x="7610" y="9414"/>
                    </a:lnTo>
                    <a:lnTo>
                      <a:pt x="7592" y="9376"/>
                    </a:lnTo>
                    <a:lnTo>
                      <a:pt x="7575" y="9339"/>
                    </a:lnTo>
                    <a:lnTo>
                      <a:pt x="7556" y="9305"/>
                    </a:lnTo>
                    <a:lnTo>
                      <a:pt x="7536" y="9272"/>
                    </a:lnTo>
                    <a:lnTo>
                      <a:pt x="7515" y="9242"/>
                    </a:lnTo>
                    <a:lnTo>
                      <a:pt x="7494" y="9213"/>
                    </a:lnTo>
                    <a:lnTo>
                      <a:pt x="7470" y="9188"/>
                    </a:lnTo>
                    <a:lnTo>
                      <a:pt x="7446" y="9166"/>
                    </a:lnTo>
                    <a:lnTo>
                      <a:pt x="7421" y="9145"/>
                    </a:lnTo>
                    <a:lnTo>
                      <a:pt x="7394" y="9129"/>
                    </a:lnTo>
                    <a:lnTo>
                      <a:pt x="7366" y="9116"/>
                    </a:lnTo>
                    <a:lnTo>
                      <a:pt x="7336" y="9106"/>
                    </a:lnTo>
                    <a:lnTo>
                      <a:pt x="7306" y="9100"/>
                    </a:lnTo>
                    <a:lnTo>
                      <a:pt x="7305" y="9065"/>
                    </a:lnTo>
                    <a:lnTo>
                      <a:pt x="7302" y="9035"/>
                    </a:lnTo>
                    <a:lnTo>
                      <a:pt x="7297" y="9010"/>
                    </a:lnTo>
                    <a:lnTo>
                      <a:pt x="7289" y="8990"/>
                    </a:lnTo>
                    <a:lnTo>
                      <a:pt x="7280" y="8972"/>
                    </a:lnTo>
                    <a:lnTo>
                      <a:pt x="7270" y="8959"/>
                    </a:lnTo>
                    <a:lnTo>
                      <a:pt x="7259" y="8950"/>
                    </a:lnTo>
                    <a:lnTo>
                      <a:pt x="7246" y="8944"/>
                    </a:lnTo>
                    <a:lnTo>
                      <a:pt x="7231" y="8940"/>
                    </a:lnTo>
                    <a:lnTo>
                      <a:pt x="7215" y="8939"/>
                    </a:lnTo>
                    <a:lnTo>
                      <a:pt x="7199" y="8939"/>
                    </a:lnTo>
                    <a:lnTo>
                      <a:pt x="7182" y="8942"/>
                    </a:lnTo>
                    <a:lnTo>
                      <a:pt x="7165" y="8946"/>
                    </a:lnTo>
                    <a:lnTo>
                      <a:pt x="7146" y="8951"/>
                    </a:lnTo>
                    <a:lnTo>
                      <a:pt x="7127" y="8956"/>
                    </a:lnTo>
                    <a:lnTo>
                      <a:pt x="7109" y="8962"/>
                    </a:lnTo>
                    <a:lnTo>
                      <a:pt x="7071" y="8976"/>
                    </a:lnTo>
                    <a:lnTo>
                      <a:pt x="7033" y="8987"/>
                    </a:lnTo>
                    <a:lnTo>
                      <a:pt x="7016" y="8990"/>
                    </a:lnTo>
                    <a:lnTo>
                      <a:pt x="6999" y="8993"/>
                    </a:lnTo>
                    <a:lnTo>
                      <a:pt x="6982" y="8993"/>
                    </a:lnTo>
                    <a:lnTo>
                      <a:pt x="6966" y="8992"/>
                    </a:lnTo>
                    <a:lnTo>
                      <a:pt x="6951" y="8988"/>
                    </a:lnTo>
                    <a:lnTo>
                      <a:pt x="6938" y="8981"/>
                    </a:lnTo>
                    <a:lnTo>
                      <a:pt x="6926" y="8971"/>
                    </a:lnTo>
                    <a:lnTo>
                      <a:pt x="6916" y="8957"/>
                    </a:lnTo>
                    <a:lnTo>
                      <a:pt x="6905" y="8941"/>
                    </a:lnTo>
                    <a:lnTo>
                      <a:pt x="6898" y="8920"/>
                    </a:lnTo>
                    <a:lnTo>
                      <a:pt x="6893" y="8894"/>
                    </a:lnTo>
                    <a:lnTo>
                      <a:pt x="6889" y="8865"/>
                    </a:lnTo>
                    <a:lnTo>
                      <a:pt x="6883" y="8825"/>
                    </a:lnTo>
                    <a:lnTo>
                      <a:pt x="6871" y="8789"/>
                    </a:lnTo>
                    <a:lnTo>
                      <a:pt x="6853" y="8753"/>
                    </a:lnTo>
                    <a:lnTo>
                      <a:pt x="6829" y="8718"/>
                    </a:lnTo>
                    <a:lnTo>
                      <a:pt x="6801" y="8686"/>
                    </a:lnTo>
                    <a:lnTo>
                      <a:pt x="6768" y="8655"/>
                    </a:lnTo>
                    <a:lnTo>
                      <a:pt x="6731" y="8626"/>
                    </a:lnTo>
                    <a:lnTo>
                      <a:pt x="6689" y="8600"/>
                    </a:lnTo>
                    <a:lnTo>
                      <a:pt x="6644" y="8574"/>
                    </a:lnTo>
                    <a:lnTo>
                      <a:pt x="6597" y="8551"/>
                    </a:lnTo>
                    <a:lnTo>
                      <a:pt x="6546" y="8529"/>
                    </a:lnTo>
                    <a:lnTo>
                      <a:pt x="6493" y="8511"/>
                    </a:lnTo>
                    <a:lnTo>
                      <a:pt x="6437" y="8494"/>
                    </a:lnTo>
                    <a:lnTo>
                      <a:pt x="6380" y="8480"/>
                    </a:lnTo>
                    <a:lnTo>
                      <a:pt x="6321" y="8467"/>
                    </a:lnTo>
                    <a:lnTo>
                      <a:pt x="6262" y="8457"/>
                    </a:lnTo>
                    <a:lnTo>
                      <a:pt x="6201" y="8450"/>
                    </a:lnTo>
                    <a:lnTo>
                      <a:pt x="6141" y="8445"/>
                    </a:lnTo>
                    <a:lnTo>
                      <a:pt x="6080" y="8443"/>
                    </a:lnTo>
                    <a:lnTo>
                      <a:pt x="6021" y="8443"/>
                    </a:lnTo>
                    <a:lnTo>
                      <a:pt x="5961" y="8446"/>
                    </a:lnTo>
                    <a:lnTo>
                      <a:pt x="5902" y="8452"/>
                    </a:lnTo>
                    <a:lnTo>
                      <a:pt x="5845" y="8461"/>
                    </a:lnTo>
                    <a:lnTo>
                      <a:pt x="5790" y="8473"/>
                    </a:lnTo>
                    <a:lnTo>
                      <a:pt x="5737" y="8488"/>
                    </a:lnTo>
                    <a:lnTo>
                      <a:pt x="5686" y="8506"/>
                    </a:lnTo>
                    <a:lnTo>
                      <a:pt x="5639" y="8526"/>
                    </a:lnTo>
                    <a:lnTo>
                      <a:pt x="5595" y="8551"/>
                    </a:lnTo>
                    <a:lnTo>
                      <a:pt x="5554" y="8578"/>
                    </a:lnTo>
                    <a:lnTo>
                      <a:pt x="5517" y="8610"/>
                    </a:lnTo>
                    <a:lnTo>
                      <a:pt x="5484" y="8643"/>
                    </a:lnTo>
                    <a:lnTo>
                      <a:pt x="5457" y="8682"/>
                    </a:lnTo>
                    <a:lnTo>
                      <a:pt x="5435" y="8716"/>
                    </a:lnTo>
                    <a:lnTo>
                      <a:pt x="5419" y="8748"/>
                    </a:lnTo>
                    <a:lnTo>
                      <a:pt x="5406" y="8776"/>
                    </a:lnTo>
                    <a:lnTo>
                      <a:pt x="5396" y="8803"/>
                    </a:lnTo>
                    <a:lnTo>
                      <a:pt x="5390" y="8826"/>
                    </a:lnTo>
                    <a:lnTo>
                      <a:pt x="5386" y="8846"/>
                    </a:lnTo>
                    <a:lnTo>
                      <a:pt x="5384" y="8866"/>
                    </a:lnTo>
                    <a:lnTo>
                      <a:pt x="5384" y="8882"/>
                    </a:lnTo>
                    <a:lnTo>
                      <a:pt x="5386" y="8896"/>
                    </a:lnTo>
                    <a:lnTo>
                      <a:pt x="5389" y="8908"/>
                    </a:lnTo>
                    <a:lnTo>
                      <a:pt x="5393" y="8920"/>
                    </a:lnTo>
                    <a:lnTo>
                      <a:pt x="5397" y="8929"/>
                    </a:lnTo>
                    <a:lnTo>
                      <a:pt x="5405" y="8943"/>
                    </a:lnTo>
                    <a:lnTo>
                      <a:pt x="5410" y="8953"/>
                    </a:lnTo>
                    <a:lnTo>
                      <a:pt x="5411" y="8956"/>
                    </a:lnTo>
                    <a:lnTo>
                      <a:pt x="5410" y="8959"/>
                    </a:lnTo>
                    <a:lnTo>
                      <a:pt x="5406" y="8961"/>
                    </a:lnTo>
                    <a:lnTo>
                      <a:pt x="5400" y="8963"/>
                    </a:lnTo>
                    <a:lnTo>
                      <a:pt x="5379" y="8966"/>
                    </a:lnTo>
                    <a:lnTo>
                      <a:pt x="5343" y="8969"/>
                    </a:lnTo>
                    <a:lnTo>
                      <a:pt x="5289" y="8975"/>
                    </a:lnTo>
                    <a:lnTo>
                      <a:pt x="5215" y="8981"/>
                    </a:lnTo>
                    <a:lnTo>
                      <a:pt x="5116" y="8992"/>
                    </a:lnTo>
                    <a:lnTo>
                      <a:pt x="4991" y="9007"/>
                    </a:lnTo>
                    <a:lnTo>
                      <a:pt x="4988" y="9015"/>
                    </a:lnTo>
                    <a:lnTo>
                      <a:pt x="4984" y="9023"/>
                    </a:lnTo>
                    <a:lnTo>
                      <a:pt x="4979" y="9032"/>
                    </a:lnTo>
                    <a:lnTo>
                      <a:pt x="4973" y="9041"/>
                    </a:lnTo>
                    <a:lnTo>
                      <a:pt x="4960" y="9058"/>
                    </a:lnTo>
                    <a:lnTo>
                      <a:pt x="4944" y="9075"/>
                    </a:lnTo>
                    <a:lnTo>
                      <a:pt x="4924" y="9092"/>
                    </a:lnTo>
                    <a:lnTo>
                      <a:pt x="4904" y="9111"/>
                    </a:lnTo>
                    <a:lnTo>
                      <a:pt x="4882" y="9128"/>
                    </a:lnTo>
                    <a:lnTo>
                      <a:pt x="4858" y="9145"/>
                    </a:lnTo>
                    <a:lnTo>
                      <a:pt x="4812" y="9180"/>
                    </a:lnTo>
                    <a:lnTo>
                      <a:pt x="4767" y="9214"/>
                    </a:lnTo>
                    <a:lnTo>
                      <a:pt x="4747" y="9231"/>
                    </a:lnTo>
                    <a:lnTo>
                      <a:pt x="4727" y="9247"/>
                    </a:lnTo>
                    <a:lnTo>
                      <a:pt x="4711" y="9263"/>
                    </a:lnTo>
                    <a:lnTo>
                      <a:pt x="4697" y="9278"/>
                    </a:lnTo>
                    <a:lnTo>
                      <a:pt x="4669" y="9309"/>
                    </a:lnTo>
                    <a:lnTo>
                      <a:pt x="4639" y="9335"/>
                    </a:lnTo>
                    <a:lnTo>
                      <a:pt x="4606" y="9360"/>
                    </a:lnTo>
                    <a:lnTo>
                      <a:pt x="4571" y="9381"/>
                    </a:lnTo>
                    <a:lnTo>
                      <a:pt x="4534" y="9399"/>
                    </a:lnTo>
                    <a:lnTo>
                      <a:pt x="4496" y="9415"/>
                    </a:lnTo>
                    <a:lnTo>
                      <a:pt x="4455" y="9427"/>
                    </a:lnTo>
                    <a:lnTo>
                      <a:pt x="4413" y="9437"/>
                    </a:lnTo>
                    <a:lnTo>
                      <a:pt x="4371" y="9445"/>
                    </a:lnTo>
                    <a:lnTo>
                      <a:pt x="4327" y="9450"/>
                    </a:lnTo>
                    <a:lnTo>
                      <a:pt x="4282" y="9454"/>
                    </a:lnTo>
                    <a:lnTo>
                      <a:pt x="4239" y="9455"/>
                    </a:lnTo>
                    <a:lnTo>
                      <a:pt x="4194" y="9455"/>
                    </a:lnTo>
                    <a:lnTo>
                      <a:pt x="4149" y="9452"/>
                    </a:lnTo>
                    <a:lnTo>
                      <a:pt x="4104" y="9448"/>
                    </a:lnTo>
                    <a:lnTo>
                      <a:pt x="4061" y="9443"/>
                    </a:lnTo>
                    <a:lnTo>
                      <a:pt x="4018" y="9436"/>
                    </a:lnTo>
                    <a:lnTo>
                      <a:pt x="3976" y="9428"/>
                    </a:lnTo>
                    <a:lnTo>
                      <a:pt x="3936" y="9418"/>
                    </a:lnTo>
                    <a:lnTo>
                      <a:pt x="3896" y="9407"/>
                    </a:lnTo>
                    <a:lnTo>
                      <a:pt x="3860" y="9396"/>
                    </a:lnTo>
                    <a:lnTo>
                      <a:pt x="3824" y="9383"/>
                    </a:lnTo>
                    <a:lnTo>
                      <a:pt x="3791" y="9371"/>
                    </a:lnTo>
                    <a:lnTo>
                      <a:pt x="3760" y="9357"/>
                    </a:lnTo>
                    <a:lnTo>
                      <a:pt x="3732" y="9342"/>
                    </a:lnTo>
                    <a:lnTo>
                      <a:pt x="3707" y="9328"/>
                    </a:lnTo>
                    <a:lnTo>
                      <a:pt x="3685" y="9314"/>
                    </a:lnTo>
                    <a:lnTo>
                      <a:pt x="3667" y="9300"/>
                    </a:lnTo>
                    <a:lnTo>
                      <a:pt x="3651" y="9284"/>
                    </a:lnTo>
                    <a:lnTo>
                      <a:pt x="3640" y="9270"/>
                    </a:lnTo>
                    <a:lnTo>
                      <a:pt x="3633" y="9256"/>
                    </a:lnTo>
                    <a:lnTo>
                      <a:pt x="3630" y="9242"/>
                    </a:lnTo>
                    <a:lnTo>
                      <a:pt x="3625" y="9198"/>
                    </a:lnTo>
                    <a:lnTo>
                      <a:pt x="3615" y="9160"/>
                    </a:lnTo>
                    <a:lnTo>
                      <a:pt x="3599" y="9127"/>
                    </a:lnTo>
                    <a:lnTo>
                      <a:pt x="3576" y="9100"/>
                    </a:lnTo>
                    <a:lnTo>
                      <a:pt x="3551" y="9076"/>
                    </a:lnTo>
                    <a:lnTo>
                      <a:pt x="3519" y="9058"/>
                    </a:lnTo>
                    <a:lnTo>
                      <a:pt x="3485" y="9044"/>
                    </a:lnTo>
                    <a:lnTo>
                      <a:pt x="3446" y="9033"/>
                    </a:lnTo>
                    <a:lnTo>
                      <a:pt x="3403" y="9026"/>
                    </a:lnTo>
                    <a:lnTo>
                      <a:pt x="3359" y="9023"/>
                    </a:lnTo>
                    <a:lnTo>
                      <a:pt x="3311" y="9023"/>
                    </a:lnTo>
                    <a:lnTo>
                      <a:pt x="3260" y="9026"/>
                    </a:lnTo>
                    <a:lnTo>
                      <a:pt x="3208" y="9031"/>
                    </a:lnTo>
                    <a:lnTo>
                      <a:pt x="3155" y="9040"/>
                    </a:lnTo>
                    <a:lnTo>
                      <a:pt x="3099" y="9050"/>
                    </a:lnTo>
                    <a:lnTo>
                      <a:pt x="3043" y="9062"/>
                    </a:lnTo>
                    <a:lnTo>
                      <a:pt x="2986" y="9075"/>
                    </a:lnTo>
                    <a:lnTo>
                      <a:pt x="2928" y="9090"/>
                    </a:lnTo>
                    <a:lnTo>
                      <a:pt x="2871" y="9107"/>
                    </a:lnTo>
                    <a:lnTo>
                      <a:pt x="2814" y="9123"/>
                    </a:lnTo>
                    <a:lnTo>
                      <a:pt x="2702" y="9158"/>
                    </a:lnTo>
                    <a:lnTo>
                      <a:pt x="2598" y="9193"/>
                    </a:lnTo>
                    <a:lnTo>
                      <a:pt x="2500" y="9227"/>
                    </a:lnTo>
                    <a:lnTo>
                      <a:pt x="2415" y="9255"/>
                    </a:lnTo>
                    <a:lnTo>
                      <a:pt x="2377" y="9267"/>
                    </a:lnTo>
                    <a:lnTo>
                      <a:pt x="2343" y="9277"/>
                    </a:lnTo>
                    <a:lnTo>
                      <a:pt x="2313" y="9285"/>
                    </a:lnTo>
                    <a:lnTo>
                      <a:pt x="2288" y="9292"/>
                    </a:lnTo>
                    <a:lnTo>
                      <a:pt x="2239" y="9301"/>
                    </a:lnTo>
                    <a:lnTo>
                      <a:pt x="2193" y="9308"/>
                    </a:lnTo>
                    <a:lnTo>
                      <a:pt x="2152" y="9312"/>
                    </a:lnTo>
                    <a:lnTo>
                      <a:pt x="2112" y="9315"/>
                    </a:lnTo>
                    <a:lnTo>
                      <a:pt x="2076" y="9316"/>
                    </a:lnTo>
                    <a:lnTo>
                      <a:pt x="2042" y="9315"/>
                    </a:lnTo>
                    <a:lnTo>
                      <a:pt x="2011" y="9312"/>
                    </a:lnTo>
                    <a:lnTo>
                      <a:pt x="1982" y="9308"/>
                    </a:lnTo>
                    <a:lnTo>
                      <a:pt x="1956" y="9302"/>
                    </a:lnTo>
                    <a:lnTo>
                      <a:pt x="1932" y="9294"/>
                    </a:lnTo>
                    <a:lnTo>
                      <a:pt x="1910" y="9285"/>
                    </a:lnTo>
                    <a:lnTo>
                      <a:pt x="1891" y="9275"/>
                    </a:lnTo>
                    <a:lnTo>
                      <a:pt x="1872" y="9264"/>
                    </a:lnTo>
                    <a:lnTo>
                      <a:pt x="1855" y="9252"/>
                    </a:lnTo>
                    <a:lnTo>
                      <a:pt x="1841" y="9239"/>
                    </a:lnTo>
                    <a:lnTo>
                      <a:pt x="1827" y="9225"/>
                    </a:lnTo>
                    <a:lnTo>
                      <a:pt x="1814" y="9209"/>
                    </a:lnTo>
                    <a:lnTo>
                      <a:pt x="1803" y="9194"/>
                    </a:lnTo>
                    <a:lnTo>
                      <a:pt x="1793" y="9177"/>
                    </a:lnTo>
                    <a:lnTo>
                      <a:pt x="1783" y="9160"/>
                    </a:lnTo>
                    <a:lnTo>
                      <a:pt x="1766" y="9125"/>
                    </a:lnTo>
                    <a:lnTo>
                      <a:pt x="1750" y="9089"/>
                    </a:lnTo>
                    <a:lnTo>
                      <a:pt x="1735" y="9053"/>
                    </a:lnTo>
                    <a:lnTo>
                      <a:pt x="1720" y="9016"/>
                    </a:lnTo>
                    <a:lnTo>
                      <a:pt x="1712" y="8999"/>
                    </a:lnTo>
                    <a:lnTo>
                      <a:pt x="1703" y="8982"/>
                    </a:lnTo>
                    <a:lnTo>
                      <a:pt x="1694" y="8964"/>
                    </a:lnTo>
                    <a:lnTo>
                      <a:pt x="1682" y="8948"/>
                    </a:lnTo>
                    <a:lnTo>
                      <a:pt x="1672" y="8918"/>
                    </a:lnTo>
                    <a:lnTo>
                      <a:pt x="1661" y="8889"/>
                    </a:lnTo>
                    <a:lnTo>
                      <a:pt x="1648" y="8863"/>
                    </a:lnTo>
                    <a:lnTo>
                      <a:pt x="1635" y="8836"/>
                    </a:lnTo>
                    <a:lnTo>
                      <a:pt x="1619" y="8813"/>
                    </a:lnTo>
                    <a:lnTo>
                      <a:pt x="1604" y="8790"/>
                    </a:lnTo>
                    <a:lnTo>
                      <a:pt x="1588" y="8768"/>
                    </a:lnTo>
                    <a:lnTo>
                      <a:pt x="1572" y="8748"/>
                    </a:lnTo>
                    <a:lnTo>
                      <a:pt x="1554" y="8729"/>
                    </a:lnTo>
                    <a:lnTo>
                      <a:pt x="1536" y="8710"/>
                    </a:lnTo>
                    <a:lnTo>
                      <a:pt x="1518" y="8694"/>
                    </a:lnTo>
                    <a:lnTo>
                      <a:pt x="1500" y="8678"/>
                    </a:lnTo>
                    <a:lnTo>
                      <a:pt x="1481" y="8664"/>
                    </a:lnTo>
                    <a:lnTo>
                      <a:pt x="1463" y="8649"/>
                    </a:lnTo>
                    <a:lnTo>
                      <a:pt x="1445" y="8637"/>
                    </a:lnTo>
                    <a:lnTo>
                      <a:pt x="1426" y="8625"/>
                    </a:lnTo>
                    <a:lnTo>
                      <a:pt x="1392" y="8603"/>
                    </a:lnTo>
                    <a:lnTo>
                      <a:pt x="1358" y="8584"/>
                    </a:lnTo>
                    <a:lnTo>
                      <a:pt x="1328" y="8568"/>
                    </a:lnTo>
                    <a:lnTo>
                      <a:pt x="1300" y="8554"/>
                    </a:lnTo>
                    <a:lnTo>
                      <a:pt x="1278" y="8542"/>
                    </a:lnTo>
                    <a:lnTo>
                      <a:pt x="1261" y="8530"/>
                    </a:lnTo>
                    <a:lnTo>
                      <a:pt x="1255" y="8524"/>
                    </a:lnTo>
                    <a:lnTo>
                      <a:pt x="1250" y="8519"/>
                    </a:lnTo>
                    <a:lnTo>
                      <a:pt x="1247" y="8515"/>
                    </a:lnTo>
                    <a:lnTo>
                      <a:pt x="1245" y="8510"/>
                    </a:lnTo>
                    <a:lnTo>
                      <a:pt x="1238" y="8457"/>
                    </a:lnTo>
                    <a:lnTo>
                      <a:pt x="1228" y="8410"/>
                    </a:lnTo>
                    <a:lnTo>
                      <a:pt x="1214" y="8370"/>
                    </a:lnTo>
                    <a:lnTo>
                      <a:pt x="1197" y="8333"/>
                    </a:lnTo>
                    <a:lnTo>
                      <a:pt x="1175" y="8302"/>
                    </a:lnTo>
                    <a:lnTo>
                      <a:pt x="1152" y="8275"/>
                    </a:lnTo>
                    <a:lnTo>
                      <a:pt x="1126" y="8253"/>
                    </a:lnTo>
                    <a:lnTo>
                      <a:pt x="1096" y="8235"/>
                    </a:lnTo>
                    <a:lnTo>
                      <a:pt x="1065" y="8220"/>
                    </a:lnTo>
                    <a:lnTo>
                      <a:pt x="1031" y="8210"/>
                    </a:lnTo>
                    <a:lnTo>
                      <a:pt x="995" y="8203"/>
                    </a:lnTo>
                    <a:lnTo>
                      <a:pt x="957" y="8200"/>
                    </a:lnTo>
                    <a:lnTo>
                      <a:pt x="918" y="8199"/>
                    </a:lnTo>
                    <a:lnTo>
                      <a:pt x="878" y="8202"/>
                    </a:lnTo>
                    <a:lnTo>
                      <a:pt x="836" y="8206"/>
                    </a:lnTo>
                    <a:lnTo>
                      <a:pt x="792" y="8213"/>
                    </a:lnTo>
                    <a:lnTo>
                      <a:pt x="749" y="8222"/>
                    </a:lnTo>
                    <a:lnTo>
                      <a:pt x="705" y="8234"/>
                    </a:lnTo>
                    <a:lnTo>
                      <a:pt x="660" y="8246"/>
                    </a:lnTo>
                    <a:lnTo>
                      <a:pt x="616" y="8260"/>
                    </a:lnTo>
                    <a:lnTo>
                      <a:pt x="571" y="8275"/>
                    </a:lnTo>
                    <a:lnTo>
                      <a:pt x="526" y="8291"/>
                    </a:lnTo>
                    <a:lnTo>
                      <a:pt x="482" y="8307"/>
                    </a:lnTo>
                    <a:lnTo>
                      <a:pt x="439" y="8324"/>
                    </a:lnTo>
                    <a:lnTo>
                      <a:pt x="355" y="8359"/>
                    </a:lnTo>
                    <a:lnTo>
                      <a:pt x="274" y="8391"/>
                    </a:lnTo>
                    <a:lnTo>
                      <a:pt x="202" y="8421"/>
                    </a:lnTo>
                    <a:lnTo>
                      <a:pt x="137" y="8445"/>
                    </a:lnTo>
                    <a:lnTo>
                      <a:pt x="99" y="8458"/>
                    </a:lnTo>
                    <a:lnTo>
                      <a:pt x="64" y="8471"/>
                    </a:lnTo>
                    <a:lnTo>
                      <a:pt x="30" y="8483"/>
                    </a:lnTo>
                    <a:lnTo>
                      <a:pt x="0" y="8493"/>
                    </a:lnTo>
                    <a:close/>
                  </a:path>
                </a:pathLst>
              </a:custGeom>
              <a:grpFill/>
              <a:ln w="9525">
                <a:solidFill>
                  <a:schemeClr val="bg1"/>
                </a:solidFill>
                <a:round/>
                <a:headEnd/>
                <a:tailEnd/>
              </a:ln>
            </p:spPr>
            <p:txBody>
              <a:bodyPr/>
              <a:lstStyle/>
              <a:p>
                <a:pPr>
                  <a:defRPr/>
                </a:pPr>
                <a:endParaRPr lang="en-US">
                  <a:latin typeface="Calibri" pitchFamily="34" charset="0"/>
                </a:endParaRPr>
              </a:p>
            </p:txBody>
          </p:sp>
        </p:grpSp>
        <p:sp>
          <p:nvSpPr>
            <p:cNvPr id="112" name="Freeform 11">
              <a:extLst>
                <a:ext uri="{FF2B5EF4-FFF2-40B4-BE49-F238E27FC236}">
                  <a16:creationId xmlns:a16="http://schemas.microsoft.com/office/drawing/2014/main" id="{7C4AC156-25DB-490E-B6DB-21E2E09F40C6}"/>
                </a:ext>
              </a:extLst>
            </p:cNvPr>
            <p:cNvSpPr>
              <a:spLocks/>
            </p:cNvSpPr>
            <p:nvPr/>
          </p:nvSpPr>
          <p:spPr bwMode="auto">
            <a:xfrm>
              <a:off x="5450364" y="3278137"/>
              <a:ext cx="237016" cy="220354"/>
            </a:xfrm>
            <a:custGeom>
              <a:avLst/>
              <a:gdLst>
                <a:gd name="T0" fmla="*/ 744 w 779"/>
                <a:gd name="T1" fmla="*/ 0 h 746"/>
                <a:gd name="T2" fmla="*/ 546 w 779"/>
                <a:gd name="T3" fmla="*/ 0 h 746"/>
                <a:gd name="T4" fmla="*/ 507 w 779"/>
                <a:gd name="T5" fmla="*/ 86 h 746"/>
                <a:gd name="T6" fmla="*/ 418 w 779"/>
                <a:gd name="T7" fmla="*/ 129 h 746"/>
                <a:gd name="T8" fmla="*/ 345 w 779"/>
                <a:gd name="T9" fmla="*/ 328 h 746"/>
                <a:gd name="T10" fmla="*/ 201 w 779"/>
                <a:gd name="T11" fmla="*/ 414 h 746"/>
                <a:gd name="T12" fmla="*/ 0 w 779"/>
                <a:gd name="T13" fmla="*/ 746 h 746"/>
                <a:gd name="T14" fmla="*/ 198 w 779"/>
                <a:gd name="T15" fmla="*/ 742 h 746"/>
                <a:gd name="T16" fmla="*/ 205 w 779"/>
                <a:gd name="T17" fmla="*/ 645 h 746"/>
                <a:gd name="T18" fmla="*/ 256 w 779"/>
                <a:gd name="T19" fmla="*/ 645 h 746"/>
                <a:gd name="T20" fmla="*/ 256 w 779"/>
                <a:gd name="T21" fmla="*/ 512 h 746"/>
                <a:gd name="T22" fmla="*/ 430 w 779"/>
                <a:gd name="T23" fmla="*/ 512 h 746"/>
                <a:gd name="T24" fmla="*/ 434 w 779"/>
                <a:gd name="T25" fmla="*/ 340 h 746"/>
                <a:gd name="T26" fmla="*/ 601 w 779"/>
                <a:gd name="T27" fmla="*/ 301 h 746"/>
                <a:gd name="T28" fmla="*/ 671 w 779"/>
                <a:gd name="T29" fmla="*/ 188 h 746"/>
                <a:gd name="T30" fmla="*/ 779 w 779"/>
                <a:gd name="T31" fmla="*/ 184 h 746"/>
                <a:gd name="T32" fmla="*/ 744 w 779"/>
                <a:gd name="T33" fmla="*/ 0 h 746"/>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2580 w 10000"/>
                <a:gd name="connsiteY5" fmla="*/ 5550 h 10000"/>
                <a:gd name="connsiteX6" fmla="*/ 0 w 10000"/>
                <a:gd name="connsiteY6" fmla="*/ 10000 h 10000"/>
                <a:gd name="connsiteX7" fmla="*/ 2542 w 10000"/>
                <a:gd name="connsiteY7" fmla="*/ 9946 h 10000"/>
                <a:gd name="connsiteX8" fmla="*/ 2632 w 10000"/>
                <a:gd name="connsiteY8" fmla="*/ 8646 h 10000"/>
                <a:gd name="connsiteX9" fmla="*/ 3286 w 10000"/>
                <a:gd name="connsiteY9" fmla="*/ 8646 h 10000"/>
                <a:gd name="connsiteX10" fmla="*/ 3286 w 10000"/>
                <a:gd name="connsiteY10" fmla="*/ 6863 h 10000"/>
                <a:gd name="connsiteX11" fmla="*/ 5520 w 10000"/>
                <a:gd name="connsiteY11" fmla="*/ 6863 h 10000"/>
                <a:gd name="connsiteX12" fmla="*/ 5571 w 10000"/>
                <a:gd name="connsiteY12" fmla="*/ 4558 h 10000"/>
                <a:gd name="connsiteX13" fmla="*/ 8614 w 10000"/>
                <a:gd name="connsiteY13" fmla="*/ 2520 h 10000"/>
                <a:gd name="connsiteX14" fmla="*/ 10000 w 10000"/>
                <a:gd name="connsiteY14" fmla="*/ 2466 h 10000"/>
                <a:gd name="connsiteX15" fmla="*/ 9551 w 10000"/>
                <a:gd name="connsiteY15" fmla="*/ 0 h 10000"/>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2580 w 10000"/>
                <a:gd name="connsiteY5" fmla="*/ 5550 h 10000"/>
                <a:gd name="connsiteX6" fmla="*/ 0 w 10000"/>
                <a:gd name="connsiteY6" fmla="*/ 10000 h 10000"/>
                <a:gd name="connsiteX7" fmla="*/ 2542 w 10000"/>
                <a:gd name="connsiteY7" fmla="*/ 9946 h 10000"/>
                <a:gd name="connsiteX8" fmla="*/ 2632 w 10000"/>
                <a:gd name="connsiteY8" fmla="*/ 8646 h 10000"/>
                <a:gd name="connsiteX9" fmla="*/ 3286 w 10000"/>
                <a:gd name="connsiteY9" fmla="*/ 8646 h 10000"/>
                <a:gd name="connsiteX10" fmla="*/ 3286 w 10000"/>
                <a:gd name="connsiteY10" fmla="*/ 6863 h 10000"/>
                <a:gd name="connsiteX11" fmla="*/ 5520 w 10000"/>
                <a:gd name="connsiteY11" fmla="*/ 6863 h 10000"/>
                <a:gd name="connsiteX12" fmla="*/ 5571 w 10000"/>
                <a:gd name="connsiteY12" fmla="*/ 4558 h 10000"/>
                <a:gd name="connsiteX13" fmla="*/ 10000 w 10000"/>
                <a:gd name="connsiteY13" fmla="*/ 2466 h 10000"/>
                <a:gd name="connsiteX14" fmla="*/ 9551 w 10000"/>
                <a:gd name="connsiteY14" fmla="*/ 0 h 10000"/>
                <a:gd name="connsiteX0" fmla="*/ 9551 w 9551"/>
                <a:gd name="connsiteY0" fmla="*/ 0 h 10000"/>
                <a:gd name="connsiteX1" fmla="*/ 7009 w 9551"/>
                <a:gd name="connsiteY1" fmla="*/ 0 h 10000"/>
                <a:gd name="connsiteX2" fmla="*/ 6508 w 9551"/>
                <a:gd name="connsiteY2" fmla="*/ 1153 h 10000"/>
                <a:gd name="connsiteX3" fmla="*/ 5366 w 9551"/>
                <a:gd name="connsiteY3" fmla="*/ 1729 h 10000"/>
                <a:gd name="connsiteX4" fmla="*/ 4429 w 9551"/>
                <a:gd name="connsiteY4" fmla="*/ 4397 h 10000"/>
                <a:gd name="connsiteX5" fmla="*/ 2580 w 9551"/>
                <a:gd name="connsiteY5" fmla="*/ 5550 h 10000"/>
                <a:gd name="connsiteX6" fmla="*/ 0 w 9551"/>
                <a:gd name="connsiteY6" fmla="*/ 10000 h 10000"/>
                <a:gd name="connsiteX7" fmla="*/ 2542 w 9551"/>
                <a:gd name="connsiteY7" fmla="*/ 9946 h 10000"/>
                <a:gd name="connsiteX8" fmla="*/ 2632 w 9551"/>
                <a:gd name="connsiteY8" fmla="*/ 8646 h 10000"/>
                <a:gd name="connsiteX9" fmla="*/ 3286 w 9551"/>
                <a:gd name="connsiteY9" fmla="*/ 8646 h 10000"/>
                <a:gd name="connsiteX10" fmla="*/ 3286 w 9551"/>
                <a:gd name="connsiteY10" fmla="*/ 6863 h 10000"/>
                <a:gd name="connsiteX11" fmla="*/ 5520 w 9551"/>
                <a:gd name="connsiteY11" fmla="*/ 6863 h 10000"/>
                <a:gd name="connsiteX12" fmla="*/ 5571 w 9551"/>
                <a:gd name="connsiteY12" fmla="*/ 4558 h 10000"/>
                <a:gd name="connsiteX13" fmla="*/ 9551 w 9551"/>
                <a:gd name="connsiteY13" fmla="*/ 0 h 10000"/>
                <a:gd name="connsiteX0" fmla="*/ 5833 w 7338"/>
                <a:gd name="connsiteY0" fmla="*/ 4558 h 10000"/>
                <a:gd name="connsiteX1" fmla="*/ 7338 w 7338"/>
                <a:gd name="connsiteY1" fmla="*/ 0 h 10000"/>
                <a:gd name="connsiteX2" fmla="*/ 6814 w 7338"/>
                <a:gd name="connsiteY2" fmla="*/ 1153 h 10000"/>
                <a:gd name="connsiteX3" fmla="*/ 5618 w 7338"/>
                <a:gd name="connsiteY3" fmla="*/ 1729 h 10000"/>
                <a:gd name="connsiteX4" fmla="*/ 4637 w 7338"/>
                <a:gd name="connsiteY4" fmla="*/ 4397 h 10000"/>
                <a:gd name="connsiteX5" fmla="*/ 2701 w 7338"/>
                <a:gd name="connsiteY5" fmla="*/ 5550 h 10000"/>
                <a:gd name="connsiteX6" fmla="*/ 0 w 7338"/>
                <a:gd name="connsiteY6" fmla="*/ 10000 h 10000"/>
                <a:gd name="connsiteX7" fmla="*/ 2662 w 7338"/>
                <a:gd name="connsiteY7" fmla="*/ 9946 h 10000"/>
                <a:gd name="connsiteX8" fmla="*/ 2756 w 7338"/>
                <a:gd name="connsiteY8" fmla="*/ 8646 h 10000"/>
                <a:gd name="connsiteX9" fmla="*/ 3440 w 7338"/>
                <a:gd name="connsiteY9" fmla="*/ 8646 h 10000"/>
                <a:gd name="connsiteX10" fmla="*/ 3440 w 7338"/>
                <a:gd name="connsiteY10" fmla="*/ 6863 h 10000"/>
                <a:gd name="connsiteX11" fmla="*/ 5779 w 7338"/>
                <a:gd name="connsiteY11" fmla="*/ 6863 h 10000"/>
                <a:gd name="connsiteX12" fmla="*/ 5833 w 7338"/>
                <a:gd name="connsiteY12" fmla="*/ 4558 h 10000"/>
                <a:gd name="connsiteX0" fmla="*/ 7949 w 9286"/>
                <a:gd name="connsiteY0" fmla="*/ 3405 h 8847"/>
                <a:gd name="connsiteX1" fmla="*/ 9286 w 9286"/>
                <a:gd name="connsiteY1" fmla="*/ 0 h 8847"/>
                <a:gd name="connsiteX2" fmla="*/ 7656 w 9286"/>
                <a:gd name="connsiteY2" fmla="*/ 576 h 8847"/>
                <a:gd name="connsiteX3" fmla="*/ 6319 w 9286"/>
                <a:gd name="connsiteY3" fmla="*/ 3244 h 8847"/>
                <a:gd name="connsiteX4" fmla="*/ 3681 w 9286"/>
                <a:gd name="connsiteY4" fmla="*/ 4397 h 8847"/>
                <a:gd name="connsiteX5" fmla="*/ 0 w 9286"/>
                <a:gd name="connsiteY5" fmla="*/ 8847 h 8847"/>
                <a:gd name="connsiteX6" fmla="*/ 3628 w 9286"/>
                <a:gd name="connsiteY6" fmla="*/ 8793 h 8847"/>
                <a:gd name="connsiteX7" fmla="*/ 3756 w 9286"/>
                <a:gd name="connsiteY7" fmla="*/ 7493 h 8847"/>
                <a:gd name="connsiteX8" fmla="*/ 4688 w 9286"/>
                <a:gd name="connsiteY8" fmla="*/ 7493 h 8847"/>
                <a:gd name="connsiteX9" fmla="*/ 4688 w 9286"/>
                <a:gd name="connsiteY9" fmla="*/ 5710 h 8847"/>
                <a:gd name="connsiteX10" fmla="*/ 7875 w 9286"/>
                <a:gd name="connsiteY10" fmla="*/ 5710 h 8847"/>
                <a:gd name="connsiteX11" fmla="*/ 7949 w 9286"/>
                <a:gd name="connsiteY11" fmla="*/ 3405 h 8847"/>
                <a:gd name="connsiteX0" fmla="*/ 8560 w 8560"/>
                <a:gd name="connsiteY0" fmla="*/ 3198 h 9349"/>
                <a:gd name="connsiteX1" fmla="*/ 8245 w 8560"/>
                <a:gd name="connsiteY1" fmla="*/ 0 h 9349"/>
                <a:gd name="connsiteX2" fmla="*/ 6805 w 8560"/>
                <a:gd name="connsiteY2" fmla="*/ 3016 h 9349"/>
                <a:gd name="connsiteX3" fmla="*/ 3964 w 8560"/>
                <a:gd name="connsiteY3" fmla="*/ 4319 h 9349"/>
                <a:gd name="connsiteX4" fmla="*/ 0 w 8560"/>
                <a:gd name="connsiteY4" fmla="*/ 9349 h 9349"/>
                <a:gd name="connsiteX5" fmla="*/ 3907 w 8560"/>
                <a:gd name="connsiteY5" fmla="*/ 9288 h 9349"/>
                <a:gd name="connsiteX6" fmla="*/ 4045 w 8560"/>
                <a:gd name="connsiteY6" fmla="*/ 7819 h 9349"/>
                <a:gd name="connsiteX7" fmla="*/ 5048 w 8560"/>
                <a:gd name="connsiteY7" fmla="*/ 7819 h 9349"/>
                <a:gd name="connsiteX8" fmla="*/ 5048 w 8560"/>
                <a:gd name="connsiteY8" fmla="*/ 5803 h 9349"/>
                <a:gd name="connsiteX9" fmla="*/ 8481 w 8560"/>
                <a:gd name="connsiteY9" fmla="*/ 5803 h 9349"/>
                <a:gd name="connsiteX10" fmla="*/ 8560 w 8560"/>
                <a:gd name="connsiteY10" fmla="*/ 3198 h 9349"/>
                <a:gd name="connsiteX0" fmla="*/ 10000 w 10000"/>
                <a:gd name="connsiteY0" fmla="*/ 361 h 6940"/>
                <a:gd name="connsiteX1" fmla="*/ 7950 w 10000"/>
                <a:gd name="connsiteY1" fmla="*/ 166 h 6940"/>
                <a:gd name="connsiteX2" fmla="*/ 4631 w 10000"/>
                <a:gd name="connsiteY2" fmla="*/ 1560 h 6940"/>
                <a:gd name="connsiteX3" fmla="*/ 0 w 10000"/>
                <a:gd name="connsiteY3" fmla="*/ 6940 h 6940"/>
                <a:gd name="connsiteX4" fmla="*/ 4564 w 10000"/>
                <a:gd name="connsiteY4" fmla="*/ 6875 h 6940"/>
                <a:gd name="connsiteX5" fmla="*/ 4725 w 10000"/>
                <a:gd name="connsiteY5" fmla="*/ 5303 h 6940"/>
                <a:gd name="connsiteX6" fmla="*/ 5897 w 10000"/>
                <a:gd name="connsiteY6" fmla="*/ 5303 h 6940"/>
                <a:gd name="connsiteX7" fmla="*/ 5897 w 10000"/>
                <a:gd name="connsiteY7" fmla="*/ 3147 h 6940"/>
                <a:gd name="connsiteX8" fmla="*/ 9908 w 10000"/>
                <a:gd name="connsiteY8" fmla="*/ 3147 h 6940"/>
                <a:gd name="connsiteX9" fmla="*/ 10000 w 10000"/>
                <a:gd name="connsiteY9" fmla="*/ 361 h 6940"/>
                <a:gd name="connsiteX0" fmla="*/ 10000 w 10000"/>
                <a:gd name="connsiteY0" fmla="*/ 369 h 9849"/>
                <a:gd name="connsiteX1" fmla="*/ 7950 w 10000"/>
                <a:gd name="connsiteY1" fmla="*/ 88 h 9849"/>
                <a:gd name="connsiteX2" fmla="*/ 4631 w 10000"/>
                <a:gd name="connsiteY2" fmla="*/ 2097 h 9849"/>
                <a:gd name="connsiteX3" fmla="*/ 0 w 10000"/>
                <a:gd name="connsiteY3" fmla="*/ 9849 h 9849"/>
                <a:gd name="connsiteX4" fmla="*/ 4564 w 10000"/>
                <a:gd name="connsiteY4" fmla="*/ 9755 h 9849"/>
                <a:gd name="connsiteX5" fmla="*/ 4725 w 10000"/>
                <a:gd name="connsiteY5" fmla="*/ 7490 h 9849"/>
                <a:gd name="connsiteX6" fmla="*/ 5897 w 10000"/>
                <a:gd name="connsiteY6" fmla="*/ 7490 h 9849"/>
                <a:gd name="connsiteX7" fmla="*/ 5897 w 10000"/>
                <a:gd name="connsiteY7" fmla="*/ 4384 h 9849"/>
                <a:gd name="connsiteX8" fmla="*/ 9908 w 10000"/>
                <a:gd name="connsiteY8" fmla="*/ 4384 h 9849"/>
                <a:gd name="connsiteX9" fmla="*/ 10000 w 10000"/>
                <a:gd name="connsiteY9" fmla="*/ 369 h 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9849">
                  <a:moveTo>
                    <a:pt x="10000" y="369"/>
                  </a:moveTo>
                  <a:cubicBezTo>
                    <a:pt x="8547" y="314"/>
                    <a:pt x="8845" y="-200"/>
                    <a:pt x="7950" y="88"/>
                  </a:cubicBezTo>
                  <a:lnTo>
                    <a:pt x="4631" y="2097"/>
                  </a:lnTo>
                  <a:lnTo>
                    <a:pt x="0" y="9849"/>
                  </a:lnTo>
                  <a:lnTo>
                    <a:pt x="4564" y="9755"/>
                  </a:lnTo>
                  <a:cubicBezTo>
                    <a:pt x="4617" y="9002"/>
                    <a:pt x="4669" y="8245"/>
                    <a:pt x="4725" y="7490"/>
                  </a:cubicBezTo>
                  <a:lnTo>
                    <a:pt x="5897" y="7490"/>
                  </a:lnTo>
                  <a:lnTo>
                    <a:pt x="5897" y="4384"/>
                  </a:lnTo>
                  <a:lnTo>
                    <a:pt x="9908" y="4384"/>
                  </a:lnTo>
                  <a:cubicBezTo>
                    <a:pt x="9938" y="3046"/>
                    <a:pt x="9970" y="1706"/>
                    <a:pt x="10000" y="3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11">
              <a:extLst>
                <a:ext uri="{FF2B5EF4-FFF2-40B4-BE49-F238E27FC236}">
                  <a16:creationId xmlns:a16="http://schemas.microsoft.com/office/drawing/2014/main" id="{F0286513-101C-41EB-8279-B3DA60116DEE}"/>
                </a:ext>
              </a:extLst>
            </p:cNvPr>
            <p:cNvSpPr>
              <a:spLocks/>
            </p:cNvSpPr>
            <p:nvPr/>
          </p:nvSpPr>
          <p:spPr bwMode="auto">
            <a:xfrm>
              <a:off x="5647235" y="3108722"/>
              <a:ext cx="228580" cy="173624"/>
            </a:xfrm>
            <a:custGeom>
              <a:avLst/>
              <a:gdLst>
                <a:gd name="T0" fmla="*/ 744 w 779"/>
                <a:gd name="T1" fmla="*/ 0 h 746"/>
                <a:gd name="T2" fmla="*/ 546 w 779"/>
                <a:gd name="T3" fmla="*/ 0 h 746"/>
                <a:gd name="T4" fmla="*/ 507 w 779"/>
                <a:gd name="T5" fmla="*/ 86 h 746"/>
                <a:gd name="T6" fmla="*/ 418 w 779"/>
                <a:gd name="T7" fmla="*/ 129 h 746"/>
                <a:gd name="T8" fmla="*/ 345 w 779"/>
                <a:gd name="T9" fmla="*/ 328 h 746"/>
                <a:gd name="T10" fmla="*/ 201 w 779"/>
                <a:gd name="T11" fmla="*/ 414 h 746"/>
                <a:gd name="T12" fmla="*/ 0 w 779"/>
                <a:gd name="T13" fmla="*/ 746 h 746"/>
                <a:gd name="T14" fmla="*/ 198 w 779"/>
                <a:gd name="T15" fmla="*/ 742 h 746"/>
                <a:gd name="T16" fmla="*/ 205 w 779"/>
                <a:gd name="T17" fmla="*/ 645 h 746"/>
                <a:gd name="T18" fmla="*/ 256 w 779"/>
                <a:gd name="T19" fmla="*/ 645 h 746"/>
                <a:gd name="T20" fmla="*/ 256 w 779"/>
                <a:gd name="T21" fmla="*/ 512 h 746"/>
                <a:gd name="T22" fmla="*/ 430 w 779"/>
                <a:gd name="T23" fmla="*/ 512 h 746"/>
                <a:gd name="T24" fmla="*/ 434 w 779"/>
                <a:gd name="T25" fmla="*/ 340 h 746"/>
                <a:gd name="T26" fmla="*/ 601 w 779"/>
                <a:gd name="T27" fmla="*/ 301 h 746"/>
                <a:gd name="T28" fmla="*/ 671 w 779"/>
                <a:gd name="T29" fmla="*/ 188 h 746"/>
                <a:gd name="T30" fmla="*/ 779 w 779"/>
                <a:gd name="T31" fmla="*/ 184 h 746"/>
                <a:gd name="T32" fmla="*/ 744 w 779"/>
                <a:gd name="T33" fmla="*/ 0 h 746"/>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0 w 10000"/>
                <a:gd name="connsiteY5" fmla="*/ 10000 h 10000"/>
                <a:gd name="connsiteX6" fmla="*/ 2542 w 10000"/>
                <a:gd name="connsiteY6" fmla="*/ 9946 h 10000"/>
                <a:gd name="connsiteX7" fmla="*/ 2632 w 10000"/>
                <a:gd name="connsiteY7" fmla="*/ 8646 h 10000"/>
                <a:gd name="connsiteX8" fmla="*/ 3286 w 10000"/>
                <a:gd name="connsiteY8" fmla="*/ 8646 h 10000"/>
                <a:gd name="connsiteX9" fmla="*/ 3286 w 10000"/>
                <a:gd name="connsiteY9" fmla="*/ 6863 h 10000"/>
                <a:gd name="connsiteX10" fmla="*/ 5520 w 10000"/>
                <a:gd name="connsiteY10" fmla="*/ 6863 h 10000"/>
                <a:gd name="connsiteX11" fmla="*/ 5571 w 10000"/>
                <a:gd name="connsiteY11" fmla="*/ 4558 h 10000"/>
                <a:gd name="connsiteX12" fmla="*/ 7715 w 10000"/>
                <a:gd name="connsiteY12" fmla="*/ 4035 h 10000"/>
                <a:gd name="connsiteX13" fmla="*/ 8614 w 10000"/>
                <a:gd name="connsiteY13" fmla="*/ 2520 h 10000"/>
                <a:gd name="connsiteX14" fmla="*/ 10000 w 10000"/>
                <a:gd name="connsiteY14" fmla="*/ 2466 h 10000"/>
                <a:gd name="connsiteX15" fmla="*/ 9551 w 10000"/>
                <a:gd name="connsiteY15" fmla="*/ 0 h 10000"/>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0 w 10000"/>
                <a:gd name="connsiteY5" fmla="*/ 10000 h 10000"/>
                <a:gd name="connsiteX6" fmla="*/ 2542 w 10000"/>
                <a:gd name="connsiteY6" fmla="*/ 9946 h 10000"/>
                <a:gd name="connsiteX7" fmla="*/ 2632 w 10000"/>
                <a:gd name="connsiteY7" fmla="*/ 8646 h 10000"/>
                <a:gd name="connsiteX8" fmla="*/ 3286 w 10000"/>
                <a:gd name="connsiteY8" fmla="*/ 8646 h 10000"/>
                <a:gd name="connsiteX9" fmla="*/ 3286 w 10000"/>
                <a:gd name="connsiteY9" fmla="*/ 6863 h 10000"/>
                <a:gd name="connsiteX10" fmla="*/ 5571 w 10000"/>
                <a:gd name="connsiteY10" fmla="*/ 4558 h 10000"/>
                <a:gd name="connsiteX11" fmla="*/ 7715 w 10000"/>
                <a:gd name="connsiteY11" fmla="*/ 4035 h 10000"/>
                <a:gd name="connsiteX12" fmla="*/ 8614 w 10000"/>
                <a:gd name="connsiteY12" fmla="*/ 2520 h 10000"/>
                <a:gd name="connsiteX13" fmla="*/ 10000 w 10000"/>
                <a:gd name="connsiteY13" fmla="*/ 2466 h 10000"/>
                <a:gd name="connsiteX14" fmla="*/ 9551 w 10000"/>
                <a:gd name="connsiteY14" fmla="*/ 0 h 10000"/>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0 w 10000"/>
                <a:gd name="connsiteY5" fmla="*/ 10000 h 10000"/>
                <a:gd name="connsiteX6" fmla="*/ 2542 w 10000"/>
                <a:gd name="connsiteY6" fmla="*/ 9946 h 10000"/>
                <a:gd name="connsiteX7" fmla="*/ 2632 w 10000"/>
                <a:gd name="connsiteY7" fmla="*/ 8646 h 10000"/>
                <a:gd name="connsiteX8" fmla="*/ 3286 w 10000"/>
                <a:gd name="connsiteY8" fmla="*/ 8646 h 10000"/>
                <a:gd name="connsiteX9" fmla="*/ 5571 w 10000"/>
                <a:gd name="connsiteY9" fmla="*/ 4558 h 10000"/>
                <a:gd name="connsiteX10" fmla="*/ 7715 w 10000"/>
                <a:gd name="connsiteY10" fmla="*/ 4035 h 10000"/>
                <a:gd name="connsiteX11" fmla="*/ 8614 w 10000"/>
                <a:gd name="connsiteY11" fmla="*/ 2520 h 10000"/>
                <a:gd name="connsiteX12" fmla="*/ 10000 w 10000"/>
                <a:gd name="connsiteY12" fmla="*/ 2466 h 10000"/>
                <a:gd name="connsiteX13" fmla="*/ 9551 w 10000"/>
                <a:gd name="connsiteY13" fmla="*/ 0 h 10000"/>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0 w 10000"/>
                <a:gd name="connsiteY5" fmla="*/ 10000 h 10000"/>
                <a:gd name="connsiteX6" fmla="*/ 2542 w 10000"/>
                <a:gd name="connsiteY6" fmla="*/ 9946 h 10000"/>
                <a:gd name="connsiteX7" fmla="*/ 2632 w 10000"/>
                <a:gd name="connsiteY7" fmla="*/ 8646 h 10000"/>
                <a:gd name="connsiteX8" fmla="*/ 5571 w 10000"/>
                <a:gd name="connsiteY8" fmla="*/ 4558 h 10000"/>
                <a:gd name="connsiteX9" fmla="*/ 7715 w 10000"/>
                <a:gd name="connsiteY9" fmla="*/ 4035 h 10000"/>
                <a:gd name="connsiteX10" fmla="*/ 8614 w 10000"/>
                <a:gd name="connsiteY10" fmla="*/ 2520 h 10000"/>
                <a:gd name="connsiteX11" fmla="*/ 10000 w 10000"/>
                <a:gd name="connsiteY11" fmla="*/ 2466 h 10000"/>
                <a:gd name="connsiteX12" fmla="*/ 9551 w 10000"/>
                <a:gd name="connsiteY12" fmla="*/ 0 h 10000"/>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0 w 10000"/>
                <a:gd name="connsiteY5" fmla="*/ 10000 h 10000"/>
                <a:gd name="connsiteX6" fmla="*/ 2542 w 10000"/>
                <a:gd name="connsiteY6" fmla="*/ 9946 h 10000"/>
                <a:gd name="connsiteX7" fmla="*/ 5571 w 10000"/>
                <a:gd name="connsiteY7" fmla="*/ 4558 h 10000"/>
                <a:gd name="connsiteX8" fmla="*/ 7715 w 10000"/>
                <a:gd name="connsiteY8" fmla="*/ 4035 h 10000"/>
                <a:gd name="connsiteX9" fmla="*/ 8614 w 10000"/>
                <a:gd name="connsiteY9" fmla="*/ 2520 h 10000"/>
                <a:gd name="connsiteX10" fmla="*/ 10000 w 10000"/>
                <a:gd name="connsiteY10" fmla="*/ 2466 h 10000"/>
                <a:gd name="connsiteX11" fmla="*/ 9551 w 10000"/>
                <a:gd name="connsiteY11" fmla="*/ 0 h 10000"/>
                <a:gd name="connsiteX0" fmla="*/ 9551 w 10000"/>
                <a:gd name="connsiteY0" fmla="*/ 0 h 10000"/>
                <a:gd name="connsiteX1" fmla="*/ 7009 w 10000"/>
                <a:gd name="connsiteY1" fmla="*/ 0 h 10000"/>
                <a:gd name="connsiteX2" fmla="*/ 6508 w 10000"/>
                <a:gd name="connsiteY2" fmla="*/ 1153 h 10000"/>
                <a:gd name="connsiteX3" fmla="*/ 5366 w 10000"/>
                <a:gd name="connsiteY3" fmla="*/ 1729 h 10000"/>
                <a:gd name="connsiteX4" fmla="*/ 4429 w 10000"/>
                <a:gd name="connsiteY4" fmla="*/ 4397 h 10000"/>
                <a:gd name="connsiteX5" fmla="*/ 0 w 10000"/>
                <a:gd name="connsiteY5" fmla="*/ 10000 h 10000"/>
                <a:gd name="connsiteX6" fmla="*/ 5571 w 10000"/>
                <a:gd name="connsiteY6" fmla="*/ 4558 h 10000"/>
                <a:gd name="connsiteX7" fmla="*/ 7715 w 10000"/>
                <a:gd name="connsiteY7" fmla="*/ 4035 h 10000"/>
                <a:gd name="connsiteX8" fmla="*/ 8614 w 10000"/>
                <a:gd name="connsiteY8" fmla="*/ 2520 h 10000"/>
                <a:gd name="connsiteX9" fmla="*/ 10000 w 10000"/>
                <a:gd name="connsiteY9" fmla="*/ 2466 h 10000"/>
                <a:gd name="connsiteX10" fmla="*/ 9551 w 10000"/>
                <a:gd name="connsiteY10" fmla="*/ 0 h 10000"/>
                <a:gd name="connsiteX0" fmla="*/ 5122 w 5571"/>
                <a:gd name="connsiteY0" fmla="*/ 0 h 4558"/>
                <a:gd name="connsiteX1" fmla="*/ 2580 w 5571"/>
                <a:gd name="connsiteY1" fmla="*/ 0 h 4558"/>
                <a:gd name="connsiteX2" fmla="*/ 2079 w 5571"/>
                <a:gd name="connsiteY2" fmla="*/ 1153 h 4558"/>
                <a:gd name="connsiteX3" fmla="*/ 937 w 5571"/>
                <a:gd name="connsiteY3" fmla="*/ 1729 h 4558"/>
                <a:gd name="connsiteX4" fmla="*/ 0 w 5571"/>
                <a:gd name="connsiteY4" fmla="*/ 4397 h 4558"/>
                <a:gd name="connsiteX5" fmla="*/ 1142 w 5571"/>
                <a:gd name="connsiteY5" fmla="*/ 4558 h 4558"/>
                <a:gd name="connsiteX6" fmla="*/ 3286 w 5571"/>
                <a:gd name="connsiteY6" fmla="*/ 4035 h 4558"/>
                <a:gd name="connsiteX7" fmla="*/ 4185 w 5571"/>
                <a:gd name="connsiteY7" fmla="*/ 2520 h 4558"/>
                <a:gd name="connsiteX8" fmla="*/ 5571 w 5571"/>
                <a:gd name="connsiteY8" fmla="*/ 2466 h 4558"/>
                <a:gd name="connsiteX9" fmla="*/ 5122 w 5571"/>
                <a:gd name="connsiteY9" fmla="*/ 0 h 4558"/>
                <a:gd name="connsiteX0" fmla="*/ 8838 w 9644"/>
                <a:gd name="connsiteY0" fmla="*/ 0 h 10000"/>
                <a:gd name="connsiteX1" fmla="*/ 4275 w 9644"/>
                <a:gd name="connsiteY1" fmla="*/ 0 h 10000"/>
                <a:gd name="connsiteX2" fmla="*/ 3376 w 9644"/>
                <a:gd name="connsiteY2" fmla="*/ 2530 h 10000"/>
                <a:gd name="connsiteX3" fmla="*/ 1326 w 9644"/>
                <a:gd name="connsiteY3" fmla="*/ 3793 h 10000"/>
                <a:gd name="connsiteX4" fmla="*/ 0 w 9644"/>
                <a:gd name="connsiteY4" fmla="*/ 9041 h 10000"/>
                <a:gd name="connsiteX5" fmla="*/ 1694 w 9644"/>
                <a:gd name="connsiteY5" fmla="*/ 10000 h 10000"/>
                <a:gd name="connsiteX6" fmla="*/ 5542 w 9644"/>
                <a:gd name="connsiteY6" fmla="*/ 8853 h 10000"/>
                <a:gd name="connsiteX7" fmla="*/ 7156 w 9644"/>
                <a:gd name="connsiteY7" fmla="*/ 5529 h 10000"/>
                <a:gd name="connsiteX8" fmla="*/ 9644 w 9644"/>
                <a:gd name="connsiteY8" fmla="*/ 5410 h 10000"/>
                <a:gd name="connsiteX9" fmla="*/ 8838 w 9644"/>
                <a:gd name="connsiteY9" fmla="*/ 0 h 10000"/>
                <a:gd name="connsiteX0" fmla="*/ 9164 w 10000"/>
                <a:gd name="connsiteY0" fmla="*/ 0 h 9773"/>
                <a:gd name="connsiteX1" fmla="*/ 4433 w 10000"/>
                <a:gd name="connsiteY1" fmla="*/ 0 h 9773"/>
                <a:gd name="connsiteX2" fmla="*/ 3501 w 10000"/>
                <a:gd name="connsiteY2" fmla="*/ 2530 h 9773"/>
                <a:gd name="connsiteX3" fmla="*/ 1375 w 10000"/>
                <a:gd name="connsiteY3" fmla="*/ 3793 h 9773"/>
                <a:gd name="connsiteX4" fmla="*/ 0 w 10000"/>
                <a:gd name="connsiteY4" fmla="*/ 9041 h 9773"/>
                <a:gd name="connsiteX5" fmla="*/ 2065 w 10000"/>
                <a:gd name="connsiteY5" fmla="*/ 9773 h 9773"/>
                <a:gd name="connsiteX6" fmla="*/ 5747 w 10000"/>
                <a:gd name="connsiteY6" fmla="*/ 8853 h 9773"/>
                <a:gd name="connsiteX7" fmla="*/ 7420 w 10000"/>
                <a:gd name="connsiteY7" fmla="*/ 5529 h 9773"/>
                <a:gd name="connsiteX8" fmla="*/ 10000 w 10000"/>
                <a:gd name="connsiteY8" fmla="*/ 5410 h 9773"/>
                <a:gd name="connsiteX9" fmla="*/ 9164 w 10000"/>
                <a:gd name="connsiteY9" fmla="*/ 0 h 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9773">
                  <a:moveTo>
                    <a:pt x="9164" y="0"/>
                  </a:moveTo>
                  <a:lnTo>
                    <a:pt x="4433" y="0"/>
                  </a:lnTo>
                  <a:lnTo>
                    <a:pt x="3501" y="2530"/>
                  </a:lnTo>
                  <a:lnTo>
                    <a:pt x="1375" y="3793"/>
                  </a:lnTo>
                  <a:lnTo>
                    <a:pt x="0" y="9041"/>
                  </a:lnTo>
                  <a:lnTo>
                    <a:pt x="2065" y="9773"/>
                  </a:lnTo>
                  <a:lnTo>
                    <a:pt x="5747" y="8853"/>
                  </a:lnTo>
                  <a:lnTo>
                    <a:pt x="7420" y="5529"/>
                  </a:lnTo>
                  <a:lnTo>
                    <a:pt x="10000" y="5410"/>
                  </a:lnTo>
                  <a:lnTo>
                    <a:pt x="916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482" name="TextBox 481">
            <a:extLst>
              <a:ext uri="{FF2B5EF4-FFF2-40B4-BE49-F238E27FC236}">
                <a16:creationId xmlns:a16="http://schemas.microsoft.com/office/drawing/2014/main" id="{7A2D01F2-B5F9-4D4F-AD5D-8C52034F1923}"/>
              </a:ext>
            </a:extLst>
          </p:cNvPr>
          <p:cNvSpPr txBox="1"/>
          <p:nvPr/>
        </p:nvSpPr>
        <p:spPr>
          <a:xfrm>
            <a:off x="1189832" y="1997266"/>
            <a:ext cx="1094248" cy="430887"/>
          </a:xfrm>
          <a:prstGeom prst="rect">
            <a:avLst/>
          </a:prstGeom>
          <a:noFill/>
        </p:spPr>
        <p:txBody>
          <a:bodyPr wrap="square" lIns="0" tIns="0" rIns="0" bIns="0" rtlCol="0">
            <a:spAutoFit/>
          </a:bodyPr>
          <a:lstStyle/>
          <a:p>
            <a:r>
              <a:rPr lang="en-US" sz="1400" b="1" dirty="0" err="1">
                <a:latin typeface="+mj-lt"/>
              </a:rPr>
              <a:t>København</a:t>
            </a:r>
            <a:r>
              <a:rPr lang="en-US" sz="1400" b="1" dirty="0">
                <a:latin typeface="+mj-lt"/>
              </a:rPr>
              <a:t>, Denmark</a:t>
            </a:r>
          </a:p>
        </p:txBody>
      </p:sp>
      <p:pic>
        <p:nvPicPr>
          <p:cNvPr id="8" name="Picture 7">
            <a:extLst>
              <a:ext uri="{FF2B5EF4-FFF2-40B4-BE49-F238E27FC236}">
                <a16:creationId xmlns:a16="http://schemas.microsoft.com/office/drawing/2014/main" id="{578E75AC-9682-4496-B2F9-11CB36C7EEF3}"/>
              </a:ext>
            </a:extLst>
          </p:cNvPr>
          <p:cNvPicPr>
            <a:picLocks noChangeAspect="1"/>
          </p:cNvPicPr>
          <p:nvPr/>
        </p:nvPicPr>
        <p:blipFill>
          <a:blip r:embed="rId2"/>
          <a:stretch>
            <a:fillRect/>
          </a:stretch>
        </p:blipFill>
        <p:spPr>
          <a:xfrm>
            <a:off x="686132" y="1997266"/>
            <a:ext cx="422608" cy="422608"/>
          </a:xfrm>
          <a:prstGeom prst="rect">
            <a:avLst/>
          </a:prstGeom>
        </p:spPr>
      </p:pic>
      <p:cxnSp>
        <p:nvCxnSpPr>
          <p:cNvPr id="481" name="Straight Connector 480">
            <a:extLst>
              <a:ext uri="{FF2B5EF4-FFF2-40B4-BE49-F238E27FC236}">
                <a16:creationId xmlns:a16="http://schemas.microsoft.com/office/drawing/2014/main" id="{88AFC545-948E-40A2-97F7-8FD1D0D87238}"/>
              </a:ext>
            </a:extLst>
          </p:cNvPr>
          <p:cNvCxnSpPr>
            <a:cxnSpLocks/>
          </p:cNvCxnSpPr>
          <p:nvPr/>
        </p:nvCxnSpPr>
        <p:spPr>
          <a:xfrm>
            <a:off x="2363455" y="2212709"/>
            <a:ext cx="2030745" cy="0"/>
          </a:xfrm>
          <a:prstGeom prst="line">
            <a:avLst/>
          </a:prstGeom>
          <a:ln>
            <a:solidFill>
              <a:srgbClr val="FF0000"/>
            </a:solidFill>
            <a:headEnd type="ova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5E829289-671A-40A8-B67A-E788022EE75B}"/>
              </a:ext>
            </a:extLst>
          </p:cNvPr>
          <p:cNvCxnSpPr>
            <a:cxnSpLocks/>
          </p:cNvCxnSpPr>
          <p:nvPr/>
        </p:nvCxnSpPr>
        <p:spPr>
          <a:xfrm>
            <a:off x="1895475" y="5418402"/>
            <a:ext cx="2107406" cy="0"/>
          </a:xfrm>
          <a:prstGeom prst="line">
            <a:avLst/>
          </a:prstGeom>
          <a:ln>
            <a:solidFill>
              <a:srgbClr val="EF95A0"/>
            </a:solidFill>
            <a:headEnd type="oval"/>
          </a:ln>
        </p:spPr>
        <p:style>
          <a:lnRef idx="1">
            <a:schemeClr val="accent1"/>
          </a:lnRef>
          <a:fillRef idx="0">
            <a:schemeClr val="accent1"/>
          </a:fillRef>
          <a:effectRef idx="0">
            <a:schemeClr val="accent1"/>
          </a:effectRef>
          <a:fontRef idx="minor">
            <a:schemeClr val="tx1"/>
          </a:fontRef>
        </p:style>
      </p:cxnSp>
      <p:sp>
        <p:nvSpPr>
          <p:cNvPr id="484" name="TextBox 483">
            <a:extLst>
              <a:ext uri="{FF2B5EF4-FFF2-40B4-BE49-F238E27FC236}">
                <a16:creationId xmlns:a16="http://schemas.microsoft.com/office/drawing/2014/main" id="{8E6BF8FD-ADA2-4254-91A5-18FB1DCD59F4}"/>
              </a:ext>
            </a:extLst>
          </p:cNvPr>
          <p:cNvSpPr txBox="1"/>
          <p:nvPr/>
        </p:nvSpPr>
        <p:spPr>
          <a:xfrm>
            <a:off x="1189832" y="5202959"/>
            <a:ext cx="1094248" cy="430887"/>
          </a:xfrm>
          <a:prstGeom prst="rect">
            <a:avLst/>
          </a:prstGeom>
          <a:noFill/>
        </p:spPr>
        <p:txBody>
          <a:bodyPr wrap="square" lIns="0" tIns="0" rIns="0" bIns="0" rtlCol="0">
            <a:spAutoFit/>
          </a:bodyPr>
          <a:lstStyle/>
          <a:p>
            <a:r>
              <a:rPr lang="en-US" sz="1400" b="1" dirty="0">
                <a:latin typeface="+mj-lt"/>
              </a:rPr>
              <a:t>Lima,</a:t>
            </a:r>
          </a:p>
          <a:p>
            <a:r>
              <a:rPr lang="en-US" sz="1400" b="1" dirty="0">
                <a:latin typeface="+mj-lt"/>
              </a:rPr>
              <a:t>Peru</a:t>
            </a:r>
          </a:p>
        </p:txBody>
      </p:sp>
      <p:pic>
        <p:nvPicPr>
          <p:cNvPr id="1026" name="Picture 2" descr="Peru flag icon - Country flags">
            <a:extLst>
              <a:ext uri="{FF2B5EF4-FFF2-40B4-BE49-F238E27FC236}">
                <a16:creationId xmlns:a16="http://schemas.microsoft.com/office/drawing/2014/main" id="{EC8E13A5-1FF8-4EC7-8A38-5971E9C5BBF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132" y="5202959"/>
            <a:ext cx="421200" cy="421200"/>
          </a:xfrm>
          <a:prstGeom prst="rect">
            <a:avLst/>
          </a:prstGeom>
          <a:noFill/>
          <a:extLst>
            <a:ext uri="{909E8E84-426E-40DD-AFC4-6F175D3DCCD1}">
              <a14:hiddenFill xmlns:a14="http://schemas.microsoft.com/office/drawing/2010/main">
                <a:solidFill>
                  <a:srgbClr val="FFFFFF"/>
                </a:solidFill>
              </a14:hiddenFill>
            </a:ext>
          </a:extLst>
        </p:spPr>
      </p:pic>
      <p:cxnSp>
        <p:nvCxnSpPr>
          <p:cNvPr id="486" name="Straight Connector 485">
            <a:extLst>
              <a:ext uri="{FF2B5EF4-FFF2-40B4-BE49-F238E27FC236}">
                <a16:creationId xmlns:a16="http://schemas.microsoft.com/office/drawing/2014/main" id="{99797558-966A-4B1E-92D3-8409BE8B65EA}"/>
              </a:ext>
            </a:extLst>
          </p:cNvPr>
          <p:cNvCxnSpPr>
            <a:cxnSpLocks/>
          </p:cNvCxnSpPr>
          <p:nvPr/>
        </p:nvCxnSpPr>
        <p:spPr>
          <a:xfrm>
            <a:off x="6615049" y="3021012"/>
            <a:ext cx="3664807" cy="0"/>
          </a:xfrm>
          <a:prstGeom prst="line">
            <a:avLst/>
          </a:prstGeom>
          <a:ln>
            <a:solidFill>
              <a:srgbClr val="72BFC5"/>
            </a:solidFill>
            <a:tailEnd type="oval"/>
          </a:ln>
        </p:spPr>
        <p:style>
          <a:lnRef idx="1">
            <a:schemeClr val="accent1"/>
          </a:lnRef>
          <a:fillRef idx="0">
            <a:schemeClr val="accent1"/>
          </a:fillRef>
          <a:effectRef idx="0">
            <a:schemeClr val="accent1"/>
          </a:effectRef>
          <a:fontRef idx="minor">
            <a:schemeClr val="tx1"/>
          </a:fontRef>
        </p:style>
      </p:cxnSp>
      <p:sp>
        <p:nvSpPr>
          <p:cNvPr id="488" name="TextBox 487">
            <a:extLst>
              <a:ext uri="{FF2B5EF4-FFF2-40B4-BE49-F238E27FC236}">
                <a16:creationId xmlns:a16="http://schemas.microsoft.com/office/drawing/2014/main" id="{7081A761-32DD-46BE-9F91-ED8B820258A8}"/>
              </a:ext>
            </a:extLst>
          </p:cNvPr>
          <p:cNvSpPr txBox="1"/>
          <p:nvPr/>
        </p:nvSpPr>
        <p:spPr>
          <a:xfrm>
            <a:off x="10013157" y="2807253"/>
            <a:ext cx="1094248" cy="430887"/>
          </a:xfrm>
          <a:prstGeom prst="rect">
            <a:avLst/>
          </a:prstGeom>
          <a:noFill/>
        </p:spPr>
        <p:txBody>
          <a:bodyPr wrap="square" lIns="0" tIns="0" rIns="0" bIns="0" rtlCol="0">
            <a:spAutoFit/>
          </a:bodyPr>
          <a:lstStyle/>
          <a:p>
            <a:pPr algn="r"/>
            <a:r>
              <a:rPr lang="en-US" sz="1400" b="1" dirty="0">
                <a:latin typeface="+mj-lt"/>
              </a:rPr>
              <a:t>Kyiv,</a:t>
            </a:r>
          </a:p>
          <a:p>
            <a:pPr algn="r"/>
            <a:r>
              <a:rPr lang="en-US" sz="1400" b="1" dirty="0">
                <a:latin typeface="+mj-lt"/>
              </a:rPr>
              <a:t>Ukraine</a:t>
            </a:r>
          </a:p>
        </p:txBody>
      </p:sp>
      <p:pic>
        <p:nvPicPr>
          <p:cNvPr id="1028" name="Picture 4" descr="download ukraine flag svg eps png psd ai vector color free - el fonts  vectors">
            <a:extLst>
              <a:ext uri="{FF2B5EF4-FFF2-40B4-BE49-F238E27FC236}">
                <a16:creationId xmlns:a16="http://schemas.microsoft.com/office/drawing/2014/main" id="{64D54717-477C-4B27-A0D4-205F82BBDA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87715" y="2816940"/>
            <a:ext cx="421200" cy="421200"/>
          </a:xfrm>
          <a:prstGeom prst="rect">
            <a:avLst/>
          </a:prstGeom>
          <a:noFill/>
          <a:extLst>
            <a:ext uri="{909E8E84-426E-40DD-AFC4-6F175D3DCCD1}">
              <a14:hiddenFill xmlns:a14="http://schemas.microsoft.com/office/drawing/2010/main">
                <a:solidFill>
                  <a:srgbClr val="FFFFFF"/>
                </a:solidFill>
              </a14:hiddenFill>
            </a:ext>
          </a:extLst>
        </p:spPr>
      </p:pic>
      <p:cxnSp>
        <p:nvCxnSpPr>
          <p:cNvPr id="489" name="Straight Connector 488">
            <a:extLst>
              <a:ext uri="{FF2B5EF4-FFF2-40B4-BE49-F238E27FC236}">
                <a16:creationId xmlns:a16="http://schemas.microsoft.com/office/drawing/2014/main" id="{A225A123-24F6-4BEF-9788-A8ED92798D3B}"/>
              </a:ext>
            </a:extLst>
          </p:cNvPr>
          <p:cNvCxnSpPr>
            <a:cxnSpLocks/>
          </p:cNvCxnSpPr>
          <p:nvPr/>
        </p:nvCxnSpPr>
        <p:spPr>
          <a:xfrm>
            <a:off x="9498807" y="4603480"/>
            <a:ext cx="642937" cy="0"/>
          </a:xfrm>
          <a:prstGeom prst="line">
            <a:avLst/>
          </a:prstGeom>
          <a:ln>
            <a:solidFill>
              <a:srgbClr val="E75F71"/>
            </a:solidFill>
            <a:tailEnd type="oval"/>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B3A0DF88-80A6-4BCC-BAAF-8C0BFE87404B}"/>
              </a:ext>
            </a:extLst>
          </p:cNvPr>
          <p:cNvSpPr txBox="1"/>
          <p:nvPr/>
        </p:nvSpPr>
        <p:spPr>
          <a:xfrm>
            <a:off x="10013157" y="4394775"/>
            <a:ext cx="1094248" cy="430887"/>
          </a:xfrm>
          <a:prstGeom prst="rect">
            <a:avLst/>
          </a:prstGeom>
          <a:noFill/>
        </p:spPr>
        <p:txBody>
          <a:bodyPr wrap="square" lIns="0" tIns="0" rIns="0" bIns="0" rtlCol="0">
            <a:spAutoFit/>
          </a:bodyPr>
          <a:lstStyle/>
          <a:p>
            <a:pPr algn="r"/>
            <a:r>
              <a:rPr lang="en-US" sz="1400" b="1" dirty="0">
                <a:latin typeface="+mj-lt"/>
              </a:rPr>
              <a:t>Malang,</a:t>
            </a:r>
          </a:p>
          <a:p>
            <a:pPr algn="r"/>
            <a:r>
              <a:rPr lang="en-US" sz="1400" b="1" dirty="0">
                <a:latin typeface="+mj-lt"/>
              </a:rPr>
              <a:t>Indonesia</a:t>
            </a:r>
          </a:p>
        </p:txBody>
      </p:sp>
      <p:pic>
        <p:nvPicPr>
          <p:cNvPr id="492" name="Picture 491" descr="Download Indonesia Flag Svg Eps Png Psd Ai Vector Color - Indonesia,  Transparent Png - 1600x1600(#1946679) - PngFind">
            <a:extLst>
              <a:ext uri="{FF2B5EF4-FFF2-40B4-BE49-F238E27FC236}">
                <a16:creationId xmlns:a16="http://schemas.microsoft.com/office/drawing/2014/main" id="{6937114C-CAEB-4C6A-A0DF-56F58BC2E7B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3724" t="3724" r="3724" b="3724"/>
          <a:stretch>
            <a:fillRect/>
          </a:stretch>
        </p:blipFill>
        <p:spPr bwMode="auto">
          <a:xfrm>
            <a:off x="11187715" y="4404462"/>
            <a:ext cx="421200" cy="421200"/>
          </a:xfrm>
          <a:custGeom>
            <a:avLst/>
            <a:gdLst>
              <a:gd name="connsiteX0" fmla="*/ 1410494 w 2820988"/>
              <a:gd name="connsiteY0" fmla="*/ 0 h 2820988"/>
              <a:gd name="connsiteX1" fmla="*/ 2820988 w 2820988"/>
              <a:gd name="connsiteY1" fmla="*/ 1410494 h 2820988"/>
              <a:gd name="connsiteX2" fmla="*/ 1410494 w 2820988"/>
              <a:gd name="connsiteY2" fmla="*/ 2820988 h 2820988"/>
              <a:gd name="connsiteX3" fmla="*/ 0 w 2820988"/>
              <a:gd name="connsiteY3" fmla="*/ 1410494 h 2820988"/>
              <a:gd name="connsiteX4" fmla="*/ 1410494 w 2820988"/>
              <a:gd name="connsiteY4" fmla="*/ 0 h 2820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0988" h="2820988">
                <a:moveTo>
                  <a:pt x="1410494" y="0"/>
                </a:moveTo>
                <a:cubicBezTo>
                  <a:pt x="2189488" y="0"/>
                  <a:pt x="2820988" y="631500"/>
                  <a:pt x="2820988" y="1410494"/>
                </a:cubicBezTo>
                <a:cubicBezTo>
                  <a:pt x="2820988" y="2189488"/>
                  <a:pt x="2189488" y="2820988"/>
                  <a:pt x="1410494" y="2820988"/>
                </a:cubicBezTo>
                <a:cubicBezTo>
                  <a:pt x="631500" y="2820988"/>
                  <a:pt x="0" y="2189488"/>
                  <a:pt x="0" y="1410494"/>
                </a:cubicBezTo>
                <a:cubicBezTo>
                  <a:pt x="0" y="631500"/>
                  <a:pt x="631500" y="0"/>
                  <a:pt x="1410494" y="0"/>
                </a:cubicBezTo>
                <a:close/>
              </a:path>
            </a:pathLst>
          </a:custGeom>
          <a:noFill/>
          <a:extLst>
            <a:ext uri="{909E8E84-426E-40DD-AFC4-6F175D3DCCD1}">
              <a14:hiddenFill xmlns:a14="http://schemas.microsoft.com/office/drawing/2010/main">
                <a:solidFill>
                  <a:srgbClr val="FFFFFF"/>
                </a:solidFill>
              </a14:hiddenFill>
            </a:ext>
          </a:extLst>
        </p:spPr>
      </p:pic>
      <p:sp>
        <p:nvSpPr>
          <p:cNvPr id="493" name="TextBox 492">
            <a:extLst>
              <a:ext uri="{FF2B5EF4-FFF2-40B4-BE49-F238E27FC236}">
                <a16:creationId xmlns:a16="http://schemas.microsoft.com/office/drawing/2014/main" id="{7CA2DD64-03FC-47E8-A033-8D5185DA2700}"/>
              </a:ext>
            </a:extLst>
          </p:cNvPr>
          <p:cNvSpPr txBox="1"/>
          <p:nvPr/>
        </p:nvSpPr>
        <p:spPr>
          <a:xfrm>
            <a:off x="690563" y="314325"/>
            <a:ext cx="10808351" cy="553998"/>
          </a:xfrm>
          <a:prstGeom prst="rect">
            <a:avLst/>
          </a:prstGeom>
          <a:noFill/>
        </p:spPr>
        <p:txBody>
          <a:bodyPr wrap="square" lIns="0" tIns="0" rIns="0" bIns="0" rtlCol="0" anchor="t">
            <a:spAutoFit/>
          </a:bodyPr>
          <a:lstStyle/>
          <a:p>
            <a:r>
              <a:rPr lang="en-US" sz="3600" dirty="0">
                <a:latin typeface="+mj-lt"/>
              </a:rPr>
              <a:t>OUR OFFICE LOCATIONS</a:t>
            </a:r>
          </a:p>
        </p:txBody>
      </p:sp>
      <p:cxnSp>
        <p:nvCxnSpPr>
          <p:cNvPr id="494" name="Straight Connector 493">
            <a:extLst>
              <a:ext uri="{FF2B5EF4-FFF2-40B4-BE49-F238E27FC236}">
                <a16:creationId xmlns:a16="http://schemas.microsoft.com/office/drawing/2014/main" id="{B2BD0DBC-5E8B-40E2-8D63-30E733474995}"/>
              </a:ext>
            </a:extLst>
          </p:cNvPr>
          <p:cNvCxnSpPr>
            <a:cxnSpLocks/>
          </p:cNvCxnSpPr>
          <p:nvPr/>
        </p:nvCxnSpPr>
        <p:spPr>
          <a:xfrm>
            <a:off x="703323" y="3014133"/>
            <a:ext cx="187272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7EFFD41C-6D4A-45E9-AB42-A3A6ED77A810}"/>
              </a:ext>
            </a:extLst>
          </p:cNvPr>
          <p:cNvCxnSpPr>
            <a:cxnSpLocks/>
          </p:cNvCxnSpPr>
          <p:nvPr/>
        </p:nvCxnSpPr>
        <p:spPr>
          <a:xfrm>
            <a:off x="9736186" y="3821301"/>
            <a:ext cx="187272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96" name="Freeform: Shape 495">
            <a:extLst>
              <a:ext uri="{FF2B5EF4-FFF2-40B4-BE49-F238E27FC236}">
                <a16:creationId xmlns:a16="http://schemas.microsoft.com/office/drawing/2014/main" id="{020147C6-ACA3-5F70-FF9D-20DE6B3D7123}"/>
              </a:ext>
            </a:extLst>
          </p:cNvPr>
          <p:cNvSpPr>
            <a:spLocks/>
          </p:cNvSpPr>
          <p:nvPr/>
        </p:nvSpPr>
        <p:spPr bwMode="auto">
          <a:xfrm>
            <a:off x="3729175" y="3526175"/>
            <a:ext cx="208620" cy="193192"/>
          </a:xfrm>
          <a:custGeom>
            <a:avLst/>
            <a:gdLst>
              <a:gd name="connsiteX0" fmla="*/ 65138 w 321227"/>
              <a:gd name="connsiteY0" fmla="*/ 158 h 293994"/>
              <a:gd name="connsiteX1" fmla="*/ 146249 w 321227"/>
              <a:gd name="connsiteY1" fmla="*/ 5069 h 293994"/>
              <a:gd name="connsiteX2" fmla="*/ 196255 w 321227"/>
              <a:gd name="connsiteY2" fmla="*/ 21737 h 293994"/>
              <a:gd name="connsiteX3" fmla="*/ 281980 w 321227"/>
              <a:gd name="connsiteY3" fmla="*/ 43169 h 293994"/>
              <a:gd name="connsiteX4" fmla="*/ 267693 w 321227"/>
              <a:gd name="connsiteY4" fmla="*/ 14594 h 293994"/>
              <a:gd name="connsiteX5" fmla="*/ 301775 w 321227"/>
              <a:gd name="connsiteY5" fmla="*/ 14148 h 293994"/>
              <a:gd name="connsiteX6" fmla="*/ 308095 w 321227"/>
              <a:gd name="connsiteY6" fmla="*/ 15897 h 293994"/>
              <a:gd name="connsiteX7" fmla="*/ 281702 w 321227"/>
              <a:gd name="connsiteY7" fmla="*/ 97161 h 293994"/>
              <a:gd name="connsiteX8" fmla="*/ 301464 w 321227"/>
              <a:gd name="connsiteY8" fmla="*/ 178582 h 293994"/>
              <a:gd name="connsiteX9" fmla="*/ 321227 w 321227"/>
              <a:gd name="connsiteY9" fmla="*/ 215735 h 293994"/>
              <a:gd name="connsiteX10" fmla="*/ 270635 w 321227"/>
              <a:gd name="connsiteY10" fmla="*/ 293994 h 293994"/>
              <a:gd name="connsiteX11" fmla="*/ 220834 w 321227"/>
              <a:gd name="connsiteY11" fmla="*/ 293994 h 293994"/>
              <a:gd name="connsiteX12" fmla="*/ 196328 w 321227"/>
              <a:gd name="connsiteY12" fmla="*/ 212573 h 293994"/>
              <a:gd name="connsiteX13" fmla="*/ 216881 w 321227"/>
              <a:gd name="connsiteY13" fmla="*/ 164353 h 293994"/>
              <a:gd name="connsiteX14" fmla="*/ 209767 w 321227"/>
              <a:gd name="connsiteY14" fmla="*/ 80560 h 293994"/>
              <a:gd name="connsiteX15" fmla="*/ 176566 w 321227"/>
              <a:gd name="connsiteY15" fmla="*/ 42617 h 293994"/>
              <a:gd name="connsiteX16" fmla="*/ 25280 w 321227"/>
              <a:gd name="connsiteY16" fmla="*/ 39776 h 293994"/>
              <a:gd name="connsiteX17" fmla="*/ 6184 w 321227"/>
              <a:gd name="connsiteY17" fmla="*/ 24119 h 293994"/>
              <a:gd name="connsiteX18" fmla="*/ 993 w 321227"/>
              <a:gd name="connsiteY18" fmla="*/ 9831 h 293994"/>
              <a:gd name="connsiteX19" fmla="*/ 65138 w 321227"/>
              <a:gd name="connsiteY19" fmla="*/ 158 h 293994"/>
              <a:gd name="connsiteX0" fmla="*/ 65138 w 321227"/>
              <a:gd name="connsiteY0" fmla="*/ 158 h 293994"/>
              <a:gd name="connsiteX1" fmla="*/ 146249 w 321227"/>
              <a:gd name="connsiteY1" fmla="*/ 5069 h 293994"/>
              <a:gd name="connsiteX2" fmla="*/ 196255 w 321227"/>
              <a:gd name="connsiteY2" fmla="*/ 21737 h 293994"/>
              <a:gd name="connsiteX3" fmla="*/ 281980 w 321227"/>
              <a:gd name="connsiteY3" fmla="*/ 43169 h 293994"/>
              <a:gd name="connsiteX4" fmla="*/ 267693 w 321227"/>
              <a:gd name="connsiteY4" fmla="*/ 14594 h 293994"/>
              <a:gd name="connsiteX5" fmla="*/ 301775 w 321227"/>
              <a:gd name="connsiteY5" fmla="*/ 14148 h 293994"/>
              <a:gd name="connsiteX6" fmla="*/ 308095 w 321227"/>
              <a:gd name="connsiteY6" fmla="*/ 15897 h 293994"/>
              <a:gd name="connsiteX7" fmla="*/ 281702 w 321227"/>
              <a:gd name="connsiteY7" fmla="*/ 97161 h 293994"/>
              <a:gd name="connsiteX8" fmla="*/ 301464 w 321227"/>
              <a:gd name="connsiteY8" fmla="*/ 178582 h 293994"/>
              <a:gd name="connsiteX9" fmla="*/ 321227 w 321227"/>
              <a:gd name="connsiteY9" fmla="*/ 215735 h 293994"/>
              <a:gd name="connsiteX10" fmla="*/ 270635 w 321227"/>
              <a:gd name="connsiteY10" fmla="*/ 293994 h 293994"/>
              <a:gd name="connsiteX11" fmla="*/ 220834 w 321227"/>
              <a:gd name="connsiteY11" fmla="*/ 293994 h 293994"/>
              <a:gd name="connsiteX12" fmla="*/ 196328 w 321227"/>
              <a:gd name="connsiteY12" fmla="*/ 212573 h 293994"/>
              <a:gd name="connsiteX13" fmla="*/ 216881 w 321227"/>
              <a:gd name="connsiteY13" fmla="*/ 164353 h 293994"/>
              <a:gd name="connsiteX14" fmla="*/ 209767 w 321227"/>
              <a:gd name="connsiteY14" fmla="*/ 80560 h 293994"/>
              <a:gd name="connsiteX15" fmla="*/ 176566 w 321227"/>
              <a:gd name="connsiteY15" fmla="*/ 42617 h 293994"/>
              <a:gd name="connsiteX16" fmla="*/ 25280 w 321227"/>
              <a:gd name="connsiteY16" fmla="*/ 39776 h 293994"/>
              <a:gd name="connsiteX17" fmla="*/ 6184 w 321227"/>
              <a:gd name="connsiteY17" fmla="*/ 24119 h 293994"/>
              <a:gd name="connsiteX18" fmla="*/ 993 w 321227"/>
              <a:gd name="connsiteY18" fmla="*/ 9831 h 293994"/>
              <a:gd name="connsiteX19" fmla="*/ 65138 w 321227"/>
              <a:gd name="connsiteY19" fmla="*/ 158 h 293994"/>
              <a:gd name="connsiteX0" fmla="*/ 64145 w 320234"/>
              <a:gd name="connsiteY0" fmla="*/ 158 h 293994"/>
              <a:gd name="connsiteX1" fmla="*/ 145256 w 320234"/>
              <a:gd name="connsiteY1" fmla="*/ 5069 h 293994"/>
              <a:gd name="connsiteX2" fmla="*/ 195262 w 320234"/>
              <a:gd name="connsiteY2" fmla="*/ 21737 h 293994"/>
              <a:gd name="connsiteX3" fmla="*/ 280987 w 320234"/>
              <a:gd name="connsiteY3" fmla="*/ 43169 h 293994"/>
              <a:gd name="connsiteX4" fmla="*/ 266700 w 320234"/>
              <a:gd name="connsiteY4" fmla="*/ 14594 h 293994"/>
              <a:gd name="connsiteX5" fmla="*/ 300782 w 320234"/>
              <a:gd name="connsiteY5" fmla="*/ 14148 h 293994"/>
              <a:gd name="connsiteX6" fmla="*/ 307102 w 320234"/>
              <a:gd name="connsiteY6" fmla="*/ 15897 h 293994"/>
              <a:gd name="connsiteX7" fmla="*/ 280709 w 320234"/>
              <a:gd name="connsiteY7" fmla="*/ 97161 h 293994"/>
              <a:gd name="connsiteX8" fmla="*/ 300471 w 320234"/>
              <a:gd name="connsiteY8" fmla="*/ 178582 h 293994"/>
              <a:gd name="connsiteX9" fmla="*/ 320234 w 320234"/>
              <a:gd name="connsiteY9" fmla="*/ 215735 h 293994"/>
              <a:gd name="connsiteX10" fmla="*/ 269642 w 320234"/>
              <a:gd name="connsiteY10" fmla="*/ 293994 h 293994"/>
              <a:gd name="connsiteX11" fmla="*/ 219841 w 320234"/>
              <a:gd name="connsiteY11" fmla="*/ 293994 h 293994"/>
              <a:gd name="connsiteX12" fmla="*/ 195335 w 320234"/>
              <a:gd name="connsiteY12" fmla="*/ 212573 h 293994"/>
              <a:gd name="connsiteX13" fmla="*/ 215888 w 320234"/>
              <a:gd name="connsiteY13" fmla="*/ 164353 h 293994"/>
              <a:gd name="connsiteX14" fmla="*/ 208774 w 320234"/>
              <a:gd name="connsiteY14" fmla="*/ 80560 h 293994"/>
              <a:gd name="connsiteX15" fmla="*/ 175573 w 320234"/>
              <a:gd name="connsiteY15" fmla="*/ 42617 h 293994"/>
              <a:gd name="connsiteX16" fmla="*/ 24287 w 320234"/>
              <a:gd name="connsiteY16" fmla="*/ 39776 h 293994"/>
              <a:gd name="connsiteX17" fmla="*/ 5191 w 320234"/>
              <a:gd name="connsiteY17" fmla="*/ 24119 h 293994"/>
              <a:gd name="connsiteX18" fmla="*/ 0 w 320234"/>
              <a:gd name="connsiteY18" fmla="*/ 9831 h 293994"/>
              <a:gd name="connsiteX19" fmla="*/ 64145 w 320234"/>
              <a:gd name="connsiteY19" fmla="*/ 158 h 293994"/>
              <a:gd name="connsiteX0" fmla="*/ 64145 w 320234"/>
              <a:gd name="connsiteY0" fmla="*/ 158 h 293994"/>
              <a:gd name="connsiteX1" fmla="*/ 145256 w 320234"/>
              <a:gd name="connsiteY1" fmla="*/ 5069 h 293994"/>
              <a:gd name="connsiteX2" fmla="*/ 195262 w 320234"/>
              <a:gd name="connsiteY2" fmla="*/ 21737 h 293994"/>
              <a:gd name="connsiteX3" fmla="*/ 280987 w 320234"/>
              <a:gd name="connsiteY3" fmla="*/ 43169 h 293994"/>
              <a:gd name="connsiteX4" fmla="*/ 266700 w 320234"/>
              <a:gd name="connsiteY4" fmla="*/ 14594 h 293994"/>
              <a:gd name="connsiteX5" fmla="*/ 300782 w 320234"/>
              <a:gd name="connsiteY5" fmla="*/ 14148 h 293994"/>
              <a:gd name="connsiteX6" fmla="*/ 307102 w 320234"/>
              <a:gd name="connsiteY6" fmla="*/ 15897 h 293994"/>
              <a:gd name="connsiteX7" fmla="*/ 280709 w 320234"/>
              <a:gd name="connsiteY7" fmla="*/ 97161 h 293994"/>
              <a:gd name="connsiteX8" fmla="*/ 300471 w 320234"/>
              <a:gd name="connsiteY8" fmla="*/ 178582 h 293994"/>
              <a:gd name="connsiteX9" fmla="*/ 320234 w 320234"/>
              <a:gd name="connsiteY9" fmla="*/ 215735 h 293994"/>
              <a:gd name="connsiteX10" fmla="*/ 269642 w 320234"/>
              <a:gd name="connsiteY10" fmla="*/ 293994 h 293994"/>
              <a:gd name="connsiteX11" fmla="*/ 219841 w 320234"/>
              <a:gd name="connsiteY11" fmla="*/ 293994 h 293994"/>
              <a:gd name="connsiteX12" fmla="*/ 195335 w 320234"/>
              <a:gd name="connsiteY12" fmla="*/ 212573 h 293994"/>
              <a:gd name="connsiteX13" fmla="*/ 215888 w 320234"/>
              <a:gd name="connsiteY13" fmla="*/ 164353 h 293994"/>
              <a:gd name="connsiteX14" fmla="*/ 208774 w 320234"/>
              <a:gd name="connsiteY14" fmla="*/ 80560 h 293994"/>
              <a:gd name="connsiteX15" fmla="*/ 175573 w 320234"/>
              <a:gd name="connsiteY15" fmla="*/ 42617 h 293994"/>
              <a:gd name="connsiteX16" fmla="*/ 24287 w 320234"/>
              <a:gd name="connsiteY16" fmla="*/ 39776 h 293994"/>
              <a:gd name="connsiteX17" fmla="*/ 5191 w 320234"/>
              <a:gd name="connsiteY17" fmla="*/ 24119 h 293994"/>
              <a:gd name="connsiteX18" fmla="*/ 0 w 320234"/>
              <a:gd name="connsiteY18" fmla="*/ 9831 h 293994"/>
              <a:gd name="connsiteX19" fmla="*/ 64145 w 320234"/>
              <a:gd name="connsiteY19" fmla="*/ 158 h 293994"/>
              <a:gd name="connsiteX0" fmla="*/ 64145 w 320234"/>
              <a:gd name="connsiteY0" fmla="*/ 0 h 293836"/>
              <a:gd name="connsiteX1" fmla="*/ 145256 w 320234"/>
              <a:gd name="connsiteY1" fmla="*/ 4911 h 293836"/>
              <a:gd name="connsiteX2" fmla="*/ 195262 w 320234"/>
              <a:gd name="connsiteY2" fmla="*/ 21579 h 293836"/>
              <a:gd name="connsiteX3" fmla="*/ 280987 w 320234"/>
              <a:gd name="connsiteY3" fmla="*/ 43011 h 293836"/>
              <a:gd name="connsiteX4" fmla="*/ 266700 w 320234"/>
              <a:gd name="connsiteY4" fmla="*/ 14436 h 293836"/>
              <a:gd name="connsiteX5" fmla="*/ 300782 w 320234"/>
              <a:gd name="connsiteY5" fmla="*/ 13990 h 293836"/>
              <a:gd name="connsiteX6" fmla="*/ 307102 w 320234"/>
              <a:gd name="connsiteY6" fmla="*/ 15739 h 293836"/>
              <a:gd name="connsiteX7" fmla="*/ 280709 w 320234"/>
              <a:gd name="connsiteY7" fmla="*/ 97003 h 293836"/>
              <a:gd name="connsiteX8" fmla="*/ 300471 w 320234"/>
              <a:gd name="connsiteY8" fmla="*/ 178424 h 293836"/>
              <a:gd name="connsiteX9" fmla="*/ 320234 w 320234"/>
              <a:gd name="connsiteY9" fmla="*/ 215577 h 293836"/>
              <a:gd name="connsiteX10" fmla="*/ 269642 w 320234"/>
              <a:gd name="connsiteY10" fmla="*/ 293836 h 293836"/>
              <a:gd name="connsiteX11" fmla="*/ 219841 w 320234"/>
              <a:gd name="connsiteY11" fmla="*/ 293836 h 293836"/>
              <a:gd name="connsiteX12" fmla="*/ 195335 w 320234"/>
              <a:gd name="connsiteY12" fmla="*/ 212415 h 293836"/>
              <a:gd name="connsiteX13" fmla="*/ 215888 w 320234"/>
              <a:gd name="connsiteY13" fmla="*/ 164195 h 293836"/>
              <a:gd name="connsiteX14" fmla="*/ 208774 w 320234"/>
              <a:gd name="connsiteY14" fmla="*/ 80402 h 293836"/>
              <a:gd name="connsiteX15" fmla="*/ 175573 w 320234"/>
              <a:gd name="connsiteY15" fmla="*/ 42459 h 293836"/>
              <a:gd name="connsiteX16" fmla="*/ 24287 w 320234"/>
              <a:gd name="connsiteY16" fmla="*/ 39618 h 293836"/>
              <a:gd name="connsiteX17" fmla="*/ 5191 w 320234"/>
              <a:gd name="connsiteY17" fmla="*/ 23961 h 293836"/>
              <a:gd name="connsiteX18" fmla="*/ 0 w 320234"/>
              <a:gd name="connsiteY18" fmla="*/ 9673 h 293836"/>
              <a:gd name="connsiteX19" fmla="*/ 64145 w 320234"/>
              <a:gd name="connsiteY19" fmla="*/ 0 h 293836"/>
              <a:gd name="connsiteX0" fmla="*/ 61213 w 317302"/>
              <a:gd name="connsiteY0" fmla="*/ 0 h 293836"/>
              <a:gd name="connsiteX1" fmla="*/ 142324 w 317302"/>
              <a:gd name="connsiteY1" fmla="*/ 4911 h 293836"/>
              <a:gd name="connsiteX2" fmla="*/ 192330 w 317302"/>
              <a:gd name="connsiteY2" fmla="*/ 21579 h 293836"/>
              <a:gd name="connsiteX3" fmla="*/ 278055 w 317302"/>
              <a:gd name="connsiteY3" fmla="*/ 43011 h 293836"/>
              <a:gd name="connsiteX4" fmla="*/ 263768 w 317302"/>
              <a:gd name="connsiteY4" fmla="*/ 14436 h 293836"/>
              <a:gd name="connsiteX5" fmla="*/ 297850 w 317302"/>
              <a:gd name="connsiteY5" fmla="*/ 13990 h 293836"/>
              <a:gd name="connsiteX6" fmla="*/ 304170 w 317302"/>
              <a:gd name="connsiteY6" fmla="*/ 15739 h 293836"/>
              <a:gd name="connsiteX7" fmla="*/ 277777 w 317302"/>
              <a:gd name="connsiteY7" fmla="*/ 97003 h 293836"/>
              <a:gd name="connsiteX8" fmla="*/ 297539 w 317302"/>
              <a:gd name="connsiteY8" fmla="*/ 178424 h 293836"/>
              <a:gd name="connsiteX9" fmla="*/ 317302 w 317302"/>
              <a:gd name="connsiteY9" fmla="*/ 215577 h 293836"/>
              <a:gd name="connsiteX10" fmla="*/ 266710 w 317302"/>
              <a:gd name="connsiteY10" fmla="*/ 293836 h 293836"/>
              <a:gd name="connsiteX11" fmla="*/ 216909 w 317302"/>
              <a:gd name="connsiteY11" fmla="*/ 293836 h 293836"/>
              <a:gd name="connsiteX12" fmla="*/ 192403 w 317302"/>
              <a:gd name="connsiteY12" fmla="*/ 212415 h 293836"/>
              <a:gd name="connsiteX13" fmla="*/ 212956 w 317302"/>
              <a:gd name="connsiteY13" fmla="*/ 164195 h 293836"/>
              <a:gd name="connsiteX14" fmla="*/ 205842 w 317302"/>
              <a:gd name="connsiteY14" fmla="*/ 80402 h 293836"/>
              <a:gd name="connsiteX15" fmla="*/ 172641 w 317302"/>
              <a:gd name="connsiteY15" fmla="*/ 42459 h 293836"/>
              <a:gd name="connsiteX16" fmla="*/ 21355 w 317302"/>
              <a:gd name="connsiteY16" fmla="*/ 39618 h 293836"/>
              <a:gd name="connsiteX17" fmla="*/ 2259 w 317302"/>
              <a:gd name="connsiteY17" fmla="*/ 23961 h 293836"/>
              <a:gd name="connsiteX18" fmla="*/ 480 w 317302"/>
              <a:gd name="connsiteY18" fmla="*/ 6261 h 293836"/>
              <a:gd name="connsiteX19" fmla="*/ 61213 w 317302"/>
              <a:gd name="connsiteY19" fmla="*/ 0 h 293836"/>
              <a:gd name="connsiteX0" fmla="*/ 61213 w 317302"/>
              <a:gd name="connsiteY0" fmla="*/ 0 h 293836"/>
              <a:gd name="connsiteX1" fmla="*/ 142324 w 317302"/>
              <a:gd name="connsiteY1" fmla="*/ 4911 h 293836"/>
              <a:gd name="connsiteX2" fmla="*/ 192330 w 317302"/>
              <a:gd name="connsiteY2" fmla="*/ 21579 h 293836"/>
              <a:gd name="connsiteX3" fmla="*/ 278055 w 317302"/>
              <a:gd name="connsiteY3" fmla="*/ 43011 h 293836"/>
              <a:gd name="connsiteX4" fmla="*/ 263768 w 317302"/>
              <a:gd name="connsiteY4" fmla="*/ 14436 h 293836"/>
              <a:gd name="connsiteX5" fmla="*/ 297850 w 317302"/>
              <a:gd name="connsiteY5" fmla="*/ 13990 h 293836"/>
              <a:gd name="connsiteX6" fmla="*/ 304170 w 317302"/>
              <a:gd name="connsiteY6" fmla="*/ 15739 h 293836"/>
              <a:gd name="connsiteX7" fmla="*/ 277777 w 317302"/>
              <a:gd name="connsiteY7" fmla="*/ 97003 h 293836"/>
              <a:gd name="connsiteX8" fmla="*/ 297539 w 317302"/>
              <a:gd name="connsiteY8" fmla="*/ 178424 h 293836"/>
              <a:gd name="connsiteX9" fmla="*/ 317302 w 317302"/>
              <a:gd name="connsiteY9" fmla="*/ 215577 h 293836"/>
              <a:gd name="connsiteX10" fmla="*/ 266710 w 317302"/>
              <a:gd name="connsiteY10" fmla="*/ 293836 h 293836"/>
              <a:gd name="connsiteX11" fmla="*/ 216909 w 317302"/>
              <a:gd name="connsiteY11" fmla="*/ 293836 h 293836"/>
              <a:gd name="connsiteX12" fmla="*/ 192403 w 317302"/>
              <a:gd name="connsiteY12" fmla="*/ 212415 h 293836"/>
              <a:gd name="connsiteX13" fmla="*/ 212956 w 317302"/>
              <a:gd name="connsiteY13" fmla="*/ 164195 h 293836"/>
              <a:gd name="connsiteX14" fmla="*/ 205842 w 317302"/>
              <a:gd name="connsiteY14" fmla="*/ 80402 h 293836"/>
              <a:gd name="connsiteX15" fmla="*/ 172641 w 317302"/>
              <a:gd name="connsiteY15" fmla="*/ 42459 h 293836"/>
              <a:gd name="connsiteX16" fmla="*/ 21355 w 317302"/>
              <a:gd name="connsiteY16" fmla="*/ 39618 h 293836"/>
              <a:gd name="connsiteX17" fmla="*/ 2259 w 317302"/>
              <a:gd name="connsiteY17" fmla="*/ 23961 h 293836"/>
              <a:gd name="connsiteX18" fmla="*/ 480 w 317302"/>
              <a:gd name="connsiteY18" fmla="*/ 6261 h 293836"/>
              <a:gd name="connsiteX19" fmla="*/ 61213 w 317302"/>
              <a:gd name="connsiteY19" fmla="*/ 0 h 293836"/>
              <a:gd name="connsiteX0" fmla="*/ 61213 w 317302"/>
              <a:gd name="connsiteY0" fmla="*/ 0 h 293836"/>
              <a:gd name="connsiteX1" fmla="*/ 142324 w 317302"/>
              <a:gd name="connsiteY1" fmla="*/ 4911 h 293836"/>
              <a:gd name="connsiteX2" fmla="*/ 192330 w 317302"/>
              <a:gd name="connsiteY2" fmla="*/ 21579 h 293836"/>
              <a:gd name="connsiteX3" fmla="*/ 278055 w 317302"/>
              <a:gd name="connsiteY3" fmla="*/ 43011 h 293836"/>
              <a:gd name="connsiteX4" fmla="*/ 263768 w 317302"/>
              <a:gd name="connsiteY4" fmla="*/ 14436 h 293836"/>
              <a:gd name="connsiteX5" fmla="*/ 297850 w 317302"/>
              <a:gd name="connsiteY5" fmla="*/ 13990 h 293836"/>
              <a:gd name="connsiteX6" fmla="*/ 304170 w 317302"/>
              <a:gd name="connsiteY6" fmla="*/ 15739 h 293836"/>
              <a:gd name="connsiteX7" fmla="*/ 277777 w 317302"/>
              <a:gd name="connsiteY7" fmla="*/ 97003 h 293836"/>
              <a:gd name="connsiteX8" fmla="*/ 297539 w 317302"/>
              <a:gd name="connsiteY8" fmla="*/ 178424 h 293836"/>
              <a:gd name="connsiteX9" fmla="*/ 317302 w 317302"/>
              <a:gd name="connsiteY9" fmla="*/ 215577 h 293836"/>
              <a:gd name="connsiteX10" fmla="*/ 266710 w 317302"/>
              <a:gd name="connsiteY10" fmla="*/ 293836 h 293836"/>
              <a:gd name="connsiteX11" fmla="*/ 216909 w 317302"/>
              <a:gd name="connsiteY11" fmla="*/ 293836 h 293836"/>
              <a:gd name="connsiteX12" fmla="*/ 192403 w 317302"/>
              <a:gd name="connsiteY12" fmla="*/ 212415 h 293836"/>
              <a:gd name="connsiteX13" fmla="*/ 212956 w 317302"/>
              <a:gd name="connsiteY13" fmla="*/ 164195 h 293836"/>
              <a:gd name="connsiteX14" fmla="*/ 205842 w 317302"/>
              <a:gd name="connsiteY14" fmla="*/ 80402 h 293836"/>
              <a:gd name="connsiteX15" fmla="*/ 172641 w 317302"/>
              <a:gd name="connsiteY15" fmla="*/ 42459 h 293836"/>
              <a:gd name="connsiteX16" fmla="*/ 21355 w 317302"/>
              <a:gd name="connsiteY16" fmla="*/ 39618 h 293836"/>
              <a:gd name="connsiteX17" fmla="*/ 2259 w 317302"/>
              <a:gd name="connsiteY17" fmla="*/ 23961 h 293836"/>
              <a:gd name="connsiteX18" fmla="*/ 480 w 317302"/>
              <a:gd name="connsiteY18" fmla="*/ 1995 h 293836"/>
              <a:gd name="connsiteX19" fmla="*/ 61213 w 317302"/>
              <a:gd name="connsiteY19" fmla="*/ 0 h 29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7302" h="293836">
                <a:moveTo>
                  <a:pt x="61213" y="0"/>
                </a:moveTo>
                <a:cubicBezTo>
                  <a:pt x="92219" y="744"/>
                  <a:pt x="126052" y="3919"/>
                  <a:pt x="142324" y="4911"/>
                </a:cubicBezTo>
                <a:cubicBezTo>
                  <a:pt x="174868" y="6895"/>
                  <a:pt x="169708" y="15229"/>
                  <a:pt x="192330" y="21579"/>
                </a:cubicBezTo>
                <a:cubicBezTo>
                  <a:pt x="214952" y="27929"/>
                  <a:pt x="266149" y="44201"/>
                  <a:pt x="278055" y="43011"/>
                </a:cubicBezTo>
                <a:cubicBezTo>
                  <a:pt x="289961" y="41821"/>
                  <a:pt x="253449" y="15627"/>
                  <a:pt x="263768" y="14436"/>
                </a:cubicBezTo>
                <a:cubicBezTo>
                  <a:pt x="268928" y="13841"/>
                  <a:pt x="282719" y="12055"/>
                  <a:pt x="297850" y="13990"/>
                </a:cubicBezTo>
                <a:lnTo>
                  <a:pt x="304170" y="15739"/>
                </a:lnTo>
                <a:lnTo>
                  <a:pt x="277777" y="97003"/>
                </a:lnTo>
                <a:lnTo>
                  <a:pt x="297539" y="178424"/>
                </a:lnTo>
                <a:lnTo>
                  <a:pt x="317302" y="215577"/>
                </a:lnTo>
                <a:lnTo>
                  <a:pt x="266710" y="293836"/>
                </a:lnTo>
                <a:lnTo>
                  <a:pt x="216909" y="293836"/>
                </a:lnTo>
                <a:lnTo>
                  <a:pt x="192403" y="212415"/>
                </a:lnTo>
                <a:lnTo>
                  <a:pt x="212956" y="164195"/>
                </a:lnTo>
                <a:lnTo>
                  <a:pt x="205842" y="80402"/>
                </a:lnTo>
                <a:lnTo>
                  <a:pt x="172641" y="42459"/>
                </a:lnTo>
                <a:lnTo>
                  <a:pt x="21355" y="39618"/>
                </a:lnTo>
                <a:lnTo>
                  <a:pt x="2259" y="23961"/>
                </a:lnTo>
                <a:cubicBezTo>
                  <a:pt x="-3081" y="18603"/>
                  <a:pt x="3075" y="9139"/>
                  <a:pt x="480" y="1995"/>
                </a:cubicBezTo>
                <a:cubicBezTo>
                  <a:pt x="48093" y="-765"/>
                  <a:pt x="29354" y="1814"/>
                  <a:pt x="61213" y="0"/>
                </a:cubicBezTo>
                <a:close/>
              </a:path>
            </a:pathLst>
          </a:custGeom>
          <a:solidFill>
            <a:srgbClr val="3C8C93"/>
          </a:solidFill>
          <a:ln>
            <a:noFill/>
          </a:ln>
        </p:spPr>
        <p:txBody>
          <a:bodyPr vert="horz" wrap="square" lIns="91440" tIns="45720" rIns="91440" bIns="45720" numCol="1" anchor="t" anchorCtr="0" compatLnSpc="1">
            <a:prstTxWarp prst="textNoShape">
              <a:avLst/>
            </a:prstTxWarp>
            <a:noAutofit/>
          </a:bodyPr>
          <a:lstStyle/>
          <a:p>
            <a:endParaRPr lang="en-US"/>
          </a:p>
        </p:txBody>
      </p:sp>
      <p:cxnSp>
        <p:nvCxnSpPr>
          <p:cNvPr id="504" name="Straight Connector 503">
            <a:extLst>
              <a:ext uri="{FF2B5EF4-FFF2-40B4-BE49-F238E27FC236}">
                <a16:creationId xmlns:a16="http://schemas.microsoft.com/office/drawing/2014/main" id="{EACC93A8-FDC9-F684-A19D-98C0253CD412}"/>
              </a:ext>
            </a:extLst>
          </p:cNvPr>
          <p:cNvCxnSpPr>
            <a:cxnSpLocks/>
          </p:cNvCxnSpPr>
          <p:nvPr/>
        </p:nvCxnSpPr>
        <p:spPr>
          <a:xfrm>
            <a:off x="703323" y="4616979"/>
            <a:ext cx="187272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501" name="Picture 1025">
            <a:extLst>
              <a:ext uri="{FF2B5EF4-FFF2-40B4-BE49-F238E27FC236}">
                <a16:creationId xmlns:a16="http://schemas.microsoft.com/office/drawing/2014/main" id="{357ED1E0-697A-922F-2DB0-4A149F21603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2576" r="34800"/>
          <a:stretch/>
        </p:blipFill>
        <p:spPr bwMode="auto">
          <a:xfrm>
            <a:off x="686132" y="3607344"/>
            <a:ext cx="416422" cy="416422"/>
          </a:xfrm>
          <a:prstGeom prst="ellipse">
            <a:avLst/>
          </a:prstGeom>
          <a:noFill/>
          <a:extLst>
            <a:ext uri="{909E8E84-426E-40DD-AFC4-6F175D3DCCD1}">
              <a14:hiddenFill xmlns:a14="http://schemas.microsoft.com/office/drawing/2010/main">
                <a:solidFill>
                  <a:srgbClr val="FFFFFF"/>
                </a:solidFill>
              </a14:hiddenFill>
            </a:ext>
          </a:extLst>
        </p:spPr>
      </p:pic>
      <p:sp>
        <p:nvSpPr>
          <p:cNvPr id="505" name="TextBox 504">
            <a:extLst>
              <a:ext uri="{FF2B5EF4-FFF2-40B4-BE49-F238E27FC236}">
                <a16:creationId xmlns:a16="http://schemas.microsoft.com/office/drawing/2014/main" id="{3D2E1232-B6B6-209F-AE13-F87385DE935A}"/>
              </a:ext>
            </a:extLst>
          </p:cNvPr>
          <p:cNvSpPr txBox="1"/>
          <p:nvPr/>
        </p:nvSpPr>
        <p:spPr>
          <a:xfrm>
            <a:off x="1189832" y="3600112"/>
            <a:ext cx="1094248" cy="430887"/>
          </a:xfrm>
          <a:prstGeom prst="rect">
            <a:avLst/>
          </a:prstGeom>
          <a:noFill/>
        </p:spPr>
        <p:txBody>
          <a:bodyPr wrap="square" lIns="0" tIns="0" rIns="0" bIns="0" rtlCol="0">
            <a:spAutoFit/>
          </a:bodyPr>
          <a:lstStyle/>
          <a:p>
            <a:r>
              <a:rPr lang="en-US" sz="1400" b="1" dirty="0">
                <a:latin typeface="+mj-lt"/>
              </a:rPr>
              <a:t>Florida,</a:t>
            </a:r>
            <a:br>
              <a:rPr lang="en-US" sz="1400" b="1" dirty="0">
                <a:latin typeface="+mj-lt"/>
              </a:rPr>
            </a:br>
            <a:r>
              <a:rPr lang="en-US" sz="1400" b="1" dirty="0">
                <a:latin typeface="+mj-lt"/>
              </a:rPr>
              <a:t>USA</a:t>
            </a:r>
          </a:p>
        </p:txBody>
      </p:sp>
      <p:cxnSp>
        <p:nvCxnSpPr>
          <p:cNvPr id="506" name="Straight Connector 505">
            <a:extLst>
              <a:ext uri="{FF2B5EF4-FFF2-40B4-BE49-F238E27FC236}">
                <a16:creationId xmlns:a16="http://schemas.microsoft.com/office/drawing/2014/main" id="{9F5B2FDA-A0D2-8CAB-AC00-EAD02D32240C}"/>
              </a:ext>
            </a:extLst>
          </p:cNvPr>
          <p:cNvCxnSpPr>
            <a:cxnSpLocks/>
          </p:cNvCxnSpPr>
          <p:nvPr/>
        </p:nvCxnSpPr>
        <p:spPr>
          <a:xfrm>
            <a:off x="2047082" y="3815555"/>
            <a:ext cx="1843881" cy="0"/>
          </a:xfrm>
          <a:prstGeom prst="line">
            <a:avLst/>
          </a:prstGeom>
          <a:ln>
            <a:solidFill>
              <a:srgbClr val="3C8C93"/>
            </a:solidFill>
            <a:headEnd type="oval"/>
          </a:ln>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82693CEB-393F-1C7E-0DD8-DF56F1997B77}"/>
              </a:ext>
            </a:extLst>
          </p:cNvPr>
          <p:cNvCxnSpPr>
            <a:cxnSpLocks/>
          </p:cNvCxnSpPr>
          <p:nvPr/>
        </p:nvCxnSpPr>
        <p:spPr>
          <a:xfrm>
            <a:off x="3890567" y="3710384"/>
            <a:ext cx="0" cy="109141"/>
          </a:xfrm>
          <a:prstGeom prst="line">
            <a:avLst/>
          </a:prstGeom>
          <a:ln>
            <a:solidFill>
              <a:srgbClr val="3C8C93"/>
            </a:solidFill>
            <a:headEnd type="none"/>
          </a:ln>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E992A044-BB4F-BF49-1858-E17952EE4FDA}"/>
              </a:ext>
            </a:extLst>
          </p:cNvPr>
          <p:cNvCxnSpPr>
            <a:cxnSpLocks/>
          </p:cNvCxnSpPr>
          <p:nvPr/>
        </p:nvCxnSpPr>
        <p:spPr>
          <a:xfrm>
            <a:off x="4400550" y="2835009"/>
            <a:ext cx="1676400" cy="0"/>
          </a:xfrm>
          <a:prstGeom prst="line">
            <a:avLst/>
          </a:prstGeom>
          <a:ln>
            <a:solidFill>
              <a:srgbClr val="FF0000"/>
            </a:solidFill>
            <a:headEnd type="none"/>
          </a:ln>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BC97B3F1-7298-9789-2E4A-987F1A59D181}"/>
              </a:ext>
            </a:extLst>
          </p:cNvPr>
          <p:cNvCxnSpPr>
            <a:cxnSpLocks/>
          </p:cNvCxnSpPr>
          <p:nvPr/>
        </p:nvCxnSpPr>
        <p:spPr>
          <a:xfrm>
            <a:off x="4394200" y="2209799"/>
            <a:ext cx="0" cy="623889"/>
          </a:xfrm>
          <a:prstGeom prst="line">
            <a:avLst/>
          </a:prstGeom>
          <a:ln>
            <a:solidFill>
              <a:srgbClr val="FF0000"/>
            </a:solidFill>
            <a:headEnd type="none"/>
          </a:ln>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8D37D84D-37D7-6637-730E-8F0D97E27C8E}"/>
              </a:ext>
            </a:extLst>
          </p:cNvPr>
          <p:cNvCxnSpPr>
            <a:cxnSpLocks/>
          </p:cNvCxnSpPr>
          <p:nvPr/>
        </p:nvCxnSpPr>
        <p:spPr>
          <a:xfrm>
            <a:off x="4006391" y="4893469"/>
            <a:ext cx="0" cy="531019"/>
          </a:xfrm>
          <a:prstGeom prst="line">
            <a:avLst/>
          </a:prstGeom>
          <a:ln>
            <a:solidFill>
              <a:srgbClr val="EF95A0"/>
            </a:solidFill>
            <a:head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27818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6</a:t>
            </a:fld>
            <a:endParaRPr lang="en-US"/>
          </a:p>
        </p:txBody>
      </p:sp>
      <p:sp>
        <p:nvSpPr>
          <p:cNvPr id="49" name="TextBox 48">
            <a:extLst>
              <a:ext uri="{FF2B5EF4-FFF2-40B4-BE49-F238E27FC236}">
                <a16:creationId xmlns:a16="http://schemas.microsoft.com/office/drawing/2014/main" id="{BFBEE536-15E8-4AEB-9601-528D20F19BCD}"/>
              </a:ext>
            </a:extLst>
          </p:cNvPr>
          <p:cNvSpPr txBox="1"/>
          <p:nvPr/>
        </p:nvSpPr>
        <p:spPr>
          <a:xfrm>
            <a:off x="2476733" y="758575"/>
            <a:ext cx="3341612" cy="1323439"/>
          </a:xfrm>
          <a:prstGeom prst="rect">
            <a:avLst/>
          </a:prstGeom>
          <a:noFill/>
        </p:spPr>
        <p:txBody>
          <a:bodyPr wrap="square" rtlCol="0" anchor="ctr">
            <a:spAutoFit/>
          </a:bodyPr>
          <a:lstStyle/>
          <a:p>
            <a:pPr algn="ctr"/>
            <a:r>
              <a:rPr lang="en-US" sz="4000" dirty="0">
                <a:latin typeface="+mj-lt"/>
              </a:rPr>
              <a:t>IMPACT </a:t>
            </a:r>
          </a:p>
          <a:p>
            <a:pPr algn="ctr"/>
            <a:r>
              <a:rPr lang="en-US" sz="4000" dirty="0">
                <a:latin typeface="+mj-lt"/>
              </a:rPr>
              <a:t>ACTIVITIES</a:t>
            </a:r>
          </a:p>
        </p:txBody>
      </p:sp>
      <p:sp>
        <p:nvSpPr>
          <p:cNvPr id="57" name="Freeform 5">
            <a:extLst>
              <a:ext uri="{FF2B5EF4-FFF2-40B4-BE49-F238E27FC236}">
                <a16:creationId xmlns:a16="http://schemas.microsoft.com/office/drawing/2014/main" id="{36E76328-72C9-4B9D-8CE0-A57CC641427E}"/>
              </a:ext>
            </a:extLst>
          </p:cNvPr>
          <p:cNvSpPr>
            <a:spLocks/>
          </p:cNvSpPr>
          <p:nvPr/>
        </p:nvSpPr>
        <p:spPr bwMode="auto">
          <a:xfrm>
            <a:off x="7258661" y="1721342"/>
            <a:ext cx="1442426" cy="1511459"/>
          </a:xfrm>
          <a:custGeom>
            <a:avLst/>
            <a:gdLst>
              <a:gd name="T0" fmla="*/ 0 w 103"/>
              <a:gd name="T1" fmla="*/ 58 h 108"/>
              <a:gd name="T2" fmla="*/ 58 w 103"/>
              <a:gd name="T3" fmla="*/ 0 h 108"/>
              <a:gd name="T4" fmla="*/ 103 w 103"/>
              <a:gd name="T5" fmla="*/ 108 h 108"/>
              <a:gd name="T6" fmla="*/ 21 w 103"/>
              <a:gd name="T7" fmla="*/ 108 h 108"/>
              <a:gd name="T8" fmla="*/ 0 w 103"/>
              <a:gd name="T9" fmla="*/ 58 h 108"/>
            </a:gdLst>
            <a:ahLst/>
            <a:cxnLst>
              <a:cxn ang="0">
                <a:pos x="T0" y="T1"/>
              </a:cxn>
              <a:cxn ang="0">
                <a:pos x="T2" y="T3"/>
              </a:cxn>
              <a:cxn ang="0">
                <a:pos x="T4" y="T5"/>
              </a:cxn>
              <a:cxn ang="0">
                <a:pos x="T6" y="T7"/>
              </a:cxn>
              <a:cxn ang="0">
                <a:pos x="T8" y="T9"/>
              </a:cxn>
            </a:cxnLst>
            <a:rect l="0" t="0" r="r" b="b"/>
            <a:pathLst>
              <a:path w="103" h="108">
                <a:moveTo>
                  <a:pt x="0" y="58"/>
                </a:moveTo>
                <a:cubicBezTo>
                  <a:pt x="58" y="0"/>
                  <a:pt x="58" y="0"/>
                  <a:pt x="58" y="0"/>
                </a:cubicBezTo>
                <a:cubicBezTo>
                  <a:pt x="84" y="29"/>
                  <a:pt x="100" y="67"/>
                  <a:pt x="103" y="108"/>
                </a:cubicBezTo>
                <a:cubicBezTo>
                  <a:pt x="21" y="108"/>
                  <a:pt x="21" y="108"/>
                  <a:pt x="21" y="108"/>
                </a:cubicBezTo>
                <a:cubicBezTo>
                  <a:pt x="18" y="90"/>
                  <a:pt x="11" y="73"/>
                  <a:pt x="0" y="58"/>
                </a:cubicBezTo>
                <a:close/>
              </a:path>
            </a:pathLst>
          </a:custGeom>
          <a:solidFill>
            <a:schemeClr val="accent3">
              <a:lumMod val="60000"/>
              <a:lumOff val="40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6">
            <a:extLst>
              <a:ext uri="{FF2B5EF4-FFF2-40B4-BE49-F238E27FC236}">
                <a16:creationId xmlns:a16="http://schemas.microsoft.com/office/drawing/2014/main" id="{99B30E6E-5BB6-4C4B-87C3-64DCFDD00C5A}"/>
              </a:ext>
            </a:extLst>
          </p:cNvPr>
          <p:cNvSpPr>
            <a:spLocks/>
          </p:cNvSpPr>
          <p:nvPr/>
        </p:nvSpPr>
        <p:spPr bwMode="auto">
          <a:xfrm>
            <a:off x="7258661" y="3610666"/>
            <a:ext cx="1442426" cy="1527810"/>
          </a:xfrm>
          <a:custGeom>
            <a:avLst/>
            <a:gdLst>
              <a:gd name="T0" fmla="*/ 21 w 103"/>
              <a:gd name="T1" fmla="*/ 0 h 109"/>
              <a:gd name="T2" fmla="*/ 103 w 103"/>
              <a:gd name="T3" fmla="*/ 0 h 109"/>
              <a:gd name="T4" fmla="*/ 58 w 103"/>
              <a:gd name="T5" fmla="*/ 109 h 109"/>
              <a:gd name="T6" fmla="*/ 0 w 103"/>
              <a:gd name="T7" fmla="*/ 51 h 109"/>
              <a:gd name="T8" fmla="*/ 21 w 103"/>
              <a:gd name="T9" fmla="*/ 0 h 109"/>
            </a:gdLst>
            <a:ahLst/>
            <a:cxnLst>
              <a:cxn ang="0">
                <a:pos x="T0" y="T1"/>
              </a:cxn>
              <a:cxn ang="0">
                <a:pos x="T2" y="T3"/>
              </a:cxn>
              <a:cxn ang="0">
                <a:pos x="T4" y="T5"/>
              </a:cxn>
              <a:cxn ang="0">
                <a:pos x="T6" y="T7"/>
              </a:cxn>
              <a:cxn ang="0">
                <a:pos x="T8" y="T9"/>
              </a:cxn>
            </a:cxnLst>
            <a:rect l="0" t="0" r="r" b="b"/>
            <a:pathLst>
              <a:path w="103" h="109">
                <a:moveTo>
                  <a:pt x="21" y="0"/>
                </a:moveTo>
                <a:cubicBezTo>
                  <a:pt x="103" y="0"/>
                  <a:pt x="103" y="0"/>
                  <a:pt x="103" y="0"/>
                </a:cubicBezTo>
                <a:cubicBezTo>
                  <a:pt x="100" y="42"/>
                  <a:pt x="84" y="79"/>
                  <a:pt x="58" y="109"/>
                </a:cubicBezTo>
                <a:cubicBezTo>
                  <a:pt x="0" y="51"/>
                  <a:pt x="0" y="51"/>
                  <a:pt x="0" y="51"/>
                </a:cubicBezTo>
                <a:cubicBezTo>
                  <a:pt x="11" y="36"/>
                  <a:pt x="18" y="19"/>
                  <a:pt x="21" y="0"/>
                </a:cubicBezTo>
                <a:close/>
              </a:path>
            </a:pathLst>
          </a:custGeom>
          <a:solidFill>
            <a:schemeClr val="accent1">
              <a:lumMod val="90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7">
            <a:extLst>
              <a:ext uri="{FF2B5EF4-FFF2-40B4-BE49-F238E27FC236}">
                <a16:creationId xmlns:a16="http://schemas.microsoft.com/office/drawing/2014/main" id="{D3F11AAF-8333-456A-8917-E09B48A8FB94}"/>
              </a:ext>
            </a:extLst>
          </p:cNvPr>
          <p:cNvSpPr>
            <a:spLocks/>
          </p:cNvSpPr>
          <p:nvPr/>
        </p:nvSpPr>
        <p:spPr bwMode="auto">
          <a:xfrm>
            <a:off x="6292199" y="823913"/>
            <a:ext cx="1513276" cy="1442426"/>
          </a:xfrm>
          <a:custGeom>
            <a:avLst/>
            <a:gdLst>
              <a:gd name="T0" fmla="*/ 0 w 108"/>
              <a:gd name="T1" fmla="*/ 82 h 103"/>
              <a:gd name="T2" fmla="*/ 0 w 108"/>
              <a:gd name="T3" fmla="*/ 0 h 103"/>
              <a:gd name="T4" fmla="*/ 108 w 108"/>
              <a:gd name="T5" fmla="*/ 45 h 103"/>
              <a:gd name="T6" fmla="*/ 50 w 108"/>
              <a:gd name="T7" fmla="*/ 103 h 103"/>
              <a:gd name="T8" fmla="*/ 0 w 108"/>
              <a:gd name="T9" fmla="*/ 82 h 103"/>
            </a:gdLst>
            <a:ahLst/>
            <a:cxnLst>
              <a:cxn ang="0">
                <a:pos x="T0" y="T1"/>
              </a:cxn>
              <a:cxn ang="0">
                <a:pos x="T2" y="T3"/>
              </a:cxn>
              <a:cxn ang="0">
                <a:pos x="T4" y="T5"/>
              </a:cxn>
              <a:cxn ang="0">
                <a:pos x="T6" y="T7"/>
              </a:cxn>
              <a:cxn ang="0">
                <a:pos x="T8" y="T9"/>
              </a:cxn>
            </a:cxnLst>
            <a:rect l="0" t="0" r="r" b="b"/>
            <a:pathLst>
              <a:path w="108" h="103">
                <a:moveTo>
                  <a:pt x="0" y="82"/>
                </a:moveTo>
                <a:cubicBezTo>
                  <a:pt x="0" y="0"/>
                  <a:pt x="0" y="0"/>
                  <a:pt x="0" y="0"/>
                </a:cubicBezTo>
                <a:cubicBezTo>
                  <a:pt x="41" y="3"/>
                  <a:pt x="79" y="19"/>
                  <a:pt x="108" y="45"/>
                </a:cubicBezTo>
                <a:cubicBezTo>
                  <a:pt x="50" y="103"/>
                  <a:pt x="50" y="103"/>
                  <a:pt x="50" y="103"/>
                </a:cubicBezTo>
                <a:cubicBezTo>
                  <a:pt x="36" y="92"/>
                  <a:pt x="18" y="85"/>
                  <a:pt x="0" y="82"/>
                </a:cubicBezTo>
                <a:close/>
              </a:path>
            </a:pathLst>
          </a:custGeom>
          <a:solidFill>
            <a:schemeClr val="accent1">
              <a:lumMod val="90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8">
            <a:extLst>
              <a:ext uri="{FF2B5EF4-FFF2-40B4-BE49-F238E27FC236}">
                <a16:creationId xmlns:a16="http://schemas.microsoft.com/office/drawing/2014/main" id="{5E26CB43-D01F-48D4-9844-7A18195394D0}"/>
              </a:ext>
            </a:extLst>
          </p:cNvPr>
          <p:cNvSpPr>
            <a:spLocks/>
          </p:cNvSpPr>
          <p:nvPr/>
        </p:nvSpPr>
        <p:spPr bwMode="auto">
          <a:xfrm>
            <a:off x="3490913" y="3610666"/>
            <a:ext cx="1442426" cy="1527810"/>
          </a:xfrm>
          <a:custGeom>
            <a:avLst/>
            <a:gdLst>
              <a:gd name="T0" fmla="*/ 103 w 103"/>
              <a:gd name="T1" fmla="*/ 51 h 109"/>
              <a:gd name="T2" fmla="*/ 45 w 103"/>
              <a:gd name="T3" fmla="*/ 109 h 109"/>
              <a:gd name="T4" fmla="*/ 0 w 103"/>
              <a:gd name="T5" fmla="*/ 0 h 109"/>
              <a:gd name="T6" fmla="*/ 83 w 103"/>
              <a:gd name="T7" fmla="*/ 0 h 109"/>
              <a:gd name="T8" fmla="*/ 103 w 103"/>
              <a:gd name="T9" fmla="*/ 51 h 109"/>
            </a:gdLst>
            <a:ahLst/>
            <a:cxnLst>
              <a:cxn ang="0">
                <a:pos x="T0" y="T1"/>
              </a:cxn>
              <a:cxn ang="0">
                <a:pos x="T2" y="T3"/>
              </a:cxn>
              <a:cxn ang="0">
                <a:pos x="T4" y="T5"/>
              </a:cxn>
              <a:cxn ang="0">
                <a:pos x="T6" y="T7"/>
              </a:cxn>
              <a:cxn ang="0">
                <a:pos x="T8" y="T9"/>
              </a:cxn>
            </a:cxnLst>
            <a:rect l="0" t="0" r="r" b="b"/>
            <a:pathLst>
              <a:path w="103" h="109">
                <a:moveTo>
                  <a:pt x="103" y="51"/>
                </a:moveTo>
                <a:cubicBezTo>
                  <a:pt x="45" y="109"/>
                  <a:pt x="45" y="109"/>
                  <a:pt x="45" y="109"/>
                </a:cubicBezTo>
                <a:cubicBezTo>
                  <a:pt x="20" y="79"/>
                  <a:pt x="3" y="42"/>
                  <a:pt x="0" y="0"/>
                </a:cubicBezTo>
                <a:cubicBezTo>
                  <a:pt x="83" y="0"/>
                  <a:pt x="83" y="0"/>
                  <a:pt x="83" y="0"/>
                </a:cubicBezTo>
                <a:cubicBezTo>
                  <a:pt x="85" y="19"/>
                  <a:pt x="92" y="36"/>
                  <a:pt x="103" y="51"/>
                </a:cubicBezTo>
                <a:close/>
              </a:path>
            </a:pathLst>
          </a:custGeom>
          <a:solidFill>
            <a:schemeClr val="accent3">
              <a:lumMod val="60000"/>
              <a:lumOff val="40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11">
            <a:extLst>
              <a:ext uri="{FF2B5EF4-FFF2-40B4-BE49-F238E27FC236}">
                <a16:creationId xmlns:a16="http://schemas.microsoft.com/office/drawing/2014/main" id="{612C8F94-2844-4771-88D2-3C2381E271F7}"/>
              </a:ext>
            </a:extLst>
          </p:cNvPr>
          <p:cNvSpPr>
            <a:spLocks/>
          </p:cNvSpPr>
          <p:nvPr/>
        </p:nvSpPr>
        <p:spPr bwMode="auto">
          <a:xfrm>
            <a:off x="4388342" y="4591661"/>
            <a:ext cx="1525992" cy="1442426"/>
          </a:xfrm>
          <a:custGeom>
            <a:avLst/>
            <a:gdLst>
              <a:gd name="T0" fmla="*/ 109 w 109"/>
              <a:gd name="T1" fmla="*/ 20 h 103"/>
              <a:gd name="T2" fmla="*/ 109 w 109"/>
              <a:gd name="T3" fmla="*/ 103 h 103"/>
              <a:gd name="T4" fmla="*/ 0 w 109"/>
              <a:gd name="T5" fmla="*/ 58 h 103"/>
              <a:gd name="T6" fmla="*/ 58 w 109"/>
              <a:gd name="T7" fmla="*/ 0 h 103"/>
              <a:gd name="T8" fmla="*/ 109 w 109"/>
              <a:gd name="T9" fmla="*/ 20 h 103"/>
            </a:gdLst>
            <a:ahLst/>
            <a:cxnLst>
              <a:cxn ang="0">
                <a:pos x="T0" y="T1"/>
              </a:cxn>
              <a:cxn ang="0">
                <a:pos x="T2" y="T3"/>
              </a:cxn>
              <a:cxn ang="0">
                <a:pos x="T4" y="T5"/>
              </a:cxn>
              <a:cxn ang="0">
                <a:pos x="T6" y="T7"/>
              </a:cxn>
              <a:cxn ang="0">
                <a:pos x="T8" y="T9"/>
              </a:cxn>
            </a:cxnLst>
            <a:rect l="0" t="0" r="r" b="b"/>
            <a:pathLst>
              <a:path w="109" h="103">
                <a:moveTo>
                  <a:pt x="109" y="20"/>
                </a:moveTo>
                <a:cubicBezTo>
                  <a:pt x="109" y="103"/>
                  <a:pt x="109" y="103"/>
                  <a:pt x="109" y="103"/>
                </a:cubicBezTo>
                <a:cubicBezTo>
                  <a:pt x="67" y="100"/>
                  <a:pt x="30" y="83"/>
                  <a:pt x="0" y="58"/>
                </a:cubicBezTo>
                <a:cubicBezTo>
                  <a:pt x="58" y="0"/>
                  <a:pt x="58" y="0"/>
                  <a:pt x="58" y="0"/>
                </a:cubicBezTo>
                <a:cubicBezTo>
                  <a:pt x="73" y="11"/>
                  <a:pt x="90" y="18"/>
                  <a:pt x="109" y="20"/>
                </a:cubicBezTo>
                <a:close/>
              </a:path>
            </a:pathLst>
          </a:custGeom>
          <a:solidFill>
            <a:schemeClr val="accent1">
              <a:lumMod val="90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12">
            <a:extLst>
              <a:ext uri="{FF2B5EF4-FFF2-40B4-BE49-F238E27FC236}">
                <a16:creationId xmlns:a16="http://schemas.microsoft.com/office/drawing/2014/main" id="{3DF4FBAC-E327-4188-9A1E-4B22ABF33630}"/>
              </a:ext>
            </a:extLst>
          </p:cNvPr>
          <p:cNvSpPr>
            <a:spLocks/>
          </p:cNvSpPr>
          <p:nvPr/>
        </p:nvSpPr>
        <p:spPr bwMode="auto">
          <a:xfrm>
            <a:off x="6292199" y="4591661"/>
            <a:ext cx="1513276" cy="1442426"/>
          </a:xfrm>
          <a:custGeom>
            <a:avLst/>
            <a:gdLst>
              <a:gd name="T0" fmla="*/ 50 w 108"/>
              <a:gd name="T1" fmla="*/ 0 h 103"/>
              <a:gd name="T2" fmla="*/ 108 w 108"/>
              <a:gd name="T3" fmla="*/ 58 h 103"/>
              <a:gd name="T4" fmla="*/ 0 w 108"/>
              <a:gd name="T5" fmla="*/ 103 h 103"/>
              <a:gd name="T6" fmla="*/ 0 w 108"/>
              <a:gd name="T7" fmla="*/ 20 h 103"/>
              <a:gd name="T8" fmla="*/ 50 w 108"/>
              <a:gd name="T9" fmla="*/ 0 h 103"/>
            </a:gdLst>
            <a:ahLst/>
            <a:cxnLst>
              <a:cxn ang="0">
                <a:pos x="T0" y="T1"/>
              </a:cxn>
              <a:cxn ang="0">
                <a:pos x="T2" y="T3"/>
              </a:cxn>
              <a:cxn ang="0">
                <a:pos x="T4" y="T5"/>
              </a:cxn>
              <a:cxn ang="0">
                <a:pos x="T6" y="T7"/>
              </a:cxn>
              <a:cxn ang="0">
                <a:pos x="T8" y="T9"/>
              </a:cxn>
            </a:cxnLst>
            <a:rect l="0" t="0" r="r" b="b"/>
            <a:pathLst>
              <a:path w="108" h="103">
                <a:moveTo>
                  <a:pt x="50" y="0"/>
                </a:moveTo>
                <a:cubicBezTo>
                  <a:pt x="108" y="58"/>
                  <a:pt x="108" y="58"/>
                  <a:pt x="108" y="58"/>
                </a:cubicBezTo>
                <a:cubicBezTo>
                  <a:pt x="79" y="83"/>
                  <a:pt x="41" y="100"/>
                  <a:pt x="0" y="103"/>
                </a:cubicBezTo>
                <a:cubicBezTo>
                  <a:pt x="0" y="20"/>
                  <a:pt x="0" y="20"/>
                  <a:pt x="0" y="20"/>
                </a:cubicBezTo>
                <a:cubicBezTo>
                  <a:pt x="18" y="18"/>
                  <a:pt x="36" y="11"/>
                  <a:pt x="50" y="0"/>
                </a:cubicBezTo>
                <a:close/>
              </a:path>
            </a:pathLst>
          </a:custGeom>
          <a:solidFill>
            <a:schemeClr val="accent3">
              <a:lumMod val="60000"/>
              <a:lumOff val="40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TextBox 79">
            <a:extLst>
              <a:ext uri="{FF2B5EF4-FFF2-40B4-BE49-F238E27FC236}">
                <a16:creationId xmlns:a16="http://schemas.microsoft.com/office/drawing/2014/main" id="{4D60BA3D-3660-4ECB-A758-379067B1E10D}"/>
              </a:ext>
            </a:extLst>
          </p:cNvPr>
          <p:cNvSpPr txBox="1"/>
          <p:nvPr/>
        </p:nvSpPr>
        <p:spPr>
          <a:xfrm>
            <a:off x="2590642" y="2189360"/>
            <a:ext cx="3113797" cy="861774"/>
          </a:xfrm>
          <a:prstGeom prst="rect">
            <a:avLst/>
          </a:prstGeom>
          <a:noFill/>
          <a:ln w="6350">
            <a:noFill/>
            <a:prstDash val="dash"/>
          </a:ln>
        </p:spPr>
        <p:txBody>
          <a:bodyPr wrap="square" lIns="0" tIns="0" rIns="0" bIns="0" rtlCol="0">
            <a:spAutoFit/>
          </a:bodyPr>
          <a:lstStyle/>
          <a:p>
            <a:pPr algn="ctr"/>
            <a:r>
              <a:rPr lang="en-US" sz="1400" dirty="0">
                <a:solidFill>
                  <a:prstClr val="black">
                    <a:lumMod val="75000"/>
                    <a:lumOff val="25000"/>
                  </a:prstClr>
                </a:solidFill>
              </a:rPr>
              <a:t>We have supported several initiatives that help the local communities in which we operate to overcome some of the challenges led by the pandemic</a:t>
            </a:r>
          </a:p>
        </p:txBody>
      </p:sp>
      <p:sp>
        <p:nvSpPr>
          <p:cNvPr id="102" name="TextBox 101">
            <a:extLst>
              <a:ext uri="{FF2B5EF4-FFF2-40B4-BE49-F238E27FC236}">
                <a16:creationId xmlns:a16="http://schemas.microsoft.com/office/drawing/2014/main" id="{7EC010D9-716C-4DFE-9BAE-AA15065FC16D}"/>
              </a:ext>
            </a:extLst>
          </p:cNvPr>
          <p:cNvSpPr txBox="1"/>
          <p:nvPr/>
        </p:nvSpPr>
        <p:spPr>
          <a:xfrm>
            <a:off x="7806255" y="686716"/>
            <a:ext cx="1518657" cy="430887"/>
          </a:xfrm>
          <a:prstGeom prst="rect">
            <a:avLst/>
          </a:prstGeom>
          <a:noFill/>
          <a:ln w="6350">
            <a:noFill/>
            <a:prstDash val="dash"/>
          </a:ln>
        </p:spPr>
        <p:txBody>
          <a:bodyPr wrap="square" lIns="0" tIns="0" rIns="0" bIns="0" rtlCol="0" anchor="ctr">
            <a:spAutoFit/>
          </a:bodyPr>
          <a:lstStyle/>
          <a:p>
            <a:r>
              <a:rPr lang="en-US" sz="1400" dirty="0">
                <a:solidFill>
                  <a:prstClr val="black">
                    <a:lumMod val="75000"/>
                    <a:lumOff val="25000"/>
                  </a:prstClr>
                </a:solidFill>
              </a:rPr>
              <a:t>School equipment donations</a:t>
            </a:r>
          </a:p>
        </p:txBody>
      </p:sp>
      <p:sp>
        <p:nvSpPr>
          <p:cNvPr id="103" name="TextBox 102">
            <a:extLst>
              <a:ext uri="{FF2B5EF4-FFF2-40B4-BE49-F238E27FC236}">
                <a16:creationId xmlns:a16="http://schemas.microsoft.com/office/drawing/2014/main" id="{1EE48EA5-D88A-4508-AFEA-2271AF4BE0B5}"/>
              </a:ext>
            </a:extLst>
          </p:cNvPr>
          <p:cNvSpPr txBox="1"/>
          <p:nvPr/>
        </p:nvSpPr>
        <p:spPr>
          <a:xfrm>
            <a:off x="7185527" y="570396"/>
            <a:ext cx="607248" cy="523220"/>
          </a:xfrm>
          <a:prstGeom prst="rect">
            <a:avLst/>
          </a:prstGeom>
          <a:noFill/>
        </p:spPr>
        <p:txBody>
          <a:bodyPr wrap="square" rtlCol="0" anchor="ctr">
            <a:spAutoFit/>
          </a:bodyPr>
          <a:lstStyle/>
          <a:p>
            <a:r>
              <a:rPr lang="en-US" sz="2800" b="1" dirty="0">
                <a:solidFill>
                  <a:prstClr val="black">
                    <a:lumMod val="75000"/>
                    <a:lumOff val="25000"/>
                  </a:prstClr>
                </a:solidFill>
                <a:latin typeface="Segoe UI"/>
              </a:rPr>
              <a:t>01</a:t>
            </a:r>
          </a:p>
        </p:txBody>
      </p:sp>
      <p:sp>
        <p:nvSpPr>
          <p:cNvPr id="105" name="TextBox 104">
            <a:extLst>
              <a:ext uri="{FF2B5EF4-FFF2-40B4-BE49-F238E27FC236}">
                <a16:creationId xmlns:a16="http://schemas.microsoft.com/office/drawing/2014/main" id="{0368B741-9BE2-408D-8EC8-FDFFCCA130F2}"/>
              </a:ext>
            </a:extLst>
          </p:cNvPr>
          <p:cNvSpPr txBox="1"/>
          <p:nvPr/>
        </p:nvSpPr>
        <p:spPr>
          <a:xfrm>
            <a:off x="9404485" y="2168298"/>
            <a:ext cx="1518657" cy="646331"/>
          </a:xfrm>
          <a:prstGeom prst="rect">
            <a:avLst/>
          </a:prstGeom>
          <a:noFill/>
          <a:ln w="6350">
            <a:noFill/>
            <a:prstDash val="dash"/>
          </a:ln>
        </p:spPr>
        <p:txBody>
          <a:bodyPr wrap="square" lIns="0" tIns="0" rIns="0" bIns="0" rtlCol="0" anchor="ctr">
            <a:spAutoFit/>
          </a:bodyPr>
          <a:lstStyle/>
          <a:p>
            <a:r>
              <a:rPr lang="en-US" sz="1400" dirty="0">
                <a:solidFill>
                  <a:prstClr val="black">
                    <a:lumMod val="75000"/>
                    <a:lumOff val="25000"/>
                  </a:prstClr>
                </a:solidFill>
              </a:rPr>
              <a:t>Online conversational courses</a:t>
            </a:r>
          </a:p>
        </p:txBody>
      </p:sp>
      <p:sp>
        <p:nvSpPr>
          <p:cNvPr id="106" name="TextBox 105">
            <a:extLst>
              <a:ext uri="{FF2B5EF4-FFF2-40B4-BE49-F238E27FC236}">
                <a16:creationId xmlns:a16="http://schemas.microsoft.com/office/drawing/2014/main" id="{BE3EAFD8-9627-4572-8B9B-23679360B532}"/>
              </a:ext>
            </a:extLst>
          </p:cNvPr>
          <p:cNvSpPr txBox="1"/>
          <p:nvPr/>
        </p:nvSpPr>
        <p:spPr>
          <a:xfrm>
            <a:off x="8802784" y="2064820"/>
            <a:ext cx="607248" cy="523220"/>
          </a:xfrm>
          <a:prstGeom prst="rect">
            <a:avLst/>
          </a:prstGeom>
          <a:noFill/>
        </p:spPr>
        <p:txBody>
          <a:bodyPr wrap="square" rtlCol="0" anchor="ctr">
            <a:spAutoFit/>
          </a:bodyPr>
          <a:lstStyle/>
          <a:p>
            <a:r>
              <a:rPr lang="en-US" sz="2800" b="1" dirty="0">
                <a:solidFill>
                  <a:prstClr val="black">
                    <a:lumMod val="75000"/>
                    <a:lumOff val="25000"/>
                  </a:prstClr>
                </a:solidFill>
                <a:latin typeface="Segoe UI"/>
              </a:rPr>
              <a:t>02</a:t>
            </a:r>
          </a:p>
        </p:txBody>
      </p:sp>
      <p:sp>
        <p:nvSpPr>
          <p:cNvPr id="108" name="TextBox 107">
            <a:extLst>
              <a:ext uri="{FF2B5EF4-FFF2-40B4-BE49-F238E27FC236}">
                <a16:creationId xmlns:a16="http://schemas.microsoft.com/office/drawing/2014/main" id="{FB3CA6C2-D2A0-4481-9944-D320259C88C6}"/>
              </a:ext>
            </a:extLst>
          </p:cNvPr>
          <p:cNvSpPr txBox="1"/>
          <p:nvPr/>
        </p:nvSpPr>
        <p:spPr>
          <a:xfrm>
            <a:off x="8135250" y="5907235"/>
            <a:ext cx="1518657" cy="430887"/>
          </a:xfrm>
          <a:prstGeom prst="rect">
            <a:avLst/>
          </a:prstGeom>
          <a:noFill/>
          <a:ln w="6350">
            <a:noFill/>
            <a:prstDash val="dash"/>
          </a:ln>
        </p:spPr>
        <p:txBody>
          <a:bodyPr wrap="square" lIns="0" tIns="0" rIns="0" bIns="0" rtlCol="0" anchor="ctr">
            <a:spAutoFit/>
          </a:bodyPr>
          <a:lstStyle/>
          <a:p>
            <a:r>
              <a:rPr lang="en-US" sz="1400" dirty="0">
                <a:solidFill>
                  <a:prstClr val="black">
                    <a:lumMod val="75000"/>
                    <a:lumOff val="25000"/>
                  </a:prstClr>
                </a:solidFill>
                <a:hlinkClick r:id="rId2"/>
              </a:rPr>
              <a:t>The Emergency Loan Program</a:t>
            </a:r>
            <a:endParaRPr lang="en-US" sz="1400" dirty="0">
              <a:solidFill>
                <a:prstClr val="black">
                  <a:lumMod val="75000"/>
                  <a:lumOff val="25000"/>
                </a:prstClr>
              </a:solidFill>
            </a:endParaRPr>
          </a:p>
        </p:txBody>
      </p:sp>
      <p:sp>
        <p:nvSpPr>
          <p:cNvPr id="109" name="TextBox 108">
            <a:extLst>
              <a:ext uri="{FF2B5EF4-FFF2-40B4-BE49-F238E27FC236}">
                <a16:creationId xmlns:a16="http://schemas.microsoft.com/office/drawing/2014/main" id="{A2337708-EDAE-40E7-8891-75CBA660690D}"/>
              </a:ext>
            </a:extLst>
          </p:cNvPr>
          <p:cNvSpPr txBox="1"/>
          <p:nvPr/>
        </p:nvSpPr>
        <p:spPr>
          <a:xfrm>
            <a:off x="7466485" y="5702163"/>
            <a:ext cx="607248" cy="523220"/>
          </a:xfrm>
          <a:prstGeom prst="rect">
            <a:avLst/>
          </a:prstGeom>
          <a:noFill/>
        </p:spPr>
        <p:txBody>
          <a:bodyPr wrap="square" rtlCol="0" anchor="ctr">
            <a:spAutoFit/>
          </a:bodyPr>
          <a:lstStyle/>
          <a:p>
            <a:r>
              <a:rPr lang="en-US" sz="2800" b="1" dirty="0">
                <a:solidFill>
                  <a:prstClr val="black">
                    <a:lumMod val="75000"/>
                    <a:lumOff val="25000"/>
                  </a:prstClr>
                </a:solidFill>
                <a:latin typeface="Segoe UI"/>
              </a:rPr>
              <a:t>04</a:t>
            </a:r>
          </a:p>
        </p:txBody>
      </p:sp>
      <p:sp>
        <p:nvSpPr>
          <p:cNvPr id="111" name="TextBox 110">
            <a:extLst>
              <a:ext uri="{FF2B5EF4-FFF2-40B4-BE49-F238E27FC236}">
                <a16:creationId xmlns:a16="http://schemas.microsoft.com/office/drawing/2014/main" id="{B51B4813-5B76-42C9-9FF7-617D29BC549A}"/>
              </a:ext>
            </a:extLst>
          </p:cNvPr>
          <p:cNvSpPr txBox="1"/>
          <p:nvPr/>
        </p:nvSpPr>
        <p:spPr>
          <a:xfrm flipH="1">
            <a:off x="3577112" y="6230400"/>
            <a:ext cx="1518657" cy="215444"/>
          </a:xfrm>
          <a:prstGeom prst="rect">
            <a:avLst/>
          </a:prstGeom>
          <a:noFill/>
          <a:ln w="6350">
            <a:noFill/>
            <a:prstDash val="dash"/>
          </a:ln>
        </p:spPr>
        <p:txBody>
          <a:bodyPr wrap="square" lIns="0" tIns="0" rIns="0" bIns="0" rtlCol="0" anchor="ctr">
            <a:spAutoFit/>
          </a:bodyPr>
          <a:lstStyle/>
          <a:p>
            <a:pPr algn="r"/>
            <a:r>
              <a:rPr lang="en-US" sz="1400" dirty="0">
                <a:solidFill>
                  <a:prstClr val="black">
                    <a:lumMod val="75000"/>
                    <a:lumOff val="25000"/>
                  </a:prstClr>
                </a:solidFill>
                <a:hlinkClick r:id="rId3"/>
              </a:rPr>
              <a:t>24Volunteer</a:t>
            </a:r>
            <a:endParaRPr lang="en-US" sz="1400" dirty="0">
              <a:solidFill>
                <a:prstClr val="black">
                  <a:lumMod val="75000"/>
                  <a:lumOff val="25000"/>
                </a:prstClr>
              </a:solidFill>
            </a:endParaRPr>
          </a:p>
        </p:txBody>
      </p:sp>
      <p:sp>
        <p:nvSpPr>
          <p:cNvPr id="112" name="TextBox 111">
            <a:extLst>
              <a:ext uri="{FF2B5EF4-FFF2-40B4-BE49-F238E27FC236}">
                <a16:creationId xmlns:a16="http://schemas.microsoft.com/office/drawing/2014/main" id="{B64B9EB9-7DD4-495F-B339-4B8ECB2FC66C}"/>
              </a:ext>
            </a:extLst>
          </p:cNvPr>
          <p:cNvSpPr txBox="1"/>
          <p:nvPr/>
        </p:nvSpPr>
        <p:spPr>
          <a:xfrm flipH="1">
            <a:off x="4118270" y="5702163"/>
            <a:ext cx="607248" cy="523220"/>
          </a:xfrm>
          <a:prstGeom prst="rect">
            <a:avLst/>
          </a:prstGeom>
          <a:noFill/>
        </p:spPr>
        <p:txBody>
          <a:bodyPr wrap="square" rtlCol="0" anchor="ctr">
            <a:spAutoFit/>
          </a:bodyPr>
          <a:lstStyle/>
          <a:p>
            <a:pPr algn="r"/>
            <a:r>
              <a:rPr lang="en-US" sz="2800" b="1" dirty="0">
                <a:solidFill>
                  <a:prstClr val="black">
                    <a:lumMod val="75000"/>
                    <a:lumOff val="25000"/>
                  </a:prstClr>
                </a:solidFill>
                <a:latin typeface="Segoe UI"/>
              </a:rPr>
              <a:t>05</a:t>
            </a:r>
          </a:p>
        </p:txBody>
      </p:sp>
      <p:sp>
        <p:nvSpPr>
          <p:cNvPr id="114" name="TextBox 113">
            <a:extLst>
              <a:ext uri="{FF2B5EF4-FFF2-40B4-BE49-F238E27FC236}">
                <a16:creationId xmlns:a16="http://schemas.microsoft.com/office/drawing/2014/main" id="{CCFCD813-4834-439C-AB96-3288C83DE75D}"/>
              </a:ext>
            </a:extLst>
          </p:cNvPr>
          <p:cNvSpPr txBox="1"/>
          <p:nvPr/>
        </p:nvSpPr>
        <p:spPr>
          <a:xfrm>
            <a:off x="8908220" y="4370046"/>
            <a:ext cx="1518657" cy="430887"/>
          </a:xfrm>
          <a:prstGeom prst="rect">
            <a:avLst/>
          </a:prstGeom>
          <a:noFill/>
          <a:ln w="6350">
            <a:noFill/>
            <a:prstDash val="dash"/>
          </a:ln>
        </p:spPr>
        <p:txBody>
          <a:bodyPr wrap="square" lIns="0" tIns="0" rIns="0" bIns="0" rtlCol="0" anchor="ctr">
            <a:spAutoFit/>
          </a:bodyPr>
          <a:lstStyle/>
          <a:p>
            <a:r>
              <a:rPr lang="en-US" sz="1400" dirty="0">
                <a:solidFill>
                  <a:prstClr val="black">
                    <a:lumMod val="75000"/>
                    <a:lumOff val="25000"/>
                  </a:prstClr>
                </a:solidFill>
                <a:hlinkClick r:id="rId4"/>
              </a:rPr>
              <a:t>2021 Global Challenge</a:t>
            </a:r>
            <a:endParaRPr lang="en-US" sz="1400" dirty="0">
              <a:solidFill>
                <a:prstClr val="black">
                  <a:lumMod val="75000"/>
                  <a:lumOff val="25000"/>
                </a:prstClr>
              </a:solidFill>
            </a:endParaRPr>
          </a:p>
        </p:txBody>
      </p:sp>
      <p:sp>
        <p:nvSpPr>
          <p:cNvPr id="115" name="TextBox 114">
            <a:extLst>
              <a:ext uri="{FF2B5EF4-FFF2-40B4-BE49-F238E27FC236}">
                <a16:creationId xmlns:a16="http://schemas.microsoft.com/office/drawing/2014/main" id="{20CAF368-9B31-4264-AC8A-F40CB7BC79DC}"/>
              </a:ext>
            </a:extLst>
          </p:cNvPr>
          <p:cNvSpPr txBox="1"/>
          <p:nvPr/>
        </p:nvSpPr>
        <p:spPr>
          <a:xfrm>
            <a:off x="8797237" y="3820084"/>
            <a:ext cx="607248" cy="523220"/>
          </a:xfrm>
          <a:prstGeom prst="rect">
            <a:avLst/>
          </a:prstGeom>
          <a:noFill/>
        </p:spPr>
        <p:txBody>
          <a:bodyPr wrap="square" rtlCol="0" anchor="ctr">
            <a:spAutoFit/>
          </a:bodyPr>
          <a:lstStyle/>
          <a:p>
            <a:r>
              <a:rPr lang="en-US" sz="2800" b="1" dirty="0">
                <a:solidFill>
                  <a:prstClr val="black">
                    <a:lumMod val="75000"/>
                    <a:lumOff val="25000"/>
                  </a:prstClr>
                </a:solidFill>
                <a:latin typeface="Segoe UI"/>
              </a:rPr>
              <a:t>03</a:t>
            </a:r>
          </a:p>
        </p:txBody>
      </p:sp>
      <p:sp>
        <p:nvSpPr>
          <p:cNvPr id="117" name="TextBox 116">
            <a:extLst>
              <a:ext uri="{FF2B5EF4-FFF2-40B4-BE49-F238E27FC236}">
                <a16:creationId xmlns:a16="http://schemas.microsoft.com/office/drawing/2014/main" id="{875E7094-ED57-4D45-8048-22D386090B54}"/>
              </a:ext>
            </a:extLst>
          </p:cNvPr>
          <p:cNvSpPr txBox="1"/>
          <p:nvPr/>
        </p:nvSpPr>
        <p:spPr>
          <a:xfrm>
            <a:off x="1876106" y="4406157"/>
            <a:ext cx="1518657" cy="215444"/>
          </a:xfrm>
          <a:prstGeom prst="rect">
            <a:avLst/>
          </a:prstGeom>
          <a:noFill/>
          <a:ln w="6350">
            <a:noFill/>
            <a:prstDash val="dash"/>
          </a:ln>
        </p:spPr>
        <p:txBody>
          <a:bodyPr wrap="square" lIns="0" tIns="0" rIns="0" bIns="0" rtlCol="0" anchor="ctr">
            <a:spAutoFit/>
          </a:bodyPr>
          <a:lstStyle/>
          <a:p>
            <a:pPr algn="r"/>
            <a:r>
              <a:rPr lang="en-US" sz="1400" dirty="0">
                <a:solidFill>
                  <a:prstClr val="black">
                    <a:lumMod val="75000"/>
                    <a:lumOff val="25000"/>
                  </a:prstClr>
                </a:solidFill>
                <a:hlinkClick r:id="rId5"/>
              </a:rPr>
              <a:t>Psychology Sessions</a:t>
            </a:r>
            <a:endParaRPr lang="en-US" sz="1400" dirty="0">
              <a:solidFill>
                <a:prstClr val="black">
                  <a:lumMod val="75000"/>
                  <a:lumOff val="25000"/>
                </a:prstClr>
              </a:solidFill>
            </a:endParaRPr>
          </a:p>
        </p:txBody>
      </p:sp>
      <p:sp>
        <p:nvSpPr>
          <p:cNvPr id="118" name="TextBox 117">
            <a:extLst>
              <a:ext uri="{FF2B5EF4-FFF2-40B4-BE49-F238E27FC236}">
                <a16:creationId xmlns:a16="http://schemas.microsoft.com/office/drawing/2014/main" id="{FD89B67D-4950-441B-8E3E-BDD4BAEE1098}"/>
              </a:ext>
            </a:extLst>
          </p:cNvPr>
          <p:cNvSpPr txBox="1"/>
          <p:nvPr/>
        </p:nvSpPr>
        <p:spPr>
          <a:xfrm>
            <a:off x="2787518" y="3820084"/>
            <a:ext cx="607248" cy="523220"/>
          </a:xfrm>
          <a:prstGeom prst="rect">
            <a:avLst/>
          </a:prstGeom>
          <a:noFill/>
        </p:spPr>
        <p:txBody>
          <a:bodyPr wrap="square" rtlCol="0" anchor="ctr">
            <a:spAutoFit/>
          </a:bodyPr>
          <a:lstStyle/>
          <a:p>
            <a:pPr algn="r"/>
            <a:r>
              <a:rPr lang="en-US" sz="2800" b="1" dirty="0">
                <a:solidFill>
                  <a:prstClr val="black">
                    <a:lumMod val="75000"/>
                    <a:lumOff val="25000"/>
                  </a:prstClr>
                </a:solidFill>
                <a:latin typeface="Segoe UI"/>
              </a:rPr>
              <a:t>06</a:t>
            </a:r>
          </a:p>
        </p:txBody>
      </p:sp>
      <p:grpSp>
        <p:nvGrpSpPr>
          <p:cNvPr id="72" name="Group 71">
            <a:extLst>
              <a:ext uri="{FF2B5EF4-FFF2-40B4-BE49-F238E27FC236}">
                <a16:creationId xmlns:a16="http://schemas.microsoft.com/office/drawing/2014/main" id="{0587B8FE-1820-4B1B-BFB4-84E427E91B5F}"/>
              </a:ext>
            </a:extLst>
          </p:cNvPr>
          <p:cNvGrpSpPr/>
          <p:nvPr/>
        </p:nvGrpSpPr>
        <p:grpSpPr>
          <a:xfrm>
            <a:off x="6707524" y="1373676"/>
            <a:ext cx="341313" cy="342900"/>
            <a:chOff x="4113213" y="2544763"/>
            <a:chExt cx="341313" cy="342900"/>
          </a:xfrm>
          <a:solidFill>
            <a:schemeClr val="bg1"/>
          </a:solidFill>
        </p:grpSpPr>
        <p:sp>
          <p:nvSpPr>
            <p:cNvPr id="73" name="Freeform 153">
              <a:extLst>
                <a:ext uri="{FF2B5EF4-FFF2-40B4-BE49-F238E27FC236}">
                  <a16:creationId xmlns:a16="http://schemas.microsoft.com/office/drawing/2014/main" id="{1FBE7022-18B8-49C7-86ED-F34DAAB4CC59}"/>
                </a:ext>
              </a:extLst>
            </p:cNvPr>
            <p:cNvSpPr>
              <a:spLocks/>
            </p:cNvSpPr>
            <p:nvPr/>
          </p:nvSpPr>
          <p:spPr bwMode="auto">
            <a:xfrm>
              <a:off x="4244975" y="2706688"/>
              <a:ext cx="47625" cy="49213"/>
            </a:xfrm>
            <a:custGeom>
              <a:avLst/>
              <a:gdLst>
                <a:gd name="T0" fmla="*/ 0 w 30"/>
                <a:gd name="T1" fmla="*/ 31 h 31"/>
                <a:gd name="T2" fmla="*/ 30 w 30"/>
                <a:gd name="T3" fmla="*/ 17 h 31"/>
                <a:gd name="T4" fmla="*/ 14 w 30"/>
                <a:gd name="T5" fmla="*/ 0 h 31"/>
                <a:gd name="T6" fmla="*/ 0 w 30"/>
                <a:gd name="T7" fmla="*/ 31 h 31"/>
              </a:gdLst>
              <a:ahLst/>
              <a:cxnLst>
                <a:cxn ang="0">
                  <a:pos x="T0" y="T1"/>
                </a:cxn>
                <a:cxn ang="0">
                  <a:pos x="T2" y="T3"/>
                </a:cxn>
                <a:cxn ang="0">
                  <a:pos x="T4" y="T5"/>
                </a:cxn>
                <a:cxn ang="0">
                  <a:pos x="T6" y="T7"/>
                </a:cxn>
              </a:cxnLst>
              <a:rect l="0" t="0" r="r" b="b"/>
              <a:pathLst>
                <a:path w="30" h="31">
                  <a:moveTo>
                    <a:pt x="0" y="31"/>
                  </a:moveTo>
                  <a:lnTo>
                    <a:pt x="30" y="17"/>
                  </a:lnTo>
                  <a:lnTo>
                    <a:pt x="14" y="0"/>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154">
              <a:extLst>
                <a:ext uri="{FF2B5EF4-FFF2-40B4-BE49-F238E27FC236}">
                  <a16:creationId xmlns:a16="http://schemas.microsoft.com/office/drawing/2014/main" id="{D0DFA5F0-E6F2-4053-B90A-A8FFBD55C19B}"/>
                </a:ext>
              </a:extLst>
            </p:cNvPr>
            <p:cNvSpPr>
              <a:spLocks noEditPoints="1"/>
            </p:cNvSpPr>
            <p:nvPr/>
          </p:nvSpPr>
          <p:spPr bwMode="auto">
            <a:xfrm>
              <a:off x="4113213" y="2555875"/>
              <a:ext cx="300038" cy="331788"/>
            </a:xfrm>
            <a:custGeom>
              <a:avLst/>
              <a:gdLst>
                <a:gd name="T0" fmla="*/ 53 w 80"/>
                <a:gd name="T1" fmla="*/ 50 h 88"/>
                <a:gd name="T2" fmla="*/ 52 w 80"/>
                <a:gd name="T3" fmla="*/ 50 h 88"/>
                <a:gd name="T4" fmla="*/ 52 w 80"/>
                <a:gd name="T5" fmla="*/ 50 h 88"/>
                <a:gd name="T6" fmla="*/ 52 w 80"/>
                <a:gd name="T7" fmla="*/ 50 h 88"/>
                <a:gd name="T8" fmla="*/ 32 w 80"/>
                <a:gd name="T9" fmla="*/ 58 h 88"/>
                <a:gd name="T10" fmla="*/ 31 w 80"/>
                <a:gd name="T11" fmla="*/ 59 h 88"/>
                <a:gd name="T12" fmla="*/ 30 w 80"/>
                <a:gd name="T13" fmla="*/ 58 h 88"/>
                <a:gd name="T14" fmla="*/ 30 w 80"/>
                <a:gd name="T15" fmla="*/ 56 h 88"/>
                <a:gd name="T16" fmla="*/ 38 w 80"/>
                <a:gd name="T17" fmla="*/ 36 h 88"/>
                <a:gd name="T18" fmla="*/ 38 w 80"/>
                <a:gd name="T19" fmla="*/ 36 h 88"/>
                <a:gd name="T20" fmla="*/ 38 w 80"/>
                <a:gd name="T21" fmla="*/ 36 h 88"/>
                <a:gd name="T22" fmla="*/ 39 w 80"/>
                <a:gd name="T23" fmla="*/ 35 h 88"/>
                <a:gd name="T24" fmla="*/ 74 w 80"/>
                <a:gd name="T25" fmla="*/ 0 h 88"/>
                <a:gd name="T26" fmla="*/ 74 w 80"/>
                <a:gd name="T27" fmla="*/ 0 h 88"/>
                <a:gd name="T28" fmla="*/ 74 w 80"/>
                <a:gd name="T29" fmla="*/ 0 h 88"/>
                <a:gd name="T30" fmla="*/ 74 w 80"/>
                <a:gd name="T31" fmla="*/ 0 h 88"/>
                <a:gd name="T32" fmla="*/ 2 w 80"/>
                <a:gd name="T33" fmla="*/ 0 h 88"/>
                <a:gd name="T34" fmla="*/ 0 w 80"/>
                <a:gd name="T35" fmla="*/ 2 h 88"/>
                <a:gd name="T36" fmla="*/ 0 w 80"/>
                <a:gd name="T37" fmla="*/ 86 h 88"/>
                <a:gd name="T38" fmla="*/ 2 w 80"/>
                <a:gd name="T39" fmla="*/ 88 h 88"/>
                <a:gd name="T40" fmla="*/ 78 w 80"/>
                <a:gd name="T41" fmla="*/ 88 h 88"/>
                <a:gd name="T42" fmla="*/ 80 w 80"/>
                <a:gd name="T43" fmla="*/ 86 h 88"/>
                <a:gd name="T44" fmla="*/ 80 w 80"/>
                <a:gd name="T45" fmla="*/ 22 h 88"/>
                <a:gd name="T46" fmla="*/ 53 w 80"/>
                <a:gd name="T47" fmla="*/ 50 h 88"/>
                <a:gd name="T48" fmla="*/ 74 w 80"/>
                <a:gd name="T49" fmla="*/ 84 h 88"/>
                <a:gd name="T50" fmla="*/ 74 w 80"/>
                <a:gd name="T51" fmla="*/ 84 h 88"/>
                <a:gd name="T52" fmla="*/ 6 w 80"/>
                <a:gd name="T53" fmla="*/ 84 h 88"/>
                <a:gd name="T54" fmla="*/ 4 w 80"/>
                <a:gd name="T55" fmla="*/ 82 h 88"/>
                <a:gd name="T56" fmla="*/ 4 w 80"/>
                <a:gd name="T57" fmla="*/ 6 h 88"/>
                <a:gd name="T58" fmla="*/ 6 w 80"/>
                <a:gd name="T59" fmla="*/ 4 h 88"/>
                <a:gd name="T60" fmla="*/ 58 w 80"/>
                <a:gd name="T61" fmla="*/ 4 h 88"/>
                <a:gd name="T62" fmla="*/ 58 w 80"/>
                <a:gd name="T63" fmla="*/ 4 h 88"/>
                <a:gd name="T64" fmla="*/ 60 w 80"/>
                <a:gd name="T65" fmla="*/ 6 h 88"/>
                <a:gd name="T66" fmla="*/ 58 w 80"/>
                <a:gd name="T67" fmla="*/ 8 h 88"/>
                <a:gd name="T68" fmla="*/ 8 w 80"/>
                <a:gd name="T69" fmla="*/ 8 h 88"/>
                <a:gd name="T70" fmla="*/ 8 w 80"/>
                <a:gd name="T71" fmla="*/ 80 h 88"/>
                <a:gd name="T72" fmla="*/ 72 w 80"/>
                <a:gd name="T73" fmla="*/ 80 h 88"/>
                <a:gd name="T74" fmla="*/ 72 w 80"/>
                <a:gd name="T75" fmla="*/ 38 h 88"/>
                <a:gd name="T76" fmla="*/ 74 w 80"/>
                <a:gd name="T77" fmla="*/ 36 h 88"/>
                <a:gd name="T78" fmla="*/ 76 w 80"/>
                <a:gd name="T79" fmla="*/ 38 h 88"/>
                <a:gd name="T80" fmla="*/ 76 w 80"/>
                <a:gd name="T81" fmla="*/ 82 h 88"/>
                <a:gd name="T82" fmla="*/ 74 w 80"/>
                <a:gd name="T83"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88">
                  <a:moveTo>
                    <a:pt x="53" y="50"/>
                  </a:moveTo>
                  <a:cubicBezTo>
                    <a:pt x="53" y="50"/>
                    <a:pt x="52" y="50"/>
                    <a:pt x="52" y="50"/>
                  </a:cubicBezTo>
                  <a:cubicBezTo>
                    <a:pt x="52" y="50"/>
                    <a:pt x="52" y="50"/>
                    <a:pt x="52" y="50"/>
                  </a:cubicBezTo>
                  <a:cubicBezTo>
                    <a:pt x="52" y="50"/>
                    <a:pt x="52" y="50"/>
                    <a:pt x="52" y="50"/>
                  </a:cubicBezTo>
                  <a:cubicBezTo>
                    <a:pt x="32" y="58"/>
                    <a:pt x="32" y="58"/>
                    <a:pt x="32" y="58"/>
                  </a:cubicBezTo>
                  <a:cubicBezTo>
                    <a:pt x="32" y="59"/>
                    <a:pt x="32" y="59"/>
                    <a:pt x="31" y="59"/>
                  </a:cubicBezTo>
                  <a:cubicBezTo>
                    <a:pt x="31" y="59"/>
                    <a:pt x="30" y="58"/>
                    <a:pt x="30" y="58"/>
                  </a:cubicBezTo>
                  <a:cubicBezTo>
                    <a:pt x="30" y="57"/>
                    <a:pt x="29" y="57"/>
                    <a:pt x="30" y="56"/>
                  </a:cubicBezTo>
                  <a:cubicBezTo>
                    <a:pt x="38" y="36"/>
                    <a:pt x="38" y="36"/>
                    <a:pt x="38" y="36"/>
                  </a:cubicBezTo>
                  <a:cubicBezTo>
                    <a:pt x="38" y="36"/>
                    <a:pt x="38" y="36"/>
                    <a:pt x="38" y="36"/>
                  </a:cubicBezTo>
                  <a:cubicBezTo>
                    <a:pt x="38" y="36"/>
                    <a:pt x="38" y="36"/>
                    <a:pt x="38" y="36"/>
                  </a:cubicBezTo>
                  <a:cubicBezTo>
                    <a:pt x="38" y="36"/>
                    <a:pt x="38" y="36"/>
                    <a:pt x="39" y="35"/>
                  </a:cubicBezTo>
                  <a:cubicBezTo>
                    <a:pt x="74" y="0"/>
                    <a:pt x="74" y="0"/>
                    <a:pt x="74" y="0"/>
                  </a:cubicBezTo>
                  <a:cubicBezTo>
                    <a:pt x="74" y="0"/>
                    <a:pt x="74" y="0"/>
                    <a:pt x="74" y="0"/>
                  </a:cubicBezTo>
                  <a:cubicBezTo>
                    <a:pt x="74" y="0"/>
                    <a:pt x="74" y="0"/>
                    <a:pt x="74" y="0"/>
                  </a:cubicBezTo>
                  <a:cubicBezTo>
                    <a:pt x="74" y="0"/>
                    <a:pt x="74" y="0"/>
                    <a:pt x="74" y="0"/>
                  </a:cubicBezTo>
                  <a:cubicBezTo>
                    <a:pt x="2" y="0"/>
                    <a:pt x="2" y="0"/>
                    <a:pt x="2" y="0"/>
                  </a:cubicBezTo>
                  <a:cubicBezTo>
                    <a:pt x="1" y="0"/>
                    <a:pt x="0" y="1"/>
                    <a:pt x="0" y="2"/>
                  </a:cubicBezTo>
                  <a:cubicBezTo>
                    <a:pt x="0" y="86"/>
                    <a:pt x="0" y="86"/>
                    <a:pt x="0" y="86"/>
                  </a:cubicBezTo>
                  <a:cubicBezTo>
                    <a:pt x="0" y="87"/>
                    <a:pt x="1" y="88"/>
                    <a:pt x="2" y="88"/>
                  </a:cubicBezTo>
                  <a:cubicBezTo>
                    <a:pt x="78" y="88"/>
                    <a:pt x="78" y="88"/>
                    <a:pt x="78" y="88"/>
                  </a:cubicBezTo>
                  <a:cubicBezTo>
                    <a:pt x="79" y="88"/>
                    <a:pt x="80" y="87"/>
                    <a:pt x="80" y="86"/>
                  </a:cubicBezTo>
                  <a:cubicBezTo>
                    <a:pt x="80" y="22"/>
                    <a:pt x="80" y="22"/>
                    <a:pt x="80" y="22"/>
                  </a:cubicBezTo>
                  <a:lnTo>
                    <a:pt x="53" y="50"/>
                  </a:lnTo>
                  <a:close/>
                  <a:moveTo>
                    <a:pt x="74" y="84"/>
                  </a:moveTo>
                  <a:cubicBezTo>
                    <a:pt x="74" y="84"/>
                    <a:pt x="74" y="84"/>
                    <a:pt x="74" y="84"/>
                  </a:cubicBezTo>
                  <a:cubicBezTo>
                    <a:pt x="6" y="84"/>
                    <a:pt x="6" y="84"/>
                    <a:pt x="6" y="84"/>
                  </a:cubicBezTo>
                  <a:cubicBezTo>
                    <a:pt x="5" y="84"/>
                    <a:pt x="4" y="83"/>
                    <a:pt x="4" y="82"/>
                  </a:cubicBezTo>
                  <a:cubicBezTo>
                    <a:pt x="4" y="6"/>
                    <a:pt x="4" y="6"/>
                    <a:pt x="4" y="6"/>
                  </a:cubicBezTo>
                  <a:cubicBezTo>
                    <a:pt x="4" y="5"/>
                    <a:pt x="5" y="4"/>
                    <a:pt x="6" y="4"/>
                  </a:cubicBezTo>
                  <a:cubicBezTo>
                    <a:pt x="58" y="4"/>
                    <a:pt x="58" y="4"/>
                    <a:pt x="58" y="4"/>
                  </a:cubicBezTo>
                  <a:cubicBezTo>
                    <a:pt x="58" y="4"/>
                    <a:pt x="58" y="4"/>
                    <a:pt x="58" y="4"/>
                  </a:cubicBezTo>
                  <a:cubicBezTo>
                    <a:pt x="59" y="4"/>
                    <a:pt x="60" y="5"/>
                    <a:pt x="60" y="6"/>
                  </a:cubicBezTo>
                  <a:cubicBezTo>
                    <a:pt x="60" y="7"/>
                    <a:pt x="59" y="8"/>
                    <a:pt x="58" y="8"/>
                  </a:cubicBezTo>
                  <a:cubicBezTo>
                    <a:pt x="8" y="8"/>
                    <a:pt x="8" y="8"/>
                    <a:pt x="8" y="8"/>
                  </a:cubicBezTo>
                  <a:cubicBezTo>
                    <a:pt x="8" y="80"/>
                    <a:pt x="8" y="80"/>
                    <a:pt x="8" y="80"/>
                  </a:cubicBezTo>
                  <a:cubicBezTo>
                    <a:pt x="72" y="80"/>
                    <a:pt x="72" y="80"/>
                    <a:pt x="72" y="80"/>
                  </a:cubicBezTo>
                  <a:cubicBezTo>
                    <a:pt x="72" y="38"/>
                    <a:pt x="72" y="38"/>
                    <a:pt x="72" y="38"/>
                  </a:cubicBezTo>
                  <a:cubicBezTo>
                    <a:pt x="72" y="37"/>
                    <a:pt x="73" y="36"/>
                    <a:pt x="74" y="36"/>
                  </a:cubicBezTo>
                  <a:cubicBezTo>
                    <a:pt x="75" y="36"/>
                    <a:pt x="76" y="37"/>
                    <a:pt x="76" y="38"/>
                  </a:cubicBezTo>
                  <a:cubicBezTo>
                    <a:pt x="76" y="82"/>
                    <a:pt x="76" y="82"/>
                    <a:pt x="76" y="82"/>
                  </a:cubicBezTo>
                  <a:cubicBezTo>
                    <a:pt x="76" y="83"/>
                    <a:pt x="75" y="84"/>
                    <a:pt x="7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155">
              <a:extLst>
                <a:ext uri="{FF2B5EF4-FFF2-40B4-BE49-F238E27FC236}">
                  <a16:creationId xmlns:a16="http://schemas.microsoft.com/office/drawing/2014/main" id="{5418FA62-44B4-4151-9B94-E58761281E4A}"/>
                </a:ext>
              </a:extLst>
            </p:cNvPr>
            <p:cNvSpPr>
              <a:spLocks/>
            </p:cNvSpPr>
            <p:nvPr/>
          </p:nvSpPr>
          <p:spPr bwMode="auto">
            <a:xfrm>
              <a:off x="4405313" y="2544763"/>
              <a:ext cx="49213" cy="49213"/>
            </a:xfrm>
            <a:custGeom>
              <a:avLst/>
              <a:gdLst>
                <a:gd name="T0" fmla="*/ 0 w 31"/>
                <a:gd name="T1" fmla="*/ 9 h 31"/>
                <a:gd name="T2" fmla="*/ 12 w 31"/>
                <a:gd name="T3" fmla="*/ 0 h 31"/>
                <a:gd name="T4" fmla="*/ 31 w 31"/>
                <a:gd name="T5" fmla="*/ 19 h 31"/>
                <a:gd name="T6" fmla="*/ 22 w 31"/>
                <a:gd name="T7" fmla="*/ 31 h 31"/>
                <a:gd name="T8" fmla="*/ 0 w 31"/>
                <a:gd name="T9" fmla="*/ 9 h 31"/>
              </a:gdLst>
              <a:ahLst/>
              <a:cxnLst>
                <a:cxn ang="0">
                  <a:pos x="T0" y="T1"/>
                </a:cxn>
                <a:cxn ang="0">
                  <a:pos x="T2" y="T3"/>
                </a:cxn>
                <a:cxn ang="0">
                  <a:pos x="T4" y="T5"/>
                </a:cxn>
                <a:cxn ang="0">
                  <a:pos x="T6" y="T7"/>
                </a:cxn>
                <a:cxn ang="0">
                  <a:pos x="T8" y="T9"/>
                </a:cxn>
              </a:cxnLst>
              <a:rect l="0" t="0" r="r" b="b"/>
              <a:pathLst>
                <a:path w="31" h="31">
                  <a:moveTo>
                    <a:pt x="0" y="9"/>
                  </a:moveTo>
                  <a:lnTo>
                    <a:pt x="12" y="0"/>
                  </a:lnTo>
                  <a:lnTo>
                    <a:pt x="31" y="19"/>
                  </a:lnTo>
                  <a:lnTo>
                    <a:pt x="22" y="31"/>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56">
              <a:extLst>
                <a:ext uri="{FF2B5EF4-FFF2-40B4-BE49-F238E27FC236}">
                  <a16:creationId xmlns:a16="http://schemas.microsoft.com/office/drawing/2014/main" id="{1F72B125-6848-4231-AA17-0B1E3E3E2E2C}"/>
                </a:ext>
              </a:extLst>
            </p:cNvPr>
            <p:cNvSpPr>
              <a:spLocks/>
            </p:cNvSpPr>
            <p:nvPr/>
          </p:nvSpPr>
          <p:spPr bwMode="auto">
            <a:xfrm>
              <a:off x="4273550" y="2571750"/>
              <a:ext cx="153988" cy="153988"/>
            </a:xfrm>
            <a:custGeom>
              <a:avLst/>
              <a:gdLst>
                <a:gd name="T0" fmla="*/ 76 w 97"/>
                <a:gd name="T1" fmla="*/ 0 h 97"/>
                <a:gd name="T2" fmla="*/ 97 w 97"/>
                <a:gd name="T3" fmla="*/ 21 h 97"/>
                <a:gd name="T4" fmla="*/ 19 w 97"/>
                <a:gd name="T5" fmla="*/ 97 h 97"/>
                <a:gd name="T6" fmla="*/ 0 w 97"/>
                <a:gd name="T7" fmla="*/ 78 h 97"/>
                <a:gd name="T8" fmla="*/ 76 w 97"/>
                <a:gd name="T9" fmla="*/ 0 h 97"/>
              </a:gdLst>
              <a:ahLst/>
              <a:cxnLst>
                <a:cxn ang="0">
                  <a:pos x="T0" y="T1"/>
                </a:cxn>
                <a:cxn ang="0">
                  <a:pos x="T2" y="T3"/>
                </a:cxn>
                <a:cxn ang="0">
                  <a:pos x="T4" y="T5"/>
                </a:cxn>
                <a:cxn ang="0">
                  <a:pos x="T6" y="T7"/>
                </a:cxn>
                <a:cxn ang="0">
                  <a:pos x="T8" y="T9"/>
                </a:cxn>
              </a:cxnLst>
              <a:rect l="0" t="0" r="r" b="b"/>
              <a:pathLst>
                <a:path w="97" h="97">
                  <a:moveTo>
                    <a:pt x="76" y="0"/>
                  </a:moveTo>
                  <a:lnTo>
                    <a:pt x="97" y="21"/>
                  </a:lnTo>
                  <a:lnTo>
                    <a:pt x="19" y="97"/>
                  </a:lnTo>
                  <a:lnTo>
                    <a:pt x="0" y="78"/>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3" name="Group 82">
            <a:extLst>
              <a:ext uri="{FF2B5EF4-FFF2-40B4-BE49-F238E27FC236}">
                <a16:creationId xmlns:a16="http://schemas.microsoft.com/office/drawing/2014/main" id="{0598E164-167E-46AA-8C25-20E1403F0C5B}"/>
              </a:ext>
            </a:extLst>
          </p:cNvPr>
          <p:cNvGrpSpPr/>
          <p:nvPr/>
        </p:nvGrpSpPr>
        <p:grpSpPr>
          <a:xfrm>
            <a:off x="7805475" y="2468337"/>
            <a:ext cx="360362" cy="360363"/>
            <a:chOff x="5554663" y="2887663"/>
            <a:chExt cx="360362" cy="360363"/>
          </a:xfrm>
          <a:solidFill>
            <a:schemeClr val="bg1">
              <a:lumMod val="95000"/>
            </a:schemeClr>
          </a:solidFill>
        </p:grpSpPr>
        <p:sp>
          <p:nvSpPr>
            <p:cNvPr id="84" name="Freeform 152">
              <a:extLst>
                <a:ext uri="{FF2B5EF4-FFF2-40B4-BE49-F238E27FC236}">
                  <a16:creationId xmlns:a16="http://schemas.microsoft.com/office/drawing/2014/main" id="{585DC506-58DB-4FEA-B669-9837D0943FED}"/>
                </a:ext>
              </a:extLst>
            </p:cNvPr>
            <p:cNvSpPr>
              <a:spLocks/>
            </p:cNvSpPr>
            <p:nvPr/>
          </p:nvSpPr>
          <p:spPr bwMode="auto">
            <a:xfrm>
              <a:off x="5784850" y="3052763"/>
              <a:ext cx="130175" cy="150813"/>
            </a:xfrm>
            <a:custGeom>
              <a:avLst/>
              <a:gdLst>
                <a:gd name="T0" fmla="*/ 35 w 35"/>
                <a:gd name="T1" fmla="*/ 37 h 40"/>
                <a:gd name="T2" fmla="*/ 24 w 35"/>
                <a:gd name="T3" fmla="*/ 22 h 40"/>
                <a:gd name="T4" fmla="*/ 29 w 35"/>
                <a:gd name="T5" fmla="*/ 12 h 40"/>
                <a:gd name="T6" fmla="*/ 17 w 35"/>
                <a:gd name="T7" fmla="*/ 0 h 40"/>
                <a:gd name="T8" fmla="*/ 5 w 35"/>
                <a:gd name="T9" fmla="*/ 12 h 40"/>
                <a:gd name="T10" fmla="*/ 10 w 35"/>
                <a:gd name="T11" fmla="*/ 22 h 40"/>
                <a:gd name="T12" fmla="*/ 0 w 35"/>
                <a:gd name="T13" fmla="*/ 32 h 40"/>
                <a:gd name="T14" fmla="*/ 7 w 35"/>
                <a:gd name="T15" fmla="*/ 40 h 40"/>
                <a:gd name="T16" fmla="*/ 33 w 35"/>
                <a:gd name="T17" fmla="*/ 40 h 40"/>
                <a:gd name="T18" fmla="*/ 33 w 35"/>
                <a:gd name="T19" fmla="*/ 40 h 40"/>
                <a:gd name="T20" fmla="*/ 35 w 35"/>
                <a:gd name="T21" fmla="*/ 38 h 40"/>
                <a:gd name="T22" fmla="*/ 35 w 35"/>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0">
                  <a:moveTo>
                    <a:pt x="35" y="37"/>
                  </a:moveTo>
                  <a:cubicBezTo>
                    <a:pt x="35" y="30"/>
                    <a:pt x="30" y="24"/>
                    <a:pt x="24" y="22"/>
                  </a:cubicBezTo>
                  <a:cubicBezTo>
                    <a:pt x="27" y="19"/>
                    <a:pt x="29" y="16"/>
                    <a:pt x="29" y="12"/>
                  </a:cubicBezTo>
                  <a:cubicBezTo>
                    <a:pt x="29" y="5"/>
                    <a:pt x="24" y="0"/>
                    <a:pt x="17" y="0"/>
                  </a:cubicBezTo>
                  <a:cubicBezTo>
                    <a:pt x="10" y="0"/>
                    <a:pt x="5" y="5"/>
                    <a:pt x="5" y="12"/>
                  </a:cubicBezTo>
                  <a:cubicBezTo>
                    <a:pt x="5" y="16"/>
                    <a:pt x="7" y="19"/>
                    <a:pt x="10" y="22"/>
                  </a:cubicBezTo>
                  <a:cubicBezTo>
                    <a:pt x="5" y="24"/>
                    <a:pt x="2" y="28"/>
                    <a:pt x="0" y="32"/>
                  </a:cubicBezTo>
                  <a:cubicBezTo>
                    <a:pt x="3" y="34"/>
                    <a:pt x="5" y="37"/>
                    <a:pt x="7" y="40"/>
                  </a:cubicBezTo>
                  <a:cubicBezTo>
                    <a:pt x="33" y="40"/>
                    <a:pt x="33" y="40"/>
                    <a:pt x="33" y="40"/>
                  </a:cubicBezTo>
                  <a:cubicBezTo>
                    <a:pt x="33" y="40"/>
                    <a:pt x="33" y="40"/>
                    <a:pt x="33" y="40"/>
                  </a:cubicBezTo>
                  <a:cubicBezTo>
                    <a:pt x="34" y="40"/>
                    <a:pt x="35" y="39"/>
                    <a:pt x="35" y="38"/>
                  </a:cubicBezTo>
                  <a:cubicBezTo>
                    <a:pt x="35" y="38"/>
                    <a:pt x="35" y="38"/>
                    <a:pt x="3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53">
              <a:extLst>
                <a:ext uri="{FF2B5EF4-FFF2-40B4-BE49-F238E27FC236}">
                  <a16:creationId xmlns:a16="http://schemas.microsoft.com/office/drawing/2014/main" id="{B64E17BF-7366-4F13-977E-D3AD79ABEA56}"/>
                </a:ext>
              </a:extLst>
            </p:cNvPr>
            <p:cNvSpPr>
              <a:spLocks/>
            </p:cNvSpPr>
            <p:nvPr/>
          </p:nvSpPr>
          <p:spPr bwMode="auto">
            <a:xfrm>
              <a:off x="5554663" y="3052763"/>
              <a:ext cx="131763" cy="150813"/>
            </a:xfrm>
            <a:custGeom>
              <a:avLst/>
              <a:gdLst>
                <a:gd name="T0" fmla="*/ 35 w 35"/>
                <a:gd name="T1" fmla="*/ 32 h 40"/>
                <a:gd name="T2" fmla="*/ 25 w 35"/>
                <a:gd name="T3" fmla="*/ 22 h 40"/>
                <a:gd name="T4" fmla="*/ 30 w 35"/>
                <a:gd name="T5" fmla="*/ 12 h 40"/>
                <a:gd name="T6" fmla="*/ 18 w 35"/>
                <a:gd name="T7" fmla="*/ 0 h 40"/>
                <a:gd name="T8" fmla="*/ 6 w 35"/>
                <a:gd name="T9" fmla="*/ 12 h 40"/>
                <a:gd name="T10" fmla="*/ 11 w 35"/>
                <a:gd name="T11" fmla="*/ 22 h 40"/>
                <a:gd name="T12" fmla="*/ 0 w 35"/>
                <a:gd name="T13" fmla="*/ 38 h 40"/>
                <a:gd name="T14" fmla="*/ 2 w 35"/>
                <a:gd name="T15" fmla="*/ 40 h 40"/>
                <a:gd name="T16" fmla="*/ 28 w 35"/>
                <a:gd name="T17" fmla="*/ 40 h 40"/>
                <a:gd name="T18" fmla="*/ 35 w 35"/>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0">
                  <a:moveTo>
                    <a:pt x="35" y="32"/>
                  </a:moveTo>
                  <a:cubicBezTo>
                    <a:pt x="33" y="27"/>
                    <a:pt x="30"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28" y="40"/>
                    <a:pt x="28" y="40"/>
                    <a:pt x="28" y="40"/>
                  </a:cubicBezTo>
                  <a:cubicBezTo>
                    <a:pt x="30" y="37"/>
                    <a:pt x="32" y="34"/>
                    <a:pt x="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154">
              <a:extLst>
                <a:ext uri="{FF2B5EF4-FFF2-40B4-BE49-F238E27FC236}">
                  <a16:creationId xmlns:a16="http://schemas.microsoft.com/office/drawing/2014/main" id="{567E7E31-7A3E-4853-A23D-CE2FE52109AA}"/>
                </a:ext>
              </a:extLst>
            </p:cNvPr>
            <p:cNvSpPr>
              <a:spLocks/>
            </p:cNvSpPr>
            <p:nvPr/>
          </p:nvSpPr>
          <p:spPr bwMode="auto">
            <a:xfrm>
              <a:off x="5667375" y="3098801"/>
              <a:ext cx="136525" cy="149225"/>
            </a:xfrm>
            <a:custGeom>
              <a:avLst/>
              <a:gdLst>
                <a:gd name="T0" fmla="*/ 36 w 36"/>
                <a:gd name="T1" fmla="*/ 37 h 40"/>
                <a:gd name="T2" fmla="*/ 25 w 36"/>
                <a:gd name="T3" fmla="*/ 22 h 40"/>
                <a:gd name="T4" fmla="*/ 30 w 36"/>
                <a:gd name="T5" fmla="*/ 12 h 40"/>
                <a:gd name="T6" fmla="*/ 18 w 36"/>
                <a:gd name="T7" fmla="*/ 0 h 40"/>
                <a:gd name="T8" fmla="*/ 6 w 36"/>
                <a:gd name="T9" fmla="*/ 12 h 40"/>
                <a:gd name="T10" fmla="*/ 11 w 36"/>
                <a:gd name="T11" fmla="*/ 22 h 40"/>
                <a:gd name="T12" fmla="*/ 0 w 36"/>
                <a:gd name="T13" fmla="*/ 38 h 40"/>
                <a:gd name="T14" fmla="*/ 2 w 36"/>
                <a:gd name="T15" fmla="*/ 40 h 40"/>
                <a:gd name="T16" fmla="*/ 34 w 36"/>
                <a:gd name="T17" fmla="*/ 40 h 40"/>
                <a:gd name="T18" fmla="*/ 34 w 36"/>
                <a:gd name="T19" fmla="*/ 40 h 40"/>
                <a:gd name="T20" fmla="*/ 36 w 36"/>
                <a:gd name="T21" fmla="*/ 38 h 40"/>
                <a:gd name="T22" fmla="*/ 36 w 36"/>
                <a:gd name="T2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0">
                  <a:moveTo>
                    <a:pt x="36" y="37"/>
                  </a:moveTo>
                  <a:cubicBezTo>
                    <a:pt x="36" y="30"/>
                    <a:pt x="31" y="24"/>
                    <a:pt x="25" y="22"/>
                  </a:cubicBezTo>
                  <a:cubicBezTo>
                    <a:pt x="28" y="19"/>
                    <a:pt x="30" y="16"/>
                    <a:pt x="30" y="12"/>
                  </a:cubicBezTo>
                  <a:cubicBezTo>
                    <a:pt x="30" y="5"/>
                    <a:pt x="25" y="0"/>
                    <a:pt x="18" y="0"/>
                  </a:cubicBezTo>
                  <a:cubicBezTo>
                    <a:pt x="11" y="0"/>
                    <a:pt x="6" y="5"/>
                    <a:pt x="6" y="12"/>
                  </a:cubicBezTo>
                  <a:cubicBezTo>
                    <a:pt x="6" y="16"/>
                    <a:pt x="8" y="19"/>
                    <a:pt x="11" y="22"/>
                  </a:cubicBezTo>
                  <a:cubicBezTo>
                    <a:pt x="4" y="24"/>
                    <a:pt x="0" y="31"/>
                    <a:pt x="0" y="38"/>
                  </a:cubicBezTo>
                  <a:cubicBezTo>
                    <a:pt x="0" y="39"/>
                    <a:pt x="1" y="40"/>
                    <a:pt x="2" y="40"/>
                  </a:cubicBezTo>
                  <a:cubicBezTo>
                    <a:pt x="34" y="40"/>
                    <a:pt x="34" y="40"/>
                    <a:pt x="34" y="40"/>
                  </a:cubicBezTo>
                  <a:cubicBezTo>
                    <a:pt x="34" y="40"/>
                    <a:pt x="34" y="40"/>
                    <a:pt x="34" y="40"/>
                  </a:cubicBezTo>
                  <a:cubicBezTo>
                    <a:pt x="35" y="40"/>
                    <a:pt x="36" y="39"/>
                    <a:pt x="36" y="38"/>
                  </a:cubicBezTo>
                  <a:cubicBezTo>
                    <a:pt x="36" y="38"/>
                    <a:pt x="36" y="38"/>
                    <a:pt x="3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155">
              <a:extLst>
                <a:ext uri="{FF2B5EF4-FFF2-40B4-BE49-F238E27FC236}">
                  <a16:creationId xmlns:a16="http://schemas.microsoft.com/office/drawing/2014/main" id="{2CCE04C0-5141-4506-8E47-2EA2EEDC4B12}"/>
                </a:ext>
              </a:extLst>
            </p:cNvPr>
            <p:cNvSpPr>
              <a:spLocks noEditPoints="1"/>
            </p:cNvSpPr>
            <p:nvPr/>
          </p:nvSpPr>
          <p:spPr bwMode="auto">
            <a:xfrm>
              <a:off x="5630863" y="2887663"/>
              <a:ext cx="209550" cy="195263"/>
            </a:xfrm>
            <a:custGeom>
              <a:avLst/>
              <a:gdLst>
                <a:gd name="T0" fmla="*/ 50 w 56"/>
                <a:gd name="T1" fmla="*/ 0 h 52"/>
                <a:gd name="T2" fmla="*/ 6 w 56"/>
                <a:gd name="T3" fmla="*/ 0 h 52"/>
                <a:gd name="T4" fmla="*/ 0 w 56"/>
                <a:gd name="T5" fmla="*/ 6 h 52"/>
                <a:gd name="T6" fmla="*/ 0 w 56"/>
                <a:gd name="T7" fmla="*/ 34 h 52"/>
                <a:gd name="T8" fmla="*/ 6 w 56"/>
                <a:gd name="T9" fmla="*/ 40 h 52"/>
                <a:gd name="T10" fmla="*/ 9 w 56"/>
                <a:gd name="T11" fmla="*/ 40 h 52"/>
                <a:gd name="T12" fmla="*/ 21 w 56"/>
                <a:gd name="T13" fmla="*/ 51 h 52"/>
                <a:gd name="T14" fmla="*/ 22 w 56"/>
                <a:gd name="T15" fmla="*/ 52 h 52"/>
                <a:gd name="T16" fmla="*/ 23 w 56"/>
                <a:gd name="T17" fmla="*/ 52 h 52"/>
                <a:gd name="T18" fmla="*/ 24 w 56"/>
                <a:gd name="T19" fmla="*/ 50 h 52"/>
                <a:gd name="T20" fmla="*/ 24 w 56"/>
                <a:gd name="T21" fmla="*/ 40 h 52"/>
                <a:gd name="T22" fmla="*/ 50 w 56"/>
                <a:gd name="T23" fmla="*/ 40 h 52"/>
                <a:gd name="T24" fmla="*/ 56 w 56"/>
                <a:gd name="T25" fmla="*/ 34 h 52"/>
                <a:gd name="T26" fmla="*/ 56 w 56"/>
                <a:gd name="T27" fmla="*/ 6 h 52"/>
                <a:gd name="T28" fmla="*/ 50 w 56"/>
                <a:gd name="T29" fmla="*/ 0 h 52"/>
                <a:gd name="T30" fmla="*/ 42 w 56"/>
                <a:gd name="T31" fmla="*/ 28 h 52"/>
                <a:gd name="T32" fmla="*/ 14 w 56"/>
                <a:gd name="T33" fmla="*/ 28 h 52"/>
                <a:gd name="T34" fmla="*/ 12 w 56"/>
                <a:gd name="T35" fmla="*/ 26 h 52"/>
                <a:gd name="T36" fmla="*/ 14 w 56"/>
                <a:gd name="T37" fmla="*/ 24 h 52"/>
                <a:gd name="T38" fmla="*/ 42 w 56"/>
                <a:gd name="T39" fmla="*/ 24 h 52"/>
                <a:gd name="T40" fmla="*/ 44 w 56"/>
                <a:gd name="T41" fmla="*/ 26 h 52"/>
                <a:gd name="T42" fmla="*/ 42 w 56"/>
                <a:gd name="T43" fmla="*/ 28 h 52"/>
                <a:gd name="T44" fmla="*/ 42 w 56"/>
                <a:gd name="T45" fmla="*/ 20 h 52"/>
                <a:gd name="T46" fmla="*/ 14 w 56"/>
                <a:gd name="T47" fmla="*/ 20 h 52"/>
                <a:gd name="T48" fmla="*/ 12 w 56"/>
                <a:gd name="T49" fmla="*/ 18 h 52"/>
                <a:gd name="T50" fmla="*/ 14 w 56"/>
                <a:gd name="T51" fmla="*/ 16 h 52"/>
                <a:gd name="T52" fmla="*/ 42 w 56"/>
                <a:gd name="T53" fmla="*/ 16 h 52"/>
                <a:gd name="T54" fmla="*/ 44 w 56"/>
                <a:gd name="T55" fmla="*/ 18 h 52"/>
                <a:gd name="T56" fmla="*/ 42 w 56"/>
                <a:gd name="T57" fmla="*/ 20 h 52"/>
                <a:gd name="T58" fmla="*/ 42 w 56"/>
                <a:gd name="T59" fmla="*/ 12 h 52"/>
                <a:gd name="T60" fmla="*/ 14 w 56"/>
                <a:gd name="T61" fmla="*/ 12 h 52"/>
                <a:gd name="T62" fmla="*/ 12 w 56"/>
                <a:gd name="T63" fmla="*/ 10 h 52"/>
                <a:gd name="T64" fmla="*/ 14 w 56"/>
                <a:gd name="T65" fmla="*/ 8 h 52"/>
                <a:gd name="T66" fmla="*/ 42 w 56"/>
                <a:gd name="T67" fmla="*/ 8 h 52"/>
                <a:gd name="T68" fmla="*/ 44 w 56"/>
                <a:gd name="T69" fmla="*/ 10 h 52"/>
                <a:gd name="T70" fmla="*/ 42 w 56"/>
                <a:gd name="T71"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2">
                  <a:moveTo>
                    <a:pt x="50" y="0"/>
                  </a:moveTo>
                  <a:cubicBezTo>
                    <a:pt x="6" y="0"/>
                    <a:pt x="6" y="0"/>
                    <a:pt x="6" y="0"/>
                  </a:cubicBezTo>
                  <a:cubicBezTo>
                    <a:pt x="3" y="0"/>
                    <a:pt x="0" y="3"/>
                    <a:pt x="0" y="6"/>
                  </a:cubicBezTo>
                  <a:cubicBezTo>
                    <a:pt x="0" y="34"/>
                    <a:pt x="0" y="34"/>
                    <a:pt x="0" y="34"/>
                  </a:cubicBezTo>
                  <a:cubicBezTo>
                    <a:pt x="0" y="37"/>
                    <a:pt x="3" y="40"/>
                    <a:pt x="6" y="40"/>
                  </a:cubicBezTo>
                  <a:cubicBezTo>
                    <a:pt x="9" y="40"/>
                    <a:pt x="9" y="40"/>
                    <a:pt x="9" y="40"/>
                  </a:cubicBezTo>
                  <a:cubicBezTo>
                    <a:pt x="21" y="51"/>
                    <a:pt x="21" y="51"/>
                    <a:pt x="21" y="51"/>
                  </a:cubicBezTo>
                  <a:cubicBezTo>
                    <a:pt x="21" y="52"/>
                    <a:pt x="21" y="52"/>
                    <a:pt x="22" y="52"/>
                  </a:cubicBezTo>
                  <a:cubicBezTo>
                    <a:pt x="22" y="52"/>
                    <a:pt x="23" y="52"/>
                    <a:pt x="23" y="52"/>
                  </a:cubicBezTo>
                  <a:cubicBezTo>
                    <a:pt x="24" y="52"/>
                    <a:pt x="24" y="51"/>
                    <a:pt x="24" y="50"/>
                  </a:cubicBezTo>
                  <a:cubicBezTo>
                    <a:pt x="24" y="40"/>
                    <a:pt x="24" y="40"/>
                    <a:pt x="24" y="40"/>
                  </a:cubicBezTo>
                  <a:cubicBezTo>
                    <a:pt x="50" y="40"/>
                    <a:pt x="50" y="40"/>
                    <a:pt x="50" y="40"/>
                  </a:cubicBezTo>
                  <a:cubicBezTo>
                    <a:pt x="53" y="40"/>
                    <a:pt x="56" y="37"/>
                    <a:pt x="56" y="34"/>
                  </a:cubicBezTo>
                  <a:cubicBezTo>
                    <a:pt x="56" y="6"/>
                    <a:pt x="56" y="6"/>
                    <a:pt x="56" y="6"/>
                  </a:cubicBezTo>
                  <a:cubicBezTo>
                    <a:pt x="56" y="3"/>
                    <a:pt x="53" y="0"/>
                    <a:pt x="50" y="0"/>
                  </a:cubicBezTo>
                  <a:close/>
                  <a:moveTo>
                    <a:pt x="42" y="28"/>
                  </a:moveTo>
                  <a:cubicBezTo>
                    <a:pt x="14" y="28"/>
                    <a:pt x="14" y="28"/>
                    <a:pt x="14" y="28"/>
                  </a:cubicBezTo>
                  <a:cubicBezTo>
                    <a:pt x="13" y="28"/>
                    <a:pt x="12" y="27"/>
                    <a:pt x="12" y="26"/>
                  </a:cubicBezTo>
                  <a:cubicBezTo>
                    <a:pt x="12" y="25"/>
                    <a:pt x="13" y="24"/>
                    <a:pt x="14" y="24"/>
                  </a:cubicBezTo>
                  <a:cubicBezTo>
                    <a:pt x="42" y="24"/>
                    <a:pt x="42" y="24"/>
                    <a:pt x="42" y="24"/>
                  </a:cubicBezTo>
                  <a:cubicBezTo>
                    <a:pt x="43" y="24"/>
                    <a:pt x="44" y="25"/>
                    <a:pt x="44" y="26"/>
                  </a:cubicBezTo>
                  <a:cubicBezTo>
                    <a:pt x="44" y="27"/>
                    <a:pt x="43" y="28"/>
                    <a:pt x="42" y="28"/>
                  </a:cubicBezTo>
                  <a:close/>
                  <a:moveTo>
                    <a:pt x="42" y="20"/>
                  </a:moveTo>
                  <a:cubicBezTo>
                    <a:pt x="14" y="20"/>
                    <a:pt x="14" y="20"/>
                    <a:pt x="14" y="20"/>
                  </a:cubicBezTo>
                  <a:cubicBezTo>
                    <a:pt x="13" y="20"/>
                    <a:pt x="12" y="19"/>
                    <a:pt x="12" y="18"/>
                  </a:cubicBezTo>
                  <a:cubicBezTo>
                    <a:pt x="12" y="17"/>
                    <a:pt x="13" y="16"/>
                    <a:pt x="14" y="16"/>
                  </a:cubicBezTo>
                  <a:cubicBezTo>
                    <a:pt x="42" y="16"/>
                    <a:pt x="42" y="16"/>
                    <a:pt x="42" y="16"/>
                  </a:cubicBezTo>
                  <a:cubicBezTo>
                    <a:pt x="43" y="16"/>
                    <a:pt x="44" y="17"/>
                    <a:pt x="44" y="18"/>
                  </a:cubicBezTo>
                  <a:cubicBezTo>
                    <a:pt x="44" y="19"/>
                    <a:pt x="43" y="20"/>
                    <a:pt x="42" y="20"/>
                  </a:cubicBezTo>
                  <a:close/>
                  <a:moveTo>
                    <a:pt x="42" y="12"/>
                  </a:moveTo>
                  <a:cubicBezTo>
                    <a:pt x="14" y="12"/>
                    <a:pt x="14" y="12"/>
                    <a:pt x="14" y="12"/>
                  </a:cubicBezTo>
                  <a:cubicBezTo>
                    <a:pt x="13" y="12"/>
                    <a:pt x="12" y="11"/>
                    <a:pt x="12" y="10"/>
                  </a:cubicBezTo>
                  <a:cubicBezTo>
                    <a:pt x="12" y="9"/>
                    <a:pt x="13" y="8"/>
                    <a:pt x="14" y="8"/>
                  </a:cubicBezTo>
                  <a:cubicBezTo>
                    <a:pt x="42" y="8"/>
                    <a:pt x="42" y="8"/>
                    <a:pt x="42" y="8"/>
                  </a:cubicBezTo>
                  <a:cubicBezTo>
                    <a:pt x="43" y="8"/>
                    <a:pt x="44" y="9"/>
                    <a:pt x="44" y="10"/>
                  </a:cubicBezTo>
                  <a:cubicBezTo>
                    <a:pt x="44" y="11"/>
                    <a:pt x="43"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89" name="Group 88">
            <a:extLst>
              <a:ext uri="{FF2B5EF4-FFF2-40B4-BE49-F238E27FC236}">
                <a16:creationId xmlns:a16="http://schemas.microsoft.com/office/drawing/2014/main" id="{E9666C19-5FA0-472A-956E-6FABD6F4499A}"/>
              </a:ext>
            </a:extLst>
          </p:cNvPr>
          <p:cNvGrpSpPr/>
          <p:nvPr/>
        </p:nvGrpSpPr>
        <p:grpSpPr>
          <a:xfrm>
            <a:off x="7799692" y="4040779"/>
            <a:ext cx="360363" cy="361950"/>
            <a:chOff x="8440738" y="3970338"/>
            <a:chExt cx="360363" cy="361950"/>
          </a:xfrm>
          <a:solidFill>
            <a:schemeClr val="bg1"/>
          </a:solidFill>
        </p:grpSpPr>
        <p:sp>
          <p:nvSpPr>
            <p:cNvPr id="90" name="Freeform 195">
              <a:extLst>
                <a:ext uri="{FF2B5EF4-FFF2-40B4-BE49-F238E27FC236}">
                  <a16:creationId xmlns:a16="http://schemas.microsoft.com/office/drawing/2014/main" id="{A1D900FD-1C7F-4699-86E0-AB71ADB5A9AC}"/>
                </a:ext>
              </a:extLst>
            </p:cNvPr>
            <p:cNvSpPr>
              <a:spLocks/>
            </p:cNvSpPr>
            <p:nvPr/>
          </p:nvSpPr>
          <p:spPr bwMode="auto">
            <a:xfrm>
              <a:off x="8440738" y="4060825"/>
              <a:ext cx="107950" cy="76200"/>
            </a:xfrm>
            <a:custGeom>
              <a:avLst/>
              <a:gdLst>
                <a:gd name="T0" fmla="*/ 0 w 29"/>
                <a:gd name="T1" fmla="*/ 20 h 20"/>
                <a:gd name="T2" fmla="*/ 26 w 29"/>
                <a:gd name="T3" fmla="*/ 20 h 20"/>
                <a:gd name="T4" fmla="*/ 29 w 29"/>
                <a:gd name="T5" fmla="*/ 0 h 20"/>
                <a:gd name="T6" fmla="*/ 6 w 29"/>
                <a:gd name="T7" fmla="*/ 0 h 20"/>
                <a:gd name="T8" fmla="*/ 0 w 29"/>
                <a:gd name="T9" fmla="*/ 20 h 20"/>
              </a:gdLst>
              <a:ahLst/>
              <a:cxnLst>
                <a:cxn ang="0">
                  <a:pos x="T0" y="T1"/>
                </a:cxn>
                <a:cxn ang="0">
                  <a:pos x="T2" y="T3"/>
                </a:cxn>
                <a:cxn ang="0">
                  <a:pos x="T4" y="T5"/>
                </a:cxn>
                <a:cxn ang="0">
                  <a:pos x="T6" y="T7"/>
                </a:cxn>
                <a:cxn ang="0">
                  <a:pos x="T8" y="T9"/>
                </a:cxn>
              </a:cxnLst>
              <a:rect l="0" t="0" r="r" b="b"/>
              <a:pathLst>
                <a:path w="29" h="20">
                  <a:moveTo>
                    <a:pt x="0" y="20"/>
                  </a:moveTo>
                  <a:cubicBezTo>
                    <a:pt x="26" y="20"/>
                    <a:pt x="26" y="20"/>
                    <a:pt x="26" y="20"/>
                  </a:cubicBezTo>
                  <a:cubicBezTo>
                    <a:pt x="26" y="13"/>
                    <a:pt x="27" y="6"/>
                    <a:pt x="29" y="0"/>
                  </a:cubicBezTo>
                  <a:cubicBezTo>
                    <a:pt x="6" y="0"/>
                    <a:pt x="6" y="0"/>
                    <a:pt x="6" y="0"/>
                  </a:cubicBezTo>
                  <a:cubicBezTo>
                    <a:pt x="3" y="6"/>
                    <a:pt x="1" y="13"/>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196">
              <a:extLst>
                <a:ext uri="{FF2B5EF4-FFF2-40B4-BE49-F238E27FC236}">
                  <a16:creationId xmlns:a16="http://schemas.microsoft.com/office/drawing/2014/main" id="{AB53A007-9729-42B0-8E34-9D3AAA276406}"/>
                </a:ext>
              </a:extLst>
            </p:cNvPr>
            <p:cNvSpPr>
              <a:spLocks/>
            </p:cNvSpPr>
            <p:nvPr/>
          </p:nvSpPr>
          <p:spPr bwMode="auto">
            <a:xfrm>
              <a:off x="8688388" y="4060825"/>
              <a:ext cx="112713" cy="76200"/>
            </a:xfrm>
            <a:custGeom>
              <a:avLst/>
              <a:gdLst>
                <a:gd name="T0" fmla="*/ 4 w 30"/>
                <a:gd name="T1" fmla="*/ 20 h 20"/>
                <a:gd name="T2" fmla="*/ 30 w 30"/>
                <a:gd name="T3" fmla="*/ 20 h 20"/>
                <a:gd name="T4" fmla="*/ 24 w 30"/>
                <a:gd name="T5" fmla="*/ 0 h 20"/>
                <a:gd name="T6" fmla="*/ 0 w 30"/>
                <a:gd name="T7" fmla="*/ 0 h 20"/>
                <a:gd name="T8" fmla="*/ 4 w 30"/>
                <a:gd name="T9" fmla="*/ 20 h 20"/>
              </a:gdLst>
              <a:ahLst/>
              <a:cxnLst>
                <a:cxn ang="0">
                  <a:pos x="T0" y="T1"/>
                </a:cxn>
                <a:cxn ang="0">
                  <a:pos x="T2" y="T3"/>
                </a:cxn>
                <a:cxn ang="0">
                  <a:pos x="T4" y="T5"/>
                </a:cxn>
                <a:cxn ang="0">
                  <a:pos x="T6" y="T7"/>
                </a:cxn>
                <a:cxn ang="0">
                  <a:pos x="T8" y="T9"/>
                </a:cxn>
              </a:cxnLst>
              <a:rect l="0" t="0" r="r" b="b"/>
              <a:pathLst>
                <a:path w="30" h="20">
                  <a:moveTo>
                    <a:pt x="4" y="20"/>
                  </a:moveTo>
                  <a:cubicBezTo>
                    <a:pt x="30" y="20"/>
                    <a:pt x="30" y="20"/>
                    <a:pt x="30" y="20"/>
                  </a:cubicBezTo>
                  <a:cubicBezTo>
                    <a:pt x="29" y="13"/>
                    <a:pt x="27" y="6"/>
                    <a:pt x="24" y="0"/>
                  </a:cubicBezTo>
                  <a:cubicBezTo>
                    <a:pt x="0" y="0"/>
                    <a:pt x="0" y="0"/>
                    <a:pt x="0" y="0"/>
                  </a:cubicBezTo>
                  <a:cubicBezTo>
                    <a:pt x="2" y="6"/>
                    <a:pt x="4" y="13"/>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Freeform 197">
              <a:extLst>
                <a:ext uri="{FF2B5EF4-FFF2-40B4-BE49-F238E27FC236}">
                  <a16:creationId xmlns:a16="http://schemas.microsoft.com/office/drawing/2014/main" id="{B1140D18-21FF-4B61-8802-807D9EEF6B55}"/>
                </a:ext>
              </a:extLst>
            </p:cNvPr>
            <p:cNvSpPr>
              <a:spLocks/>
            </p:cNvSpPr>
            <p:nvPr/>
          </p:nvSpPr>
          <p:spPr bwMode="auto">
            <a:xfrm>
              <a:off x="8737600" y="4151313"/>
              <a:ext cx="63500" cy="41275"/>
            </a:xfrm>
            <a:custGeom>
              <a:avLst/>
              <a:gdLst>
                <a:gd name="T0" fmla="*/ 0 w 17"/>
                <a:gd name="T1" fmla="*/ 0 h 11"/>
                <a:gd name="T2" fmla="*/ 6 w 17"/>
                <a:gd name="T3" fmla="*/ 6 h 11"/>
                <a:gd name="T4" fmla="*/ 6 w 17"/>
                <a:gd name="T5" fmla="*/ 6 h 11"/>
                <a:gd name="T6" fmla="*/ 6 w 17"/>
                <a:gd name="T7" fmla="*/ 6 h 11"/>
                <a:gd name="T8" fmla="*/ 11 w 17"/>
                <a:gd name="T9" fmla="*/ 6 h 11"/>
                <a:gd name="T10" fmla="*/ 14 w 17"/>
                <a:gd name="T11" fmla="*/ 8 h 11"/>
                <a:gd name="T12" fmla="*/ 16 w 17"/>
                <a:gd name="T13" fmla="*/ 11 h 11"/>
                <a:gd name="T14" fmla="*/ 17 w 17"/>
                <a:gd name="T15" fmla="*/ 0 h 11"/>
                <a:gd name="T16" fmla="*/ 0 w 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1">
                  <a:moveTo>
                    <a:pt x="0" y="0"/>
                  </a:moveTo>
                  <a:cubicBezTo>
                    <a:pt x="3" y="0"/>
                    <a:pt x="6" y="3"/>
                    <a:pt x="6" y="6"/>
                  </a:cubicBezTo>
                  <a:cubicBezTo>
                    <a:pt x="6" y="6"/>
                    <a:pt x="6" y="6"/>
                    <a:pt x="6" y="6"/>
                  </a:cubicBezTo>
                  <a:cubicBezTo>
                    <a:pt x="6" y="6"/>
                    <a:pt x="6" y="6"/>
                    <a:pt x="6" y="6"/>
                  </a:cubicBezTo>
                  <a:cubicBezTo>
                    <a:pt x="7" y="5"/>
                    <a:pt x="9" y="5"/>
                    <a:pt x="11" y="6"/>
                  </a:cubicBezTo>
                  <a:cubicBezTo>
                    <a:pt x="12" y="6"/>
                    <a:pt x="14" y="7"/>
                    <a:pt x="14" y="8"/>
                  </a:cubicBezTo>
                  <a:cubicBezTo>
                    <a:pt x="16" y="11"/>
                    <a:pt x="16" y="11"/>
                    <a:pt x="16" y="11"/>
                  </a:cubicBezTo>
                  <a:cubicBezTo>
                    <a:pt x="17" y="7"/>
                    <a:pt x="17" y="4"/>
                    <a:pt x="1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198">
              <a:extLst>
                <a:ext uri="{FF2B5EF4-FFF2-40B4-BE49-F238E27FC236}">
                  <a16:creationId xmlns:a16="http://schemas.microsoft.com/office/drawing/2014/main" id="{DF3C51D1-9D22-44F6-A648-2C8A12B40D71}"/>
                </a:ext>
              </a:extLst>
            </p:cNvPr>
            <p:cNvSpPr>
              <a:spLocks/>
            </p:cNvSpPr>
            <p:nvPr/>
          </p:nvSpPr>
          <p:spPr bwMode="auto">
            <a:xfrm>
              <a:off x="8570913" y="4241800"/>
              <a:ext cx="65088" cy="79375"/>
            </a:xfrm>
            <a:custGeom>
              <a:avLst/>
              <a:gdLst>
                <a:gd name="T0" fmla="*/ 17 w 17"/>
                <a:gd name="T1" fmla="*/ 16 h 21"/>
                <a:gd name="T2" fmla="*/ 13 w 17"/>
                <a:gd name="T3" fmla="*/ 10 h 21"/>
                <a:gd name="T4" fmla="*/ 13 w 17"/>
                <a:gd name="T5" fmla="*/ 6 h 21"/>
                <a:gd name="T6" fmla="*/ 16 w 17"/>
                <a:gd name="T7" fmla="*/ 2 h 21"/>
                <a:gd name="T8" fmla="*/ 16 w 17"/>
                <a:gd name="T9" fmla="*/ 2 h 21"/>
                <a:gd name="T10" fmla="*/ 16 w 17"/>
                <a:gd name="T11" fmla="*/ 2 h 21"/>
                <a:gd name="T12" fmla="*/ 14 w 17"/>
                <a:gd name="T13" fmla="*/ 0 h 21"/>
                <a:gd name="T14" fmla="*/ 0 w 17"/>
                <a:gd name="T15" fmla="*/ 0 h 21"/>
                <a:gd name="T16" fmla="*/ 12 w 17"/>
                <a:gd name="T17" fmla="*/ 21 h 21"/>
                <a:gd name="T18" fmla="*/ 13 w 17"/>
                <a:gd name="T19" fmla="*/ 21 h 21"/>
                <a:gd name="T20" fmla="*/ 13 w 17"/>
                <a:gd name="T21" fmla="*/ 21 h 21"/>
                <a:gd name="T22" fmla="*/ 17 w 17"/>
                <a:gd name="T23"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1">
                  <a:moveTo>
                    <a:pt x="17" y="16"/>
                  </a:moveTo>
                  <a:cubicBezTo>
                    <a:pt x="13" y="10"/>
                    <a:pt x="13" y="10"/>
                    <a:pt x="13" y="10"/>
                  </a:cubicBezTo>
                  <a:cubicBezTo>
                    <a:pt x="13" y="9"/>
                    <a:pt x="12" y="7"/>
                    <a:pt x="13" y="6"/>
                  </a:cubicBezTo>
                  <a:cubicBezTo>
                    <a:pt x="13" y="4"/>
                    <a:pt x="14" y="3"/>
                    <a:pt x="16" y="2"/>
                  </a:cubicBezTo>
                  <a:cubicBezTo>
                    <a:pt x="16" y="2"/>
                    <a:pt x="16" y="2"/>
                    <a:pt x="16" y="2"/>
                  </a:cubicBezTo>
                  <a:cubicBezTo>
                    <a:pt x="16" y="2"/>
                    <a:pt x="16" y="2"/>
                    <a:pt x="16" y="2"/>
                  </a:cubicBezTo>
                  <a:cubicBezTo>
                    <a:pt x="15" y="1"/>
                    <a:pt x="14" y="1"/>
                    <a:pt x="14" y="0"/>
                  </a:cubicBezTo>
                  <a:cubicBezTo>
                    <a:pt x="0" y="0"/>
                    <a:pt x="0" y="0"/>
                    <a:pt x="0" y="0"/>
                  </a:cubicBezTo>
                  <a:cubicBezTo>
                    <a:pt x="3" y="7"/>
                    <a:pt x="7" y="14"/>
                    <a:pt x="12" y="21"/>
                  </a:cubicBezTo>
                  <a:cubicBezTo>
                    <a:pt x="13" y="21"/>
                    <a:pt x="13" y="21"/>
                    <a:pt x="13" y="21"/>
                  </a:cubicBezTo>
                  <a:cubicBezTo>
                    <a:pt x="13" y="21"/>
                    <a:pt x="13" y="21"/>
                    <a:pt x="13" y="21"/>
                  </a:cubicBezTo>
                  <a:cubicBezTo>
                    <a:pt x="14" y="19"/>
                    <a:pt x="16" y="18"/>
                    <a:pt x="1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199">
              <a:extLst>
                <a:ext uri="{FF2B5EF4-FFF2-40B4-BE49-F238E27FC236}">
                  <a16:creationId xmlns:a16="http://schemas.microsoft.com/office/drawing/2014/main" id="{15323105-D922-4123-A1A0-62AC3C18528D}"/>
                </a:ext>
              </a:extLst>
            </p:cNvPr>
            <p:cNvSpPr>
              <a:spLocks/>
            </p:cNvSpPr>
            <p:nvPr/>
          </p:nvSpPr>
          <p:spPr bwMode="auto">
            <a:xfrm>
              <a:off x="8440738" y="4151313"/>
              <a:ext cx="107950" cy="76200"/>
            </a:xfrm>
            <a:custGeom>
              <a:avLst/>
              <a:gdLst>
                <a:gd name="T0" fmla="*/ 26 w 29"/>
                <a:gd name="T1" fmla="*/ 0 h 20"/>
                <a:gd name="T2" fmla="*/ 0 w 29"/>
                <a:gd name="T3" fmla="*/ 0 h 20"/>
                <a:gd name="T4" fmla="*/ 4 w 29"/>
                <a:gd name="T5" fmla="*/ 20 h 20"/>
                <a:gd name="T6" fmla="*/ 29 w 29"/>
                <a:gd name="T7" fmla="*/ 20 h 20"/>
                <a:gd name="T8" fmla="*/ 26 w 29"/>
                <a:gd name="T9" fmla="*/ 0 h 20"/>
              </a:gdLst>
              <a:ahLst/>
              <a:cxnLst>
                <a:cxn ang="0">
                  <a:pos x="T0" y="T1"/>
                </a:cxn>
                <a:cxn ang="0">
                  <a:pos x="T2" y="T3"/>
                </a:cxn>
                <a:cxn ang="0">
                  <a:pos x="T4" y="T5"/>
                </a:cxn>
                <a:cxn ang="0">
                  <a:pos x="T6" y="T7"/>
                </a:cxn>
                <a:cxn ang="0">
                  <a:pos x="T8" y="T9"/>
                </a:cxn>
              </a:cxnLst>
              <a:rect l="0" t="0" r="r" b="b"/>
              <a:pathLst>
                <a:path w="29" h="20">
                  <a:moveTo>
                    <a:pt x="26" y="0"/>
                  </a:moveTo>
                  <a:cubicBezTo>
                    <a:pt x="0" y="0"/>
                    <a:pt x="0" y="0"/>
                    <a:pt x="0" y="0"/>
                  </a:cubicBezTo>
                  <a:cubicBezTo>
                    <a:pt x="0" y="7"/>
                    <a:pt x="2" y="14"/>
                    <a:pt x="4" y="20"/>
                  </a:cubicBezTo>
                  <a:cubicBezTo>
                    <a:pt x="29" y="20"/>
                    <a:pt x="29" y="20"/>
                    <a:pt x="29" y="20"/>
                  </a:cubicBezTo>
                  <a:cubicBezTo>
                    <a:pt x="27" y="13"/>
                    <a:pt x="26" y="7"/>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200">
              <a:extLst>
                <a:ext uri="{FF2B5EF4-FFF2-40B4-BE49-F238E27FC236}">
                  <a16:creationId xmlns:a16="http://schemas.microsoft.com/office/drawing/2014/main" id="{58A8BDFB-E52D-472F-BB3A-8B8D47565F3C}"/>
                </a:ext>
              </a:extLst>
            </p:cNvPr>
            <p:cNvSpPr>
              <a:spLocks/>
            </p:cNvSpPr>
            <p:nvPr/>
          </p:nvSpPr>
          <p:spPr bwMode="auto">
            <a:xfrm>
              <a:off x="8570913" y="3978275"/>
              <a:ext cx="95250" cy="68263"/>
            </a:xfrm>
            <a:custGeom>
              <a:avLst/>
              <a:gdLst>
                <a:gd name="T0" fmla="*/ 25 w 25"/>
                <a:gd name="T1" fmla="*/ 18 h 18"/>
                <a:gd name="T2" fmla="*/ 14 w 25"/>
                <a:gd name="T3" fmla="*/ 1 h 18"/>
                <a:gd name="T4" fmla="*/ 13 w 25"/>
                <a:gd name="T5" fmla="*/ 0 h 18"/>
                <a:gd name="T6" fmla="*/ 12 w 25"/>
                <a:gd name="T7" fmla="*/ 1 h 18"/>
                <a:gd name="T8" fmla="*/ 0 w 25"/>
                <a:gd name="T9" fmla="*/ 18 h 18"/>
                <a:gd name="T10" fmla="*/ 25 w 25"/>
                <a:gd name="T11" fmla="*/ 18 h 18"/>
              </a:gdLst>
              <a:ahLst/>
              <a:cxnLst>
                <a:cxn ang="0">
                  <a:pos x="T0" y="T1"/>
                </a:cxn>
                <a:cxn ang="0">
                  <a:pos x="T2" y="T3"/>
                </a:cxn>
                <a:cxn ang="0">
                  <a:pos x="T4" y="T5"/>
                </a:cxn>
                <a:cxn ang="0">
                  <a:pos x="T6" y="T7"/>
                </a:cxn>
                <a:cxn ang="0">
                  <a:pos x="T8" y="T9"/>
                </a:cxn>
                <a:cxn ang="0">
                  <a:pos x="T10" y="T11"/>
                </a:cxn>
              </a:cxnLst>
              <a:rect l="0" t="0" r="r" b="b"/>
              <a:pathLst>
                <a:path w="25" h="18">
                  <a:moveTo>
                    <a:pt x="25" y="18"/>
                  </a:moveTo>
                  <a:cubicBezTo>
                    <a:pt x="22" y="12"/>
                    <a:pt x="19" y="7"/>
                    <a:pt x="14" y="1"/>
                  </a:cubicBezTo>
                  <a:cubicBezTo>
                    <a:pt x="13" y="1"/>
                    <a:pt x="13" y="1"/>
                    <a:pt x="13" y="0"/>
                  </a:cubicBezTo>
                  <a:cubicBezTo>
                    <a:pt x="12" y="1"/>
                    <a:pt x="12" y="1"/>
                    <a:pt x="12" y="1"/>
                  </a:cubicBezTo>
                  <a:cubicBezTo>
                    <a:pt x="7" y="7"/>
                    <a:pt x="3" y="12"/>
                    <a:pt x="0" y="18"/>
                  </a:cubicBezTo>
                  <a:lnTo>
                    <a:pt x="2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201">
              <a:extLst>
                <a:ext uri="{FF2B5EF4-FFF2-40B4-BE49-F238E27FC236}">
                  <a16:creationId xmlns:a16="http://schemas.microsoft.com/office/drawing/2014/main" id="{FD54EB8F-D320-46EA-9598-85EDE0811ADF}"/>
                </a:ext>
              </a:extLst>
            </p:cNvPr>
            <p:cNvSpPr>
              <a:spLocks/>
            </p:cNvSpPr>
            <p:nvPr/>
          </p:nvSpPr>
          <p:spPr bwMode="auto">
            <a:xfrm>
              <a:off x="8548688" y="4060825"/>
              <a:ext cx="139700" cy="76200"/>
            </a:xfrm>
            <a:custGeom>
              <a:avLst/>
              <a:gdLst>
                <a:gd name="T0" fmla="*/ 37 w 37"/>
                <a:gd name="T1" fmla="*/ 20 h 20"/>
                <a:gd name="T2" fmla="*/ 33 w 37"/>
                <a:gd name="T3" fmla="*/ 0 h 20"/>
                <a:gd name="T4" fmla="*/ 4 w 37"/>
                <a:gd name="T5" fmla="*/ 0 h 20"/>
                <a:gd name="T6" fmla="*/ 0 w 37"/>
                <a:gd name="T7" fmla="*/ 20 h 20"/>
                <a:gd name="T8" fmla="*/ 37 w 37"/>
                <a:gd name="T9" fmla="*/ 20 h 20"/>
              </a:gdLst>
              <a:ahLst/>
              <a:cxnLst>
                <a:cxn ang="0">
                  <a:pos x="T0" y="T1"/>
                </a:cxn>
                <a:cxn ang="0">
                  <a:pos x="T2" y="T3"/>
                </a:cxn>
                <a:cxn ang="0">
                  <a:pos x="T4" y="T5"/>
                </a:cxn>
                <a:cxn ang="0">
                  <a:pos x="T6" y="T7"/>
                </a:cxn>
                <a:cxn ang="0">
                  <a:pos x="T8" y="T9"/>
                </a:cxn>
              </a:cxnLst>
              <a:rect l="0" t="0" r="r" b="b"/>
              <a:pathLst>
                <a:path w="37" h="20">
                  <a:moveTo>
                    <a:pt x="37" y="20"/>
                  </a:moveTo>
                  <a:cubicBezTo>
                    <a:pt x="37" y="13"/>
                    <a:pt x="36" y="6"/>
                    <a:pt x="33" y="0"/>
                  </a:cubicBezTo>
                  <a:cubicBezTo>
                    <a:pt x="4" y="0"/>
                    <a:pt x="4" y="0"/>
                    <a:pt x="4" y="0"/>
                  </a:cubicBezTo>
                  <a:cubicBezTo>
                    <a:pt x="2" y="6"/>
                    <a:pt x="0" y="13"/>
                    <a:pt x="0" y="20"/>
                  </a:cubicBezTo>
                  <a:lnTo>
                    <a:pt x="3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202">
              <a:extLst>
                <a:ext uri="{FF2B5EF4-FFF2-40B4-BE49-F238E27FC236}">
                  <a16:creationId xmlns:a16="http://schemas.microsoft.com/office/drawing/2014/main" id="{EF550B3A-6231-4673-8740-BF9DF2690C92}"/>
                </a:ext>
              </a:extLst>
            </p:cNvPr>
            <p:cNvSpPr>
              <a:spLocks/>
            </p:cNvSpPr>
            <p:nvPr/>
          </p:nvSpPr>
          <p:spPr bwMode="auto">
            <a:xfrm>
              <a:off x="8474075" y="3970338"/>
              <a:ext cx="131763" cy="76200"/>
            </a:xfrm>
            <a:custGeom>
              <a:avLst/>
              <a:gdLst>
                <a:gd name="T0" fmla="*/ 22 w 35"/>
                <a:gd name="T1" fmla="*/ 20 h 20"/>
                <a:gd name="T2" fmla="*/ 35 w 35"/>
                <a:gd name="T3" fmla="*/ 1 h 20"/>
                <a:gd name="T4" fmla="*/ 35 w 35"/>
                <a:gd name="T5" fmla="*/ 0 h 20"/>
                <a:gd name="T6" fmla="*/ 0 w 35"/>
                <a:gd name="T7" fmla="*/ 20 h 20"/>
                <a:gd name="T8" fmla="*/ 22 w 35"/>
                <a:gd name="T9" fmla="*/ 20 h 20"/>
              </a:gdLst>
              <a:ahLst/>
              <a:cxnLst>
                <a:cxn ang="0">
                  <a:pos x="T0" y="T1"/>
                </a:cxn>
                <a:cxn ang="0">
                  <a:pos x="T2" y="T3"/>
                </a:cxn>
                <a:cxn ang="0">
                  <a:pos x="T4" y="T5"/>
                </a:cxn>
                <a:cxn ang="0">
                  <a:pos x="T6" y="T7"/>
                </a:cxn>
                <a:cxn ang="0">
                  <a:pos x="T8" y="T9"/>
                </a:cxn>
              </a:cxnLst>
              <a:rect l="0" t="0" r="r" b="b"/>
              <a:pathLst>
                <a:path w="35" h="20">
                  <a:moveTo>
                    <a:pt x="22" y="20"/>
                  </a:moveTo>
                  <a:cubicBezTo>
                    <a:pt x="25" y="13"/>
                    <a:pt x="29" y="7"/>
                    <a:pt x="35" y="1"/>
                  </a:cubicBezTo>
                  <a:cubicBezTo>
                    <a:pt x="35" y="1"/>
                    <a:pt x="35" y="0"/>
                    <a:pt x="35" y="0"/>
                  </a:cubicBezTo>
                  <a:cubicBezTo>
                    <a:pt x="21" y="1"/>
                    <a:pt x="8" y="9"/>
                    <a:pt x="0" y="20"/>
                  </a:cubicBezTo>
                  <a:lnTo>
                    <a:pt x="2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203">
              <a:extLst>
                <a:ext uri="{FF2B5EF4-FFF2-40B4-BE49-F238E27FC236}">
                  <a16:creationId xmlns:a16="http://schemas.microsoft.com/office/drawing/2014/main" id="{FC2B4867-7FD3-4BE8-8892-F4E04568ADAE}"/>
                </a:ext>
              </a:extLst>
            </p:cNvPr>
            <p:cNvSpPr>
              <a:spLocks/>
            </p:cNvSpPr>
            <p:nvPr/>
          </p:nvSpPr>
          <p:spPr bwMode="auto">
            <a:xfrm>
              <a:off x="8462963" y="4241800"/>
              <a:ext cx="142875" cy="90488"/>
            </a:xfrm>
            <a:custGeom>
              <a:avLst/>
              <a:gdLst>
                <a:gd name="T0" fmla="*/ 38 w 38"/>
                <a:gd name="T1" fmla="*/ 23 h 24"/>
                <a:gd name="T2" fmla="*/ 25 w 38"/>
                <a:gd name="T3" fmla="*/ 0 h 24"/>
                <a:gd name="T4" fmla="*/ 0 w 38"/>
                <a:gd name="T5" fmla="*/ 0 h 24"/>
                <a:gd name="T6" fmla="*/ 38 w 38"/>
                <a:gd name="T7" fmla="*/ 24 h 24"/>
                <a:gd name="T8" fmla="*/ 38 w 38"/>
                <a:gd name="T9" fmla="*/ 23 h 24"/>
              </a:gdLst>
              <a:ahLst/>
              <a:cxnLst>
                <a:cxn ang="0">
                  <a:pos x="T0" y="T1"/>
                </a:cxn>
                <a:cxn ang="0">
                  <a:pos x="T2" y="T3"/>
                </a:cxn>
                <a:cxn ang="0">
                  <a:pos x="T4" y="T5"/>
                </a:cxn>
                <a:cxn ang="0">
                  <a:pos x="T6" y="T7"/>
                </a:cxn>
                <a:cxn ang="0">
                  <a:pos x="T8" y="T9"/>
                </a:cxn>
              </a:cxnLst>
              <a:rect l="0" t="0" r="r" b="b"/>
              <a:pathLst>
                <a:path w="38" h="24">
                  <a:moveTo>
                    <a:pt x="38" y="23"/>
                  </a:moveTo>
                  <a:cubicBezTo>
                    <a:pt x="32" y="16"/>
                    <a:pt x="28" y="8"/>
                    <a:pt x="25" y="0"/>
                  </a:cubicBezTo>
                  <a:cubicBezTo>
                    <a:pt x="0" y="0"/>
                    <a:pt x="0" y="0"/>
                    <a:pt x="0" y="0"/>
                  </a:cubicBezTo>
                  <a:cubicBezTo>
                    <a:pt x="8" y="13"/>
                    <a:pt x="22" y="23"/>
                    <a:pt x="38" y="24"/>
                  </a:cubicBezTo>
                  <a:lnTo>
                    <a:pt x="38"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204">
              <a:extLst>
                <a:ext uri="{FF2B5EF4-FFF2-40B4-BE49-F238E27FC236}">
                  <a16:creationId xmlns:a16="http://schemas.microsoft.com/office/drawing/2014/main" id="{7A249A56-50A1-40B3-AA1D-07DF5CD57099}"/>
                </a:ext>
              </a:extLst>
            </p:cNvPr>
            <p:cNvSpPr>
              <a:spLocks/>
            </p:cNvSpPr>
            <p:nvPr/>
          </p:nvSpPr>
          <p:spPr bwMode="auto">
            <a:xfrm>
              <a:off x="8631238" y="3970338"/>
              <a:ext cx="134938" cy="76200"/>
            </a:xfrm>
            <a:custGeom>
              <a:avLst/>
              <a:gdLst>
                <a:gd name="T0" fmla="*/ 1 w 36"/>
                <a:gd name="T1" fmla="*/ 1 h 20"/>
                <a:gd name="T2" fmla="*/ 13 w 36"/>
                <a:gd name="T3" fmla="*/ 20 h 20"/>
                <a:gd name="T4" fmla="*/ 36 w 36"/>
                <a:gd name="T5" fmla="*/ 20 h 20"/>
                <a:gd name="T6" fmla="*/ 0 w 36"/>
                <a:gd name="T7" fmla="*/ 0 h 20"/>
                <a:gd name="T8" fmla="*/ 1 w 36"/>
                <a:gd name="T9" fmla="*/ 1 h 20"/>
              </a:gdLst>
              <a:ahLst/>
              <a:cxnLst>
                <a:cxn ang="0">
                  <a:pos x="T0" y="T1"/>
                </a:cxn>
                <a:cxn ang="0">
                  <a:pos x="T2" y="T3"/>
                </a:cxn>
                <a:cxn ang="0">
                  <a:pos x="T4" y="T5"/>
                </a:cxn>
                <a:cxn ang="0">
                  <a:pos x="T6" y="T7"/>
                </a:cxn>
                <a:cxn ang="0">
                  <a:pos x="T8" y="T9"/>
                </a:cxn>
              </a:cxnLst>
              <a:rect l="0" t="0" r="r" b="b"/>
              <a:pathLst>
                <a:path w="36" h="20">
                  <a:moveTo>
                    <a:pt x="1" y="1"/>
                  </a:moveTo>
                  <a:cubicBezTo>
                    <a:pt x="6" y="7"/>
                    <a:pt x="10" y="13"/>
                    <a:pt x="13" y="20"/>
                  </a:cubicBezTo>
                  <a:cubicBezTo>
                    <a:pt x="36" y="20"/>
                    <a:pt x="36" y="20"/>
                    <a:pt x="36" y="20"/>
                  </a:cubicBezTo>
                  <a:cubicBezTo>
                    <a:pt x="28" y="9"/>
                    <a:pt x="15" y="1"/>
                    <a:pt x="0"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206">
              <a:extLst>
                <a:ext uri="{FF2B5EF4-FFF2-40B4-BE49-F238E27FC236}">
                  <a16:creationId xmlns:a16="http://schemas.microsoft.com/office/drawing/2014/main" id="{9DDFFF7B-B392-42A6-88CD-DF74088CDFC7}"/>
                </a:ext>
              </a:extLst>
            </p:cNvPr>
            <p:cNvSpPr>
              <a:spLocks/>
            </p:cNvSpPr>
            <p:nvPr/>
          </p:nvSpPr>
          <p:spPr bwMode="auto">
            <a:xfrm>
              <a:off x="8548688" y="4151313"/>
              <a:ext cx="139700" cy="76200"/>
            </a:xfrm>
            <a:custGeom>
              <a:avLst/>
              <a:gdLst>
                <a:gd name="T0" fmla="*/ 19 w 37"/>
                <a:gd name="T1" fmla="*/ 18 h 20"/>
                <a:gd name="T2" fmla="*/ 25 w 37"/>
                <a:gd name="T3" fmla="*/ 8 h 20"/>
                <a:gd name="T4" fmla="*/ 33 w 37"/>
                <a:gd name="T5" fmla="*/ 6 h 20"/>
                <a:gd name="T6" fmla="*/ 33 w 37"/>
                <a:gd name="T7" fmla="*/ 6 h 20"/>
                <a:gd name="T8" fmla="*/ 33 w 37"/>
                <a:gd name="T9" fmla="*/ 6 h 20"/>
                <a:gd name="T10" fmla="*/ 37 w 37"/>
                <a:gd name="T11" fmla="*/ 1 h 20"/>
                <a:gd name="T12" fmla="*/ 37 w 37"/>
                <a:gd name="T13" fmla="*/ 0 h 20"/>
                <a:gd name="T14" fmla="*/ 0 w 37"/>
                <a:gd name="T15" fmla="*/ 0 h 20"/>
                <a:gd name="T16" fmla="*/ 4 w 37"/>
                <a:gd name="T17" fmla="*/ 20 h 20"/>
                <a:gd name="T18" fmla="*/ 19 w 37"/>
                <a:gd name="T19" fmla="*/ 20 h 20"/>
                <a:gd name="T20" fmla="*/ 19 w 37"/>
                <a:gd name="T2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20">
                  <a:moveTo>
                    <a:pt x="19" y="18"/>
                  </a:moveTo>
                  <a:cubicBezTo>
                    <a:pt x="25" y="8"/>
                    <a:pt x="25" y="8"/>
                    <a:pt x="25" y="8"/>
                  </a:cubicBezTo>
                  <a:cubicBezTo>
                    <a:pt x="26" y="5"/>
                    <a:pt x="30" y="5"/>
                    <a:pt x="33" y="6"/>
                  </a:cubicBezTo>
                  <a:cubicBezTo>
                    <a:pt x="33" y="6"/>
                    <a:pt x="33" y="6"/>
                    <a:pt x="33" y="6"/>
                  </a:cubicBezTo>
                  <a:cubicBezTo>
                    <a:pt x="33" y="6"/>
                    <a:pt x="33" y="6"/>
                    <a:pt x="33" y="6"/>
                  </a:cubicBezTo>
                  <a:cubicBezTo>
                    <a:pt x="33" y="4"/>
                    <a:pt x="35" y="1"/>
                    <a:pt x="37" y="1"/>
                  </a:cubicBezTo>
                  <a:cubicBezTo>
                    <a:pt x="37" y="0"/>
                    <a:pt x="37" y="0"/>
                    <a:pt x="37" y="0"/>
                  </a:cubicBezTo>
                  <a:cubicBezTo>
                    <a:pt x="0" y="0"/>
                    <a:pt x="0" y="0"/>
                    <a:pt x="0" y="0"/>
                  </a:cubicBezTo>
                  <a:cubicBezTo>
                    <a:pt x="1" y="7"/>
                    <a:pt x="2" y="13"/>
                    <a:pt x="4" y="20"/>
                  </a:cubicBezTo>
                  <a:cubicBezTo>
                    <a:pt x="19" y="20"/>
                    <a:pt x="19" y="20"/>
                    <a:pt x="19" y="20"/>
                  </a:cubicBezTo>
                  <a:cubicBezTo>
                    <a:pt x="19" y="19"/>
                    <a:pt x="19" y="18"/>
                    <a:pt x="1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4" name="Freeform 207">
              <a:extLst>
                <a:ext uri="{FF2B5EF4-FFF2-40B4-BE49-F238E27FC236}">
                  <a16:creationId xmlns:a16="http://schemas.microsoft.com/office/drawing/2014/main" id="{EC322781-FCB4-41ED-A30E-572CCDEDE7DC}"/>
                </a:ext>
              </a:extLst>
            </p:cNvPr>
            <p:cNvSpPr>
              <a:spLocks noEditPoints="1"/>
            </p:cNvSpPr>
            <p:nvPr/>
          </p:nvSpPr>
          <p:spPr bwMode="auto">
            <a:xfrm>
              <a:off x="8631238" y="4167188"/>
              <a:ext cx="169863" cy="165100"/>
            </a:xfrm>
            <a:custGeom>
              <a:avLst/>
              <a:gdLst>
                <a:gd name="T0" fmla="*/ 44 w 45"/>
                <a:gd name="T1" fmla="*/ 27 h 44"/>
                <a:gd name="T2" fmla="*/ 44 w 45"/>
                <a:gd name="T3" fmla="*/ 26 h 44"/>
                <a:gd name="T4" fmla="*/ 41 w 45"/>
                <a:gd name="T5" fmla="*/ 24 h 44"/>
                <a:gd name="T6" fmla="*/ 41 w 45"/>
                <a:gd name="T7" fmla="*/ 22 h 44"/>
                <a:gd name="T8" fmla="*/ 41 w 45"/>
                <a:gd name="T9" fmla="*/ 20 h 44"/>
                <a:gd name="T10" fmla="*/ 44 w 45"/>
                <a:gd name="T11" fmla="*/ 19 h 44"/>
                <a:gd name="T12" fmla="*/ 44 w 45"/>
                <a:gd name="T13" fmla="*/ 16 h 44"/>
                <a:gd name="T14" fmla="*/ 39 w 45"/>
                <a:gd name="T15" fmla="*/ 6 h 44"/>
                <a:gd name="T16" fmla="*/ 38 w 45"/>
                <a:gd name="T17" fmla="*/ 5 h 44"/>
                <a:gd name="T18" fmla="*/ 36 w 45"/>
                <a:gd name="T19" fmla="*/ 6 h 44"/>
                <a:gd name="T20" fmla="*/ 33 w 45"/>
                <a:gd name="T21" fmla="*/ 7 h 44"/>
                <a:gd name="T22" fmla="*/ 30 w 45"/>
                <a:gd name="T23" fmla="*/ 5 h 44"/>
                <a:gd name="T24" fmla="*/ 30 w 45"/>
                <a:gd name="T25" fmla="*/ 2 h 44"/>
                <a:gd name="T26" fmla="*/ 28 w 45"/>
                <a:gd name="T27" fmla="*/ 0 h 44"/>
                <a:gd name="T28" fmla="*/ 17 w 45"/>
                <a:gd name="T29" fmla="*/ 0 h 44"/>
                <a:gd name="T30" fmla="*/ 15 w 45"/>
                <a:gd name="T31" fmla="*/ 2 h 44"/>
                <a:gd name="T32" fmla="*/ 15 w 45"/>
                <a:gd name="T33" fmla="*/ 5 h 44"/>
                <a:gd name="T34" fmla="*/ 12 w 45"/>
                <a:gd name="T35" fmla="*/ 7 h 44"/>
                <a:gd name="T36" fmla="*/ 9 w 45"/>
                <a:gd name="T37" fmla="*/ 6 h 44"/>
                <a:gd name="T38" fmla="*/ 6 w 45"/>
                <a:gd name="T39" fmla="*/ 6 h 44"/>
                <a:gd name="T40" fmla="*/ 1 w 45"/>
                <a:gd name="T41" fmla="*/ 16 h 44"/>
                <a:gd name="T42" fmla="*/ 2 w 45"/>
                <a:gd name="T43" fmla="*/ 19 h 44"/>
                <a:gd name="T44" fmla="*/ 4 w 45"/>
                <a:gd name="T45" fmla="*/ 20 h 44"/>
                <a:gd name="T46" fmla="*/ 4 w 45"/>
                <a:gd name="T47" fmla="*/ 22 h 44"/>
                <a:gd name="T48" fmla="*/ 4 w 45"/>
                <a:gd name="T49" fmla="*/ 24 h 44"/>
                <a:gd name="T50" fmla="*/ 2 w 45"/>
                <a:gd name="T51" fmla="*/ 26 h 44"/>
                <a:gd name="T52" fmla="*/ 1 w 45"/>
                <a:gd name="T53" fmla="*/ 27 h 44"/>
                <a:gd name="T54" fmla="*/ 1 w 45"/>
                <a:gd name="T55" fmla="*/ 28 h 44"/>
                <a:gd name="T56" fmla="*/ 6 w 45"/>
                <a:gd name="T57" fmla="*/ 38 h 44"/>
                <a:gd name="T58" fmla="*/ 9 w 45"/>
                <a:gd name="T59" fmla="*/ 38 h 44"/>
                <a:gd name="T60" fmla="*/ 12 w 45"/>
                <a:gd name="T61" fmla="*/ 37 h 44"/>
                <a:gd name="T62" fmla="*/ 15 w 45"/>
                <a:gd name="T63" fmla="*/ 39 h 44"/>
                <a:gd name="T64" fmla="*/ 15 w 45"/>
                <a:gd name="T65" fmla="*/ 42 h 44"/>
                <a:gd name="T66" fmla="*/ 17 w 45"/>
                <a:gd name="T67" fmla="*/ 44 h 44"/>
                <a:gd name="T68" fmla="*/ 28 w 45"/>
                <a:gd name="T69" fmla="*/ 44 h 44"/>
                <a:gd name="T70" fmla="*/ 30 w 45"/>
                <a:gd name="T71" fmla="*/ 42 h 44"/>
                <a:gd name="T72" fmla="*/ 30 w 45"/>
                <a:gd name="T73" fmla="*/ 39 h 44"/>
                <a:gd name="T74" fmla="*/ 33 w 45"/>
                <a:gd name="T75" fmla="*/ 37 h 44"/>
                <a:gd name="T76" fmla="*/ 36 w 45"/>
                <a:gd name="T77" fmla="*/ 38 h 44"/>
                <a:gd name="T78" fmla="*/ 38 w 45"/>
                <a:gd name="T79" fmla="*/ 39 h 44"/>
                <a:gd name="T80" fmla="*/ 39 w 45"/>
                <a:gd name="T81" fmla="*/ 38 h 44"/>
                <a:gd name="T82" fmla="*/ 44 w 45"/>
                <a:gd name="T83" fmla="*/ 28 h 44"/>
                <a:gd name="T84" fmla="*/ 44 w 45"/>
                <a:gd name="T85" fmla="*/ 27 h 44"/>
                <a:gd name="T86" fmla="*/ 23 w 45"/>
                <a:gd name="T87" fmla="*/ 29 h 44"/>
                <a:gd name="T88" fmla="*/ 15 w 45"/>
                <a:gd name="T89" fmla="*/ 22 h 44"/>
                <a:gd name="T90" fmla="*/ 23 w 45"/>
                <a:gd name="T91" fmla="*/ 15 h 44"/>
                <a:gd name="T92" fmla="*/ 30 w 45"/>
                <a:gd name="T93" fmla="*/ 22 h 44"/>
                <a:gd name="T94" fmla="*/ 23 w 45"/>
                <a:gd name="T9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 h="44">
                  <a:moveTo>
                    <a:pt x="44" y="27"/>
                  </a:moveTo>
                  <a:cubicBezTo>
                    <a:pt x="44" y="26"/>
                    <a:pt x="44" y="26"/>
                    <a:pt x="44" y="26"/>
                  </a:cubicBezTo>
                  <a:cubicBezTo>
                    <a:pt x="41" y="24"/>
                    <a:pt x="41" y="24"/>
                    <a:pt x="41" y="24"/>
                  </a:cubicBezTo>
                  <a:cubicBezTo>
                    <a:pt x="41" y="23"/>
                    <a:pt x="41" y="23"/>
                    <a:pt x="41" y="22"/>
                  </a:cubicBezTo>
                  <a:cubicBezTo>
                    <a:pt x="41" y="21"/>
                    <a:pt x="41" y="21"/>
                    <a:pt x="41" y="20"/>
                  </a:cubicBezTo>
                  <a:cubicBezTo>
                    <a:pt x="44" y="19"/>
                    <a:pt x="44" y="19"/>
                    <a:pt x="44" y="19"/>
                  </a:cubicBezTo>
                  <a:cubicBezTo>
                    <a:pt x="44" y="18"/>
                    <a:pt x="45" y="17"/>
                    <a:pt x="44" y="16"/>
                  </a:cubicBezTo>
                  <a:cubicBezTo>
                    <a:pt x="39" y="6"/>
                    <a:pt x="39" y="6"/>
                    <a:pt x="39" y="6"/>
                  </a:cubicBezTo>
                  <a:cubicBezTo>
                    <a:pt x="39" y="6"/>
                    <a:pt x="38" y="6"/>
                    <a:pt x="38" y="5"/>
                  </a:cubicBezTo>
                  <a:cubicBezTo>
                    <a:pt x="37" y="5"/>
                    <a:pt x="37" y="5"/>
                    <a:pt x="36" y="6"/>
                  </a:cubicBezTo>
                  <a:cubicBezTo>
                    <a:pt x="33" y="7"/>
                    <a:pt x="33" y="7"/>
                    <a:pt x="33" y="7"/>
                  </a:cubicBezTo>
                  <a:cubicBezTo>
                    <a:pt x="32" y="7"/>
                    <a:pt x="31" y="6"/>
                    <a:pt x="30" y="5"/>
                  </a:cubicBezTo>
                  <a:cubicBezTo>
                    <a:pt x="30" y="2"/>
                    <a:pt x="30" y="2"/>
                    <a:pt x="30" y="2"/>
                  </a:cubicBezTo>
                  <a:cubicBezTo>
                    <a:pt x="30" y="1"/>
                    <a:pt x="29" y="0"/>
                    <a:pt x="28" y="0"/>
                  </a:cubicBezTo>
                  <a:cubicBezTo>
                    <a:pt x="17" y="0"/>
                    <a:pt x="17" y="0"/>
                    <a:pt x="17" y="0"/>
                  </a:cubicBezTo>
                  <a:cubicBezTo>
                    <a:pt x="16" y="0"/>
                    <a:pt x="15" y="1"/>
                    <a:pt x="15" y="2"/>
                  </a:cubicBezTo>
                  <a:cubicBezTo>
                    <a:pt x="15" y="5"/>
                    <a:pt x="15" y="5"/>
                    <a:pt x="15" y="5"/>
                  </a:cubicBezTo>
                  <a:cubicBezTo>
                    <a:pt x="14" y="6"/>
                    <a:pt x="13" y="6"/>
                    <a:pt x="12" y="7"/>
                  </a:cubicBezTo>
                  <a:cubicBezTo>
                    <a:pt x="9" y="6"/>
                    <a:pt x="9" y="6"/>
                    <a:pt x="9" y="6"/>
                  </a:cubicBezTo>
                  <a:cubicBezTo>
                    <a:pt x="8" y="5"/>
                    <a:pt x="7" y="5"/>
                    <a:pt x="6" y="6"/>
                  </a:cubicBezTo>
                  <a:cubicBezTo>
                    <a:pt x="1" y="16"/>
                    <a:pt x="1" y="16"/>
                    <a:pt x="1" y="16"/>
                  </a:cubicBezTo>
                  <a:cubicBezTo>
                    <a:pt x="0" y="17"/>
                    <a:pt x="1" y="18"/>
                    <a:pt x="2" y="19"/>
                  </a:cubicBezTo>
                  <a:cubicBezTo>
                    <a:pt x="4" y="20"/>
                    <a:pt x="4" y="20"/>
                    <a:pt x="4" y="20"/>
                  </a:cubicBezTo>
                  <a:cubicBezTo>
                    <a:pt x="4" y="21"/>
                    <a:pt x="4" y="21"/>
                    <a:pt x="4" y="22"/>
                  </a:cubicBezTo>
                  <a:cubicBezTo>
                    <a:pt x="4" y="23"/>
                    <a:pt x="4" y="23"/>
                    <a:pt x="4" y="24"/>
                  </a:cubicBezTo>
                  <a:cubicBezTo>
                    <a:pt x="2" y="26"/>
                    <a:pt x="2" y="26"/>
                    <a:pt x="2" y="26"/>
                  </a:cubicBezTo>
                  <a:cubicBezTo>
                    <a:pt x="1" y="26"/>
                    <a:pt x="1" y="26"/>
                    <a:pt x="1" y="27"/>
                  </a:cubicBezTo>
                  <a:cubicBezTo>
                    <a:pt x="0" y="27"/>
                    <a:pt x="1" y="28"/>
                    <a:pt x="1" y="28"/>
                  </a:cubicBezTo>
                  <a:cubicBezTo>
                    <a:pt x="6" y="38"/>
                    <a:pt x="6" y="38"/>
                    <a:pt x="6" y="38"/>
                  </a:cubicBezTo>
                  <a:cubicBezTo>
                    <a:pt x="7" y="39"/>
                    <a:pt x="8" y="39"/>
                    <a:pt x="9" y="38"/>
                  </a:cubicBezTo>
                  <a:cubicBezTo>
                    <a:pt x="12" y="37"/>
                    <a:pt x="12" y="37"/>
                    <a:pt x="12" y="37"/>
                  </a:cubicBezTo>
                  <a:cubicBezTo>
                    <a:pt x="13" y="38"/>
                    <a:pt x="14" y="38"/>
                    <a:pt x="15" y="39"/>
                  </a:cubicBezTo>
                  <a:cubicBezTo>
                    <a:pt x="15" y="42"/>
                    <a:pt x="15" y="42"/>
                    <a:pt x="15" y="42"/>
                  </a:cubicBezTo>
                  <a:cubicBezTo>
                    <a:pt x="15" y="43"/>
                    <a:pt x="16" y="44"/>
                    <a:pt x="17" y="44"/>
                  </a:cubicBezTo>
                  <a:cubicBezTo>
                    <a:pt x="28" y="44"/>
                    <a:pt x="28" y="44"/>
                    <a:pt x="28" y="44"/>
                  </a:cubicBezTo>
                  <a:cubicBezTo>
                    <a:pt x="29" y="44"/>
                    <a:pt x="30" y="43"/>
                    <a:pt x="30" y="42"/>
                  </a:cubicBezTo>
                  <a:cubicBezTo>
                    <a:pt x="30" y="39"/>
                    <a:pt x="30" y="39"/>
                    <a:pt x="30" y="39"/>
                  </a:cubicBezTo>
                  <a:cubicBezTo>
                    <a:pt x="31" y="38"/>
                    <a:pt x="32" y="38"/>
                    <a:pt x="33" y="37"/>
                  </a:cubicBezTo>
                  <a:cubicBezTo>
                    <a:pt x="36" y="38"/>
                    <a:pt x="36" y="38"/>
                    <a:pt x="36" y="38"/>
                  </a:cubicBezTo>
                  <a:cubicBezTo>
                    <a:pt x="37" y="39"/>
                    <a:pt x="37" y="39"/>
                    <a:pt x="38" y="39"/>
                  </a:cubicBezTo>
                  <a:cubicBezTo>
                    <a:pt x="38" y="39"/>
                    <a:pt x="39" y="38"/>
                    <a:pt x="39" y="38"/>
                  </a:cubicBezTo>
                  <a:cubicBezTo>
                    <a:pt x="44" y="28"/>
                    <a:pt x="44" y="28"/>
                    <a:pt x="44" y="28"/>
                  </a:cubicBezTo>
                  <a:cubicBezTo>
                    <a:pt x="45" y="28"/>
                    <a:pt x="45" y="27"/>
                    <a:pt x="44" y="27"/>
                  </a:cubicBezTo>
                  <a:close/>
                  <a:moveTo>
                    <a:pt x="23" y="29"/>
                  </a:moveTo>
                  <a:cubicBezTo>
                    <a:pt x="19" y="29"/>
                    <a:pt x="15" y="26"/>
                    <a:pt x="15" y="22"/>
                  </a:cubicBezTo>
                  <a:cubicBezTo>
                    <a:pt x="15" y="18"/>
                    <a:pt x="19" y="15"/>
                    <a:pt x="23" y="15"/>
                  </a:cubicBezTo>
                  <a:cubicBezTo>
                    <a:pt x="27" y="15"/>
                    <a:pt x="30" y="18"/>
                    <a:pt x="30" y="22"/>
                  </a:cubicBezTo>
                  <a:cubicBezTo>
                    <a:pt x="30" y="26"/>
                    <a:pt x="27" y="29"/>
                    <a:pt x="2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7" name="Group 106">
            <a:extLst>
              <a:ext uri="{FF2B5EF4-FFF2-40B4-BE49-F238E27FC236}">
                <a16:creationId xmlns:a16="http://schemas.microsoft.com/office/drawing/2014/main" id="{5861407F-7F6F-477E-A596-73D9B774F21A}"/>
              </a:ext>
            </a:extLst>
          </p:cNvPr>
          <p:cNvGrpSpPr/>
          <p:nvPr/>
        </p:nvGrpSpPr>
        <p:grpSpPr>
          <a:xfrm>
            <a:off x="6677361" y="5103324"/>
            <a:ext cx="360363" cy="344488"/>
            <a:chOff x="4833938" y="3983038"/>
            <a:chExt cx="360363" cy="344488"/>
          </a:xfrm>
          <a:solidFill>
            <a:schemeClr val="bg1"/>
          </a:solidFill>
        </p:grpSpPr>
        <p:sp>
          <p:nvSpPr>
            <p:cNvPr id="110" name="Freeform 76">
              <a:extLst>
                <a:ext uri="{FF2B5EF4-FFF2-40B4-BE49-F238E27FC236}">
                  <a16:creationId xmlns:a16="http://schemas.microsoft.com/office/drawing/2014/main" id="{23A2839E-6AEA-46AE-85DD-0FDF69F7C772}"/>
                </a:ext>
              </a:extLst>
            </p:cNvPr>
            <p:cNvSpPr>
              <a:spLocks/>
            </p:cNvSpPr>
            <p:nvPr/>
          </p:nvSpPr>
          <p:spPr bwMode="auto">
            <a:xfrm>
              <a:off x="4833938" y="4179888"/>
              <a:ext cx="74613" cy="128588"/>
            </a:xfrm>
            <a:custGeom>
              <a:avLst/>
              <a:gdLst>
                <a:gd name="T0" fmla="*/ 18 w 20"/>
                <a:gd name="T1" fmla="*/ 0 h 34"/>
                <a:gd name="T2" fmla="*/ 2 w 20"/>
                <a:gd name="T3" fmla="*/ 0 h 34"/>
                <a:gd name="T4" fmla="*/ 0 w 20"/>
                <a:gd name="T5" fmla="*/ 2 h 34"/>
                <a:gd name="T6" fmla="*/ 0 w 20"/>
                <a:gd name="T7" fmla="*/ 32 h 34"/>
                <a:gd name="T8" fmla="*/ 2 w 20"/>
                <a:gd name="T9" fmla="*/ 34 h 34"/>
                <a:gd name="T10" fmla="*/ 18 w 20"/>
                <a:gd name="T11" fmla="*/ 34 h 34"/>
                <a:gd name="T12" fmla="*/ 20 w 20"/>
                <a:gd name="T13" fmla="*/ 32 h 34"/>
                <a:gd name="T14" fmla="*/ 20 w 20"/>
                <a:gd name="T15" fmla="*/ 2 h 34"/>
                <a:gd name="T16" fmla="*/ 18 w 2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77">
              <a:extLst>
                <a:ext uri="{FF2B5EF4-FFF2-40B4-BE49-F238E27FC236}">
                  <a16:creationId xmlns:a16="http://schemas.microsoft.com/office/drawing/2014/main" id="{10A6E8E3-E357-4B0E-8FF2-15EA813127F0}"/>
                </a:ext>
              </a:extLst>
            </p:cNvPr>
            <p:cNvSpPr>
              <a:spLocks/>
            </p:cNvSpPr>
            <p:nvPr/>
          </p:nvSpPr>
          <p:spPr bwMode="auto">
            <a:xfrm>
              <a:off x="4916488" y="4194176"/>
              <a:ext cx="277813" cy="133350"/>
            </a:xfrm>
            <a:custGeom>
              <a:avLst/>
              <a:gdLst>
                <a:gd name="T0" fmla="*/ 73 w 74"/>
                <a:gd name="T1" fmla="*/ 13 h 35"/>
                <a:gd name="T2" fmla="*/ 59 w 74"/>
                <a:gd name="T3" fmla="*/ 8 h 35"/>
                <a:gd name="T4" fmla="*/ 47 w 74"/>
                <a:gd name="T5" fmla="*/ 12 h 35"/>
                <a:gd name="T6" fmla="*/ 47 w 74"/>
                <a:gd name="T7" fmla="*/ 14 h 35"/>
                <a:gd name="T8" fmla="*/ 45 w 74"/>
                <a:gd name="T9" fmla="*/ 21 h 35"/>
                <a:gd name="T10" fmla="*/ 38 w 74"/>
                <a:gd name="T11" fmla="*/ 24 h 35"/>
                <a:gd name="T12" fmla="*/ 18 w 74"/>
                <a:gd name="T13" fmla="*/ 24 h 35"/>
                <a:gd name="T14" fmla="*/ 16 w 74"/>
                <a:gd name="T15" fmla="*/ 22 h 35"/>
                <a:gd name="T16" fmla="*/ 18 w 74"/>
                <a:gd name="T17" fmla="*/ 20 h 35"/>
                <a:gd name="T18" fmla="*/ 38 w 74"/>
                <a:gd name="T19" fmla="*/ 20 h 35"/>
                <a:gd name="T20" fmla="*/ 42 w 74"/>
                <a:gd name="T21" fmla="*/ 18 h 35"/>
                <a:gd name="T22" fmla="*/ 43 w 74"/>
                <a:gd name="T23" fmla="*/ 14 h 35"/>
                <a:gd name="T24" fmla="*/ 38 w 74"/>
                <a:gd name="T25" fmla="*/ 8 h 35"/>
                <a:gd name="T26" fmla="*/ 27 w 74"/>
                <a:gd name="T27" fmla="*/ 8 h 35"/>
                <a:gd name="T28" fmla="*/ 26 w 74"/>
                <a:gd name="T29" fmla="*/ 8 h 35"/>
                <a:gd name="T30" fmla="*/ 25 w 74"/>
                <a:gd name="T31" fmla="*/ 7 h 35"/>
                <a:gd name="T32" fmla="*/ 8 w 74"/>
                <a:gd name="T33" fmla="*/ 0 h 35"/>
                <a:gd name="T34" fmla="*/ 2 w 74"/>
                <a:gd name="T35" fmla="*/ 0 h 35"/>
                <a:gd name="T36" fmla="*/ 0 w 74"/>
                <a:gd name="T37" fmla="*/ 2 h 35"/>
                <a:gd name="T38" fmla="*/ 0 w 74"/>
                <a:gd name="T39" fmla="*/ 24 h 35"/>
                <a:gd name="T40" fmla="*/ 1 w 74"/>
                <a:gd name="T41" fmla="*/ 26 h 35"/>
                <a:gd name="T42" fmla="*/ 16 w 74"/>
                <a:gd name="T43" fmla="*/ 31 h 35"/>
                <a:gd name="T44" fmla="*/ 32 w 74"/>
                <a:gd name="T45" fmla="*/ 35 h 35"/>
                <a:gd name="T46" fmla="*/ 49 w 74"/>
                <a:gd name="T47" fmla="*/ 29 h 35"/>
                <a:gd name="T48" fmla="*/ 73 w 74"/>
                <a:gd name="T49" fmla="*/ 16 h 35"/>
                <a:gd name="T50" fmla="*/ 74 w 74"/>
                <a:gd name="T51" fmla="*/ 14 h 35"/>
                <a:gd name="T52" fmla="*/ 73 w 74"/>
                <a:gd name="T53"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35">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78">
              <a:extLst>
                <a:ext uri="{FF2B5EF4-FFF2-40B4-BE49-F238E27FC236}">
                  <a16:creationId xmlns:a16="http://schemas.microsoft.com/office/drawing/2014/main" id="{7EF53EBE-EDFF-4119-8183-2F9A038D389F}"/>
                </a:ext>
              </a:extLst>
            </p:cNvPr>
            <p:cNvSpPr>
              <a:spLocks noEditPoints="1"/>
            </p:cNvSpPr>
            <p:nvPr/>
          </p:nvSpPr>
          <p:spPr bwMode="auto">
            <a:xfrm>
              <a:off x="5037138" y="3983038"/>
              <a:ext cx="104775" cy="106363"/>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1" name="Freeform 79">
              <a:extLst>
                <a:ext uri="{FF2B5EF4-FFF2-40B4-BE49-F238E27FC236}">
                  <a16:creationId xmlns:a16="http://schemas.microsoft.com/office/drawing/2014/main" id="{8C0F3BE8-1672-4994-884D-D359EF49142F}"/>
                </a:ext>
              </a:extLst>
            </p:cNvPr>
            <p:cNvSpPr>
              <a:spLocks noEditPoints="1"/>
            </p:cNvSpPr>
            <p:nvPr/>
          </p:nvSpPr>
          <p:spPr bwMode="auto">
            <a:xfrm>
              <a:off x="4968875" y="4089401"/>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 name="Group 13">
            <a:extLst>
              <a:ext uri="{FF2B5EF4-FFF2-40B4-BE49-F238E27FC236}">
                <a16:creationId xmlns:a16="http://schemas.microsoft.com/office/drawing/2014/main" id="{1576ADE2-B7FD-4120-94D5-CAE233E007C6}"/>
              </a:ext>
            </a:extLst>
          </p:cNvPr>
          <p:cNvGrpSpPr/>
          <p:nvPr/>
        </p:nvGrpSpPr>
        <p:grpSpPr>
          <a:xfrm>
            <a:off x="5095769" y="5103838"/>
            <a:ext cx="432000" cy="432000"/>
            <a:chOff x="5654040" y="3013710"/>
            <a:chExt cx="883919" cy="830579"/>
          </a:xfrm>
          <a:solidFill>
            <a:schemeClr val="bg1"/>
          </a:solidFill>
        </p:grpSpPr>
        <p:sp>
          <p:nvSpPr>
            <p:cNvPr id="9" name="Freeform: Shape 8">
              <a:extLst>
                <a:ext uri="{FF2B5EF4-FFF2-40B4-BE49-F238E27FC236}">
                  <a16:creationId xmlns:a16="http://schemas.microsoft.com/office/drawing/2014/main" id="{D25DCAB7-B6E5-4089-89A8-70843490CC93}"/>
                </a:ext>
              </a:extLst>
            </p:cNvPr>
            <p:cNvSpPr/>
            <p:nvPr/>
          </p:nvSpPr>
          <p:spPr>
            <a:xfrm>
              <a:off x="5964769" y="3468052"/>
              <a:ext cx="274462" cy="376237"/>
            </a:xfrm>
            <a:custGeom>
              <a:avLst/>
              <a:gdLst>
                <a:gd name="connsiteX0" fmla="*/ 272201 w 274462"/>
                <a:gd name="connsiteY0" fmla="*/ 87630 h 376237"/>
                <a:gd name="connsiteX1" fmla="*/ 264581 w 274462"/>
                <a:gd name="connsiteY1" fmla="*/ 61913 h 376237"/>
                <a:gd name="connsiteX2" fmla="*/ 238863 w 274462"/>
                <a:gd name="connsiteY2" fmla="*/ 69533 h 376237"/>
                <a:gd name="connsiteX3" fmla="*/ 200763 w 274462"/>
                <a:gd name="connsiteY3" fmla="*/ 137160 h 376237"/>
                <a:gd name="connsiteX4" fmla="*/ 226481 w 274462"/>
                <a:gd name="connsiteY4" fmla="*/ 35243 h 376237"/>
                <a:gd name="connsiteX5" fmla="*/ 212193 w 274462"/>
                <a:gd name="connsiteY5" fmla="*/ 12383 h 376237"/>
                <a:gd name="connsiteX6" fmla="*/ 189333 w 274462"/>
                <a:gd name="connsiteY6" fmla="*/ 26670 h 376237"/>
                <a:gd name="connsiteX7" fmla="*/ 167426 w 274462"/>
                <a:gd name="connsiteY7" fmla="*/ 114300 h 376237"/>
                <a:gd name="connsiteX8" fmla="*/ 167426 w 274462"/>
                <a:gd name="connsiteY8" fmla="*/ 19050 h 376237"/>
                <a:gd name="connsiteX9" fmla="*/ 148376 w 274462"/>
                <a:gd name="connsiteY9" fmla="*/ 0 h 376237"/>
                <a:gd name="connsiteX10" fmla="*/ 129326 w 274462"/>
                <a:gd name="connsiteY10" fmla="*/ 19050 h 376237"/>
                <a:gd name="connsiteX11" fmla="*/ 129326 w 274462"/>
                <a:gd name="connsiteY11" fmla="*/ 120968 h 376237"/>
                <a:gd name="connsiteX12" fmla="*/ 107418 w 274462"/>
                <a:gd name="connsiteY12" fmla="*/ 26670 h 376237"/>
                <a:gd name="connsiteX13" fmla="*/ 84558 w 274462"/>
                <a:gd name="connsiteY13" fmla="*/ 12383 h 376237"/>
                <a:gd name="connsiteX14" fmla="*/ 70271 w 274462"/>
                <a:gd name="connsiteY14" fmla="*/ 35243 h 376237"/>
                <a:gd name="connsiteX15" fmla="*/ 96941 w 274462"/>
                <a:gd name="connsiteY15" fmla="*/ 148590 h 376237"/>
                <a:gd name="connsiteX16" fmla="*/ 90273 w 274462"/>
                <a:gd name="connsiteY16" fmla="*/ 186690 h 376237"/>
                <a:gd name="connsiteX17" fmla="*/ 89321 w 274462"/>
                <a:gd name="connsiteY17" fmla="*/ 185738 h 376237"/>
                <a:gd name="connsiteX18" fmla="*/ 22646 w 274462"/>
                <a:gd name="connsiteY18" fmla="*/ 132398 h 376237"/>
                <a:gd name="connsiteX19" fmla="*/ 738 w 274462"/>
                <a:gd name="connsiteY19" fmla="*/ 144780 h 376237"/>
                <a:gd name="connsiteX20" fmla="*/ 13121 w 274462"/>
                <a:gd name="connsiteY20" fmla="*/ 166688 h 376237"/>
                <a:gd name="connsiteX21" fmla="*/ 49316 w 274462"/>
                <a:gd name="connsiteY21" fmla="*/ 206693 h 376237"/>
                <a:gd name="connsiteX22" fmla="*/ 112181 w 274462"/>
                <a:gd name="connsiteY22" fmla="*/ 274320 h 376237"/>
                <a:gd name="connsiteX23" fmla="*/ 112181 w 274462"/>
                <a:gd name="connsiteY23" fmla="*/ 376238 h 376237"/>
                <a:gd name="connsiteX24" fmla="*/ 196001 w 274462"/>
                <a:gd name="connsiteY24" fmla="*/ 376238 h 376237"/>
                <a:gd name="connsiteX25" fmla="*/ 196001 w 274462"/>
                <a:gd name="connsiteY25" fmla="*/ 268605 h 376237"/>
                <a:gd name="connsiteX26" fmla="*/ 232196 w 274462"/>
                <a:gd name="connsiteY26" fmla="*/ 159068 h 376237"/>
                <a:gd name="connsiteX27" fmla="*/ 272201 w 274462"/>
                <a:gd name="connsiteY27" fmla="*/ 87630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4462" h="376237">
                  <a:moveTo>
                    <a:pt x="272201" y="87630"/>
                  </a:moveTo>
                  <a:cubicBezTo>
                    <a:pt x="276963" y="78105"/>
                    <a:pt x="274106" y="66675"/>
                    <a:pt x="264581" y="61913"/>
                  </a:cubicBezTo>
                  <a:cubicBezTo>
                    <a:pt x="255056" y="57150"/>
                    <a:pt x="243626" y="60008"/>
                    <a:pt x="238863" y="69533"/>
                  </a:cubicBezTo>
                  <a:lnTo>
                    <a:pt x="200763" y="137160"/>
                  </a:lnTo>
                  <a:lnTo>
                    <a:pt x="226481" y="35243"/>
                  </a:lnTo>
                  <a:cubicBezTo>
                    <a:pt x="229338" y="24765"/>
                    <a:pt x="222671" y="14288"/>
                    <a:pt x="212193" y="12383"/>
                  </a:cubicBezTo>
                  <a:cubicBezTo>
                    <a:pt x="201716" y="9525"/>
                    <a:pt x="191238" y="16193"/>
                    <a:pt x="189333" y="26670"/>
                  </a:cubicBezTo>
                  <a:lnTo>
                    <a:pt x="167426" y="114300"/>
                  </a:lnTo>
                  <a:lnTo>
                    <a:pt x="167426" y="19050"/>
                  </a:lnTo>
                  <a:cubicBezTo>
                    <a:pt x="167426" y="8573"/>
                    <a:pt x="158853" y="0"/>
                    <a:pt x="148376" y="0"/>
                  </a:cubicBezTo>
                  <a:cubicBezTo>
                    <a:pt x="137898" y="0"/>
                    <a:pt x="129326" y="8573"/>
                    <a:pt x="129326" y="19050"/>
                  </a:cubicBezTo>
                  <a:lnTo>
                    <a:pt x="129326" y="120968"/>
                  </a:lnTo>
                  <a:lnTo>
                    <a:pt x="107418" y="26670"/>
                  </a:lnTo>
                  <a:cubicBezTo>
                    <a:pt x="105513" y="16193"/>
                    <a:pt x="95036" y="10478"/>
                    <a:pt x="84558" y="12383"/>
                  </a:cubicBezTo>
                  <a:cubicBezTo>
                    <a:pt x="74081" y="14288"/>
                    <a:pt x="68366" y="24765"/>
                    <a:pt x="70271" y="35243"/>
                  </a:cubicBezTo>
                  <a:lnTo>
                    <a:pt x="96941" y="148590"/>
                  </a:lnTo>
                  <a:cubicBezTo>
                    <a:pt x="95988" y="161925"/>
                    <a:pt x="93131" y="175260"/>
                    <a:pt x="90273" y="186690"/>
                  </a:cubicBezTo>
                  <a:cubicBezTo>
                    <a:pt x="90273" y="186690"/>
                    <a:pt x="90273" y="185738"/>
                    <a:pt x="89321" y="185738"/>
                  </a:cubicBezTo>
                  <a:cubicBezTo>
                    <a:pt x="73128" y="160973"/>
                    <a:pt x="47411" y="139065"/>
                    <a:pt x="22646" y="132398"/>
                  </a:cubicBezTo>
                  <a:cubicBezTo>
                    <a:pt x="13121" y="129540"/>
                    <a:pt x="3596" y="135255"/>
                    <a:pt x="738" y="144780"/>
                  </a:cubicBezTo>
                  <a:cubicBezTo>
                    <a:pt x="-2119" y="154305"/>
                    <a:pt x="3596" y="163830"/>
                    <a:pt x="13121" y="166688"/>
                  </a:cubicBezTo>
                  <a:cubicBezTo>
                    <a:pt x="25503" y="169545"/>
                    <a:pt x="36933" y="187643"/>
                    <a:pt x="49316" y="206693"/>
                  </a:cubicBezTo>
                  <a:cubicBezTo>
                    <a:pt x="64556" y="230505"/>
                    <a:pt x="83606" y="258127"/>
                    <a:pt x="112181" y="274320"/>
                  </a:cubicBezTo>
                  <a:lnTo>
                    <a:pt x="112181" y="376238"/>
                  </a:lnTo>
                  <a:lnTo>
                    <a:pt x="196001" y="376238"/>
                  </a:lnTo>
                  <a:lnTo>
                    <a:pt x="196001" y="268605"/>
                  </a:lnTo>
                  <a:cubicBezTo>
                    <a:pt x="227433" y="252413"/>
                    <a:pt x="231243" y="184785"/>
                    <a:pt x="232196" y="159068"/>
                  </a:cubicBezTo>
                  <a:lnTo>
                    <a:pt x="272201" y="87630"/>
                  </a:ln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8B6246E6-082E-459C-8F3D-39B8455E6D90}"/>
                </a:ext>
              </a:extLst>
            </p:cNvPr>
            <p:cNvSpPr/>
            <p:nvPr/>
          </p:nvSpPr>
          <p:spPr>
            <a:xfrm>
              <a:off x="5654040" y="3351482"/>
              <a:ext cx="367445" cy="282304"/>
            </a:xfrm>
            <a:custGeom>
              <a:avLst/>
              <a:gdLst>
                <a:gd name="connsiteX0" fmla="*/ 246698 w 367445"/>
                <a:gd name="connsiteY0" fmla="*/ 211820 h 282304"/>
                <a:gd name="connsiteX1" fmla="*/ 329565 w 367445"/>
                <a:gd name="connsiteY1" fmla="*/ 212773 h 282304"/>
                <a:gd name="connsiteX2" fmla="*/ 329565 w 367445"/>
                <a:gd name="connsiteY2" fmla="*/ 212773 h 282304"/>
                <a:gd name="connsiteX3" fmla="*/ 348615 w 367445"/>
                <a:gd name="connsiteY3" fmla="*/ 193723 h 282304"/>
                <a:gd name="connsiteX4" fmla="*/ 329565 w 367445"/>
                <a:gd name="connsiteY4" fmla="*/ 174673 h 282304"/>
                <a:gd name="connsiteX5" fmla="*/ 252413 w 367445"/>
                <a:gd name="connsiteY5" fmla="*/ 173720 h 282304"/>
                <a:gd name="connsiteX6" fmla="*/ 353378 w 367445"/>
                <a:gd name="connsiteY6" fmla="*/ 148003 h 282304"/>
                <a:gd name="connsiteX7" fmla="*/ 366713 w 367445"/>
                <a:gd name="connsiteY7" fmla="*/ 125142 h 282304"/>
                <a:gd name="connsiteX8" fmla="*/ 343853 w 367445"/>
                <a:gd name="connsiteY8" fmla="*/ 111807 h 282304"/>
                <a:gd name="connsiteX9" fmla="*/ 256223 w 367445"/>
                <a:gd name="connsiteY9" fmla="*/ 134667 h 282304"/>
                <a:gd name="connsiteX10" fmla="*/ 340043 w 367445"/>
                <a:gd name="connsiteY10" fmla="*/ 88948 h 282304"/>
                <a:gd name="connsiteX11" fmla="*/ 347663 w 367445"/>
                <a:gd name="connsiteY11" fmla="*/ 63230 h 282304"/>
                <a:gd name="connsiteX12" fmla="*/ 321945 w 367445"/>
                <a:gd name="connsiteY12" fmla="*/ 55610 h 282304"/>
                <a:gd name="connsiteX13" fmla="*/ 232410 w 367445"/>
                <a:gd name="connsiteY13" fmla="*/ 103235 h 282304"/>
                <a:gd name="connsiteX14" fmla="*/ 304800 w 367445"/>
                <a:gd name="connsiteY14" fmla="*/ 39417 h 282304"/>
                <a:gd name="connsiteX15" fmla="*/ 306705 w 367445"/>
                <a:gd name="connsiteY15" fmla="*/ 12747 h 282304"/>
                <a:gd name="connsiteX16" fmla="*/ 280035 w 367445"/>
                <a:gd name="connsiteY16" fmla="*/ 10842 h 282304"/>
                <a:gd name="connsiteX17" fmla="*/ 192405 w 367445"/>
                <a:gd name="connsiteY17" fmla="*/ 87042 h 282304"/>
                <a:gd name="connsiteX18" fmla="*/ 155258 w 367445"/>
                <a:gd name="connsiteY18" fmla="*/ 98473 h 282304"/>
                <a:gd name="connsiteX19" fmla="*/ 156210 w 367445"/>
                <a:gd name="connsiteY19" fmla="*/ 97520 h 282304"/>
                <a:gd name="connsiteX20" fmla="*/ 171450 w 367445"/>
                <a:gd name="connsiteY20" fmla="*/ 13700 h 282304"/>
                <a:gd name="connsiteX21" fmla="*/ 149543 w 367445"/>
                <a:gd name="connsiteY21" fmla="*/ 365 h 282304"/>
                <a:gd name="connsiteX22" fmla="*/ 136208 w 367445"/>
                <a:gd name="connsiteY22" fmla="*/ 22272 h 282304"/>
                <a:gd name="connsiteX23" fmla="*/ 119063 w 367445"/>
                <a:gd name="connsiteY23" fmla="*/ 72755 h 282304"/>
                <a:gd name="connsiteX24" fmla="*/ 89535 w 367445"/>
                <a:gd name="connsiteY24" fmla="*/ 160385 h 282304"/>
                <a:gd name="connsiteX25" fmla="*/ 0 w 367445"/>
                <a:gd name="connsiteY25" fmla="*/ 208962 h 282304"/>
                <a:gd name="connsiteX26" fmla="*/ 40005 w 367445"/>
                <a:gd name="connsiteY26" fmla="*/ 282305 h 282304"/>
                <a:gd name="connsiteX27" fmla="*/ 134303 w 367445"/>
                <a:gd name="connsiteY27" fmla="*/ 231822 h 282304"/>
                <a:gd name="connsiteX28" fmla="*/ 246698 w 367445"/>
                <a:gd name="connsiteY28" fmla="*/ 211820 h 28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7445" h="282304">
                  <a:moveTo>
                    <a:pt x="246698" y="211820"/>
                  </a:moveTo>
                  <a:lnTo>
                    <a:pt x="329565" y="212773"/>
                  </a:lnTo>
                  <a:cubicBezTo>
                    <a:pt x="329565" y="212773"/>
                    <a:pt x="329565" y="212773"/>
                    <a:pt x="329565" y="212773"/>
                  </a:cubicBezTo>
                  <a:cubicBezTo>
                    <a:pt x="340043" y="212773"/>
                    <a:pt x="348615" y="204200"/>
                    <a:pt x="348615" y="193723"/>
                  </a:cubicBezTo>
                  <a:cubicBezTo>
                    <a:pt x="348615" y="183245"/>
                    <a:pt x="340043" y="174673"/>
                    <a:pt x="329565" y="174673"/>
                  </a:cubicBezTo>
                  <a:lnTo>
                    <a:pt x="252413" y="173720"/>
                  </a:lnTo>
                  <a:lnTo>
                    <a:pt x="353378" y="148003"/>
                  </a:lnTo>
                  <a:cubicBezTo>
                    <a:pt x="363855" y="145145"/>
                    <a:pt x="369570" y="134667"/>
                    <a:pt x="366713" y="125142"/>
                  </a:cubicBezTo>
                  <a:cubicBezTo>
                    <a:pt x="363855" y="114665"/>
                    <a:pt x="353378" y="108950"/>
                    <a:pt x="343853" y="111807"/>
                  </a:cubicBezTo>
                  <a:lnTo>
                    <a:pt x="256223" y="134667"/>
                  </a:lnTo>
                  <a:lnTo>
                    <a:pt x="340043" y="88948"/>
                  </a:lnTo>
                  <a:cubicBezTo>
                    <a:pt x="349568" y="84185"/>
                    <a:pt x="352425" y="72755"/>
                    <a:pt x="347663" y="63230"/>
                  </a:cubicBezTo>
                  <a:cubicBezTo>
                    <a:pt x="342900" y="53705"/>
                    <a:pt x="331470" y="50847"/>
                    <a:pt x="321945" y="55610"/>
                  </a:cubicBezTo>
                  <a:lnTo>
                    <a:pt x="232410" y="103235"/>
                  </a:lnTo>
                  <a:lnTo>
                    <a:pt x="304800" y="39417"/>
                  </a:lnTo>
                  <a:cubicBezTo>
                    <a:pt x="312420" y="32750"/>
                    <a:pt x="313373" y="20367"/>
                    <a:pt x="306705" y="12747"/>
                  </a:cubicBezTo>
                  <a:cubicBezTo>
                    <a:pt x="300038" y="5128"/>
                    <a:pt x="287655" y="4175"/>
                    <a:pt x="280035" y="10842"/>
                  </a:cubicBezTo>
                  <a:lnTo>
                    <a:pt x="192405" y="87042"/>
                  </a:lnTo>
                  <a:cubicBezTo>
                    <a:pt x="180023" y="92757"/>
                    <a:pt x="167640" y="96567"/>
                    <a:pt x="155258" y="98473"/>
                  </a:cubicBezTo>
                  <a:cubicBezTo>
                    <a:pt x="155258" y="98473"/>
                    <a:pt x="155258" y="97520"/>
                    <a:pt x="156210" y="97520"/>
                  </a:cubicBezTo>
                  <a:cubicBezTo>
                    <a:pt x="170498" y="70850"/>
                    <a:pt x="177165" y="38465"/>
                    <a:pt x="171450" y="13700"/>
                  </a:cubicBezTo>
                  <a:cubicBezTo>
                    <a:pt x="169545" y="4175"/>
                    <a:pt x="159068" y="-1540"/>
                    <a:pt x="149543" y="365"/>
                  </a:cubicBezTo>
                  <a:cubicBezTo>
                    <a:pt x="140018" y="2270"/>
                    <a:pt x="134303" y="12747"/>
                    <a:pt x="136208" y="22272"/>
                  </a:cubicBezTo>
                  <a:cubicBezTo>
                    <a:pt x="139065" y="34655"/>
                    <a:pt x="129540" y="52753"/>
                    <a:pt x="119063" y="72755"/>
                  </a:cubicBezTo>
                  <a:cubicBezTo>
                    <a:pt x="105728" y="97520"/>
                    <a:pt x="90488" y="127048"/>
                    <a:pt x="89535" y="160385"/>
                  </a:cubicBezTo>
                  <a:lnTo>
                    <a:pt x="0" y="208962"/>
                  </a:lnTo>
                  <a:lnTo>
                    <a:pt x="40005" y="282305"/>
                  </a:lnTo>
                  <a:lnTo>
                    <a:pt x="134303" y="231822"/>
                  </a:lnTo>
                  <a:cubicBezTo>
                    <a:pt x="162878" y="251825"/>
                    <a:pt x="223838" y="223250"/>
                    <a:pt x="246698" y="211820"/>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3AFC7812-6937-4EEF-9645-B02B8E67E0BC}"/>
                </a:ext>
              </a:extLst>
            </p:cNvPr>
            <p:cNvSpPr/>
            <p:nvPr/>
          </p:nvSpPr>
          <p:spPr>
            <a:xfrm>
              <a:off x="5792152" y="3013710"/>
              <a:ext cx="333784" cy="334327"/>
            </a:xfrm>
            <a:custGeom>
              <a:avLst/>
              <a:gdLst>
                <a:gd name="connsiteX0" fmla="*/ 119063 w 333784"/>
                <a:gd name="connsiteY0" fmla="*/ 239078 h 334327"/>
                <a:gd name="connsiteX1" fmla="*/ 139065 w 333784"/>
                <a:gd name="connsiteY1" fmla="*/ 319088 h 334327"/>
                <a:gd name="connsiteX2" fmla="*/ 157162 w 333784"/>
                <a:gd name="connsiteY2" fmla="*/ 333375 h 334327"/>
                <a:gd name="connsiteX3" fmla="*/ 161925 w 333784"/>
                <a:gd name="connsiteY3" fmla="*/ 332423 h 334327"/>
                <a:gd name="connsiteX4" fmla="*/ 176212 w 333784"/>
                <a:gd name="connsiteY4" fmla="*/ 309563 h 334327"/>
                <a:gd name="connsiteX5" fmla="*/ 158115 w 333784"/>
                <a:gd name="connsiteY5" fmla="*/ 234315 h 334327"/>
                <a:gd name="connsiteX6" fmla="*/ 208598 w 333784"/>
                <a:gd name="connsiteY6" fmla="*/ 324803 h 334327"/>
                <a:gd name="connsiteX7" fmla="*/ 225742 w 333784"/>
                <a:gd name="connsiteY7" fmla="*/ 334328 h 334327"/>
                <a:gd name="connsiteX8" fmla="*/ 235267 w 333784"/>
                <a:gd name="connsiteY8" fmla="*/ 331470 h 334327"/>
                <a:gd name="connsiteX9" fmla="*/ 242887 w 333784"/>
                <a:gd name="connsiteY9" fmla="*/ 305753 h 334327"/>
                <a:gd name="connsiteX10" fmla="*/ 199073 w 333784"/>
                <a:gd name="connsiteY10" fmla="*/ 226695 h 334327"/>
                <a:gd name="connsiteX11" fmla="*/ 263843 w 333784"/>
                <a:gd name="connsiteY11" fmla="*/ 296228 h 334327"/>
                <a:gd name="connsiteX12" fmla="*/ 278130 w 333784"/>
                <a:gd name="connsiteY12" fmla="*/ 301943 h 334327"/>
                <a:gd name="connsiteX13" fmla="*/ 291465 w 333784"/>
                <a:gd name="connsiteY13" fmla="*/ 297180 h 334327"/>
                <a:gd name="connsiteX14" fmla="*/ 292418 w 333784"/>
                <a:gd name="connsiteY14" fmla="*/ 270510 h 334327"/>
                <a:gd name="connsiteX15" fmla="*/ 222885 w 333784"/>
                <a:gd name="connsiteY15" fmla="*/ 196215 h 334327"/>
                <a:gd name="connsiteX16" fmla="*/ 303848 w 333784"/>
                <a:gd name="connsiteY16" fmla="*/ 250508 h 334327"/>
                <a:gd name="connsiteX17" fmla="*/ 314325 w 333784"/>
                <a:gd name="connsiteY17" fmla="*/ 253365 h 334327"/>
                <a:gd name="connsiteX18" fmla="*/ 330518 w 333784"/>
                <a:gd name="connsiteY18" fmla="*/ 244793 h 334327"/>
                <a:gd name="connsiteX19" fmla="*/ 325755 w 333784"/>
                <a:gd name="connsiteY19" fmla="*/ 218122 h 334327"/>
                <a:gd name="connsiteX20" fmla="*/ 228600 w 333784"/>
                <a:gd name="connsiteY20" fmla="*/ 153353 h 334327"/>
                <a:gd name="connsiteX21" fmla="*/ 207645 w 333784"/>
                <a:gd name="connsiteY21" fmla="*/ 120968 h 334327"/>
                <a:gd name="connsiteX22" fmla="*/ 208598 w 333784"/>
                <a:gd name="connsiteY22" fmla="*/ 120968 h 334327"/>
                <a:gd name="connsiteX23" fmla="*/ 293370 w 333784"/>
                <a:gd name="connsiteY23" fmla="*/ 114300 h 334327"/>
                <a:gd name="connsiteX24" fmla="*/ 300037 w 333784"/>
                <a:gd name="connsiteY24" fmla="*/ 90487 h 334327"/>
                <a:gd name="connsiteX25" fmla="*/ 276225 w 333784"/>
                <a:gd name="connsiteY25" fmla="*/ 83820 h 334327"/>
                <a:gd name="connsiteX26" fmla="*/ 222885 w 333784"/>
                <a:gd name="connsiteY26" fmla="*/ 80010 h 334327"/>
                <a:gd name="connsiteX27" fmla="*/ 130492 w 333784"/>
                <a:gd name="connsiteY27" fmla="*/ 74295 h 334327"/>
                <a:gd name="connsiteX28" fmla="*/ 60960 w 333784"/>
                <a:gd name="connsiteY28" fmla="*/ 0 h 334327"/>
                <a:gd name="connsiteX29" fmla="*/ 0 w 333784"/>
                <a:gd name="connsiteY29" fmla="*/ 57150 h 334327"/>
                <a:gd name="connsiteX30" fmla="*/ 73342 w 333784"/>
                <a:gd name="connsiteY30" fmla="*/ 135255 h 334327"/>
                <a:gd name="connsiteX31" fmla="*/ 119063 w 333784"/>
                <a:gd name="connsiteY31" fmla="*/ 239078 h 3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784" h="334327">
                  <a:moveTo>
                    <a:pt x="119063" y="239078"/>
                  </a:moveTo>
                  <a:lnTo>
                    <a:pt x="139065" y="319088"/>
                  </a:lnTo>
                  <a:cubicBezTo>
                    <a:pt x="140970" y="327660"/>
                    <a:pt x="148590" y="333375"/>
                    <a:pt x="157162" y="333375"/>
                  </a:cubicBezTo>
                  <a:cubicBezTo>
                    <a:pt x="159067" y="333375"/>
                    <a:pt x="160020" y="333375"/>
                    <a:pt x="161925" y="332423"/>
                  </a:cubicBezTo>
                  <a:cubicBezTo>
                    <a:pt x="172403" y="329565"/>
                    <a:pt x="178117" y="320040"/>
                    <a:pt x="176212" y="309563"/>
                  </a:cubicBezTo>
                  <a:lnTo>
                    <a:pt x="158115" y="234315"/>
                  </a:lnTo>
                  <a:lnTo>
                    <a:pt x="208598" y="324803"/>
                  </a:lnTo>
                  <a:cubicBezTo>
                    <a:pt x="212408" y="331470"/>
                    <a:pt x="218123" y="334328"/>
                    <a:pt x="225742" y="334328"/>
                  </a:cubicBezTo>
                  <a:cubicBezTo>
                    <a:pt x="228600" y="334328"/>
                    <a:pt x="232410" y="333375"/>
                    <a:pt x="235267" y="331470"/>
                  </a:cubicBezTo>
                  <a:cubicBezTo>
                    <a:pt x="244792" y="326708"/>
                    <a:pt x="247650" y="314325"/>
                    <a:pt x="242887" y="305753"/>
                  </a:cubicBezTo>
                  <a:lnTo>
                    <a:pt x="199073" y="226695"/>
                  </a:lnTo>
                  <a:lnTo>
                    <a:pt x="263843" y="296228"/>
                  </a:lnTo>
                  <a:cubicBezTo>
                    <a:pt x="267653" y="300038"/>
                    <a:pt x="272415" y="301943"/>
                    <a:pt x="278130" y="301943"/>
                  </a:cubicBezTo>
                  <a:cubicBezTo>
                    <a:pt x="282893" y="301943"/>
                    <a:pt x="287655" y="300038"/>
                    <a:pt x="291465" y="297180"/>
                  </a:cubicBezTo>
                  <a:cubicBezTo>
                    <a:pt x="299085" y="289560"/>
                    <a:pt x="299085" y="278130"/>
                    <a:pt x="292418" y="270510"/>
                  </a:cubicBezTo>
                  <a:lnTo>
                    <a:pt x="222885" y="196215"/>
                  </a:lnTo>
                  <a:lnTo>
                    <a:pt x="303848" y="250508"/>
                  </a:lnTo>
                  <a:cubicBezTo>
                    <a:pt x="306705" y="252413"/>
                    <a:pt x="310515" y="253365"/>
                    <a:pt x="314325" y="253365"/>
                  </a:cubicBezTo>
                  <a:cubicBezTo>
                    <a:pt x="320040" y="253365"/>
                    <a:pt x="326708" y="250508"/>
                    <a:pt x="330518" y="244793"/>
                  </a:cubicBezTo>
                  <a:cubicBezTo>
                    <a:pt x="336233" y="236220"/>
                    <a:pt x="334328" y="223838"/>
                    <a:pt x="325755" y="218122"/>
                  </a:cubicBezTo>
                  <a:lnTo>
                    <a:pt x="228600" y="153353"/>
                  </a:lnTo>
                  <a:cubicBezTo>
                    <a:pt x="220028" y="142875"/>
                    <a:pt x="213360" y="131445"/>
                    <a:pt x="207645" y="120968"/>
                  </a:cubicBezTo>
                  <a:cubicBezTo>
                    <a:pt x="207645" y="120968"/>
                    <a:pt x="208598" y="120968"/>
                    <a:pt x="208598" y="120968"/>
                  </a:cubicBezTo>
                  <a:cubicBezTo>
                    <a:pt x="237173" y="127635"/>
                    <a:pt x="270510" y="126683"/>
                    <a:pt x="293370" y="114300"/>
                  </a:cubicBezTo>
                  <a:cubicBezTo>
                    <a:pt x="301943" y="109537"/>
                    <a:pt x="304800" y="99060"/>
                    <a:pt x="300037" y="90487"/>
                  </a:cubicBezTo>
                  <a:cubicBezTo>
                    <a:pt x="295275" y="81915"/>
                    <a:pt x="284798" y="79058"/>
                    <a:pt x="276225" y="83820"/>
                  </a:cubicBezTo>
                  <a:cubicBezTo>
                    <a:pt x="265748" y="89535"/>
                    <a:pt x="244792" y="84773"/>
                    <a:pt x="222885" y="80010"/>
                  </a:cubicBezTo>
                  <a:cubicBezTo>
                    <a:pt x="195262" y="73343"/>
                    <a:pt x="162878" y="65723"/>
                    <a:pt x="130492" y="74295"/>
                  </a:cubicBezTo>
                  <a:lnTo>
                    <a:pt x="60960" y="0"/>
                  </a:lnTo>
                  <a:lnTo>
                    <a:pt x="0" y="57150"/>
                  </a:lnTo>
                  <a:lnTo>
                    <a:pt x="73342" y="135255"/>
                  </a:lnTo>
                  <a:cubicBezTo>
                    <a:pt x="58103" y="168593"/>
                    <a:pt x="100965" y="220980"/>
                    <a:pt x="119063" y="239078"/>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1F04DB0-7480-4128-BF6F-918FDBB62460}"/>
                </a:ext>
              </a:extLst>
            </p:cNvPr>
            <p:cNvSpPr/>
            <p:nvPr/>
          </p:nvSpPr>
          <p:spPr>
            <a:xfrm>
              <a:off x="6207033" y="3345775"/>
              <a:ext cx="330926" cy="338494"/>
            </a:xfrm>
            <a:custGeom>
              <a:avLst/>
              <a:gdLst>
                <a:gd name="connsiteX0" fmla="*/ 330927 w 330926"/>
                <a:gd name="connsiteY0" fmla="*/ 281345 h 338494"/>
                <a:gd name="connsiteX1" fmla="*/ 258537 w 330926"/>
                <a:gd name="connsiteY1" fmla="*/ 202287 h 338494"/>
                <a:gd name="connsiteX2" fmla="*/ 210912 w 330926"/>
                <a:gd name="connsiteY2" fmla="*/ 97512 h 338494"/>
                <a:gd name="connsiteX3" fmla="*/ 191862 w 330926"/>
                <a:gd name="connsiteY3" fmla="*/ 17502 h 338494"/>
                <a:gd name="connsiteX4" fmla="*/ 169002 w 330926"/>
                <a:gd name="connsiteY4" fmla="*/ 3215 h 338494"/>
                <a:gd name="connsiteX5" fmla="*/ 154714 w 330926"/>
                <a:gd name="connsiteY5" fmla="*/ 26075 h 338494"/>
                <a:gd name="connsiteX6" fmla="*/ 172812 w 330926"/>
                <a:gd name="connsiteY6" fmla="*/ 101322 h 338494"/>
                <a:gd name="connsiteX7" fmla="*/ 122329 w 330926"/>
                <a:gd name="connsiteY7" fmla="*/ 9882 h 338494"/>
                <a:gd name="connsiteX8" fmla="*/ 96612 w 330926"/>
                <a:gd name="connsiteY8" fmla="*/ 2262 h 338494"/>
                <a:gd name="connsiteX9" fmla="*/ 88992 w 330926"/>
                <a:gd name="connsiteY9" fmla="*/ 27980 h 338494"/>
                <a:gd name="connsiteX10" fmla="*/ 132807 w 330926"/>
                <a:gd name="connsiteY10" fmla="*/ 107990 h 338494"/>
                <a:gd name="connsiteX11" fmla="*/ 68037 w 330926"/>
                <a:gd name="connsiteY11" fmla="*/ 38457 h 338494"/>
                <a:gd name="connsiteX12" fmla="*/ 41367 w 330926"/>
                <a:gd name="connsiteY12" fmla="*/ 37505 h 338494"/>
                <a:gd name="connsiteX13" fmla="*/ 40414 w 330926"/>
                <a:gd name="connsiteY13" fmla="*/ 64175 h 338494"/>
                <a:gd name="connsiteX14" fmla="*/ 109947 w 330926"/>
                <a:gd name="connsiteY14" fmla="*/ 139422 h 338494"/>
                <a:gd name="connsiteX15" fmla="*/ 29937 w 330926"/>
                <a:gd name="connsiteY15" fmla="*/ 85130 h 338494"/>
                <a:gd name="connsiteX16" fmla="*/ 3267 w 330926"/>
                <a:gd name="connsiteY16" fmla="*/ 89892 h 338494"/>
                <a:gd name="connsiteX17" fmla="*/ 8029 w 330926"/>
                <a:gd name="connsiteY17" fmla="*/ 116562 h 338494"/>
                <a:gd name="connsiteX18" fmla="*/ 104232 w 330926"/>
                <a:gd name="connsiteY18" fmla="*/ 182285 h 338494"/>
                <a:gd name="connsiteX19" fmla="*/ 125187 w 330926"/>
                <a:gd name="connsiteY19" fmla="*/ 214670 h 338494"/>
                <a:gd name="connsiteX20" fmla="*/ 124234 w 330926"/>
                <a:gd name="connsiteY20" fmla="*/ 214670 h 338494"/>
                <a:gd name="connsiteX21" fmla="*/ 39462 w 330926"/>
                <a:gd name="connsiteY21" fmla="*/ 221337 h 338494"/>
                <a:gd name="connsiteX22" fmla="*/ 31842 w 330926"/>
                <a:gd name="connsiteY22" fmla="*/ 245150 h 338494"/>
                <a:gd name="connsiteX23" fmla="*/ 55654 w 330926"/>
                <a:gd name="connsiteY23" fmla="*/ 252770 h 338494"/>
                <a:gd name="connsiteX24" fmla="*/ 108994 w 330926"/>
                <a:gd name="connsiteY24" fmla="*/ 257532 h 338494"/>
                <a:gd name="connsiteX25" fmla="*/ 201387 w 330926"/>
                <a:gd name="connsiteY25" fmla="*/ 264200 h 338494"/>
                <a:gd name="connsiteX26" fmla="*/ 269967 w 330926"/>
                <a:gd name="connsiteY26" fmla="*/ 338495 h 338494"/>
                <a:gd name="connsiteX27" fmla="*/ 330927 w 330926"/>
                <a:gd name="connsiteY27" fmla="*/ 281345 h 33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30926" h="338494">
                  <a:moveTo>
                    <a:pt x="330927" y="281345"/>
                  </a:moveTo>
                  <a:lnTo>
                    <a:pt x="258537" y="202287"/>
                  </a:lnTo>
                  <a:cubicBezTo>
                    <a:pt x="270919" y="168950"/>
                    <a:pt x="228057" y="116562"/>
                    <a:pt x="210912" y="97512"/>
                  </a:cubicBezTo>
                  <a:lnTo>
                    <a:pt x="191862" y="17502"/>
                  </a:lnTo>
                  <a:cubicBezTo>
                    <a:pt x="189004" y="7025"/>
                    <a:pt x="179479" y="1310"/>
                    <a:pt x="169002" y="3215"/>
                  </a:cubicBezTo>
                  <a:cubicBezTo>
                    <a:pt x="158524" y="6072"/>
                    <a:pt x="152809" y="15597"/>
                    <a:pt x="154714" y="26075"/>
                  </a:cubicBezTo>
                  <a:lnTo>
                    <a:pt x="172812" y="101322"/>
                  </a:lnTo>
                  <a:lnTo>
                    <a:pt x="122329" y="9882"/>
                  </a:lnTo>
                  <a:cubicBezTo>
                    <a:pt x="117567" y="357"/>
                    <a:pt x="106137" y="-2500"/>
                    <a:pt x="96612" y="2262"/>
                  </a:cubicBezTo>
                  <a:cubicBezTo>
                    <a:pt x="87087" y="7025"/>
                    <a:pt x="84229" y="18455"/>
                    <a:pt x="88992" y="27980"/>
                  </a:cubicBezTo>
                  <a:lnTo>
                    <a:pt x="132807" y="107990"/>
                  </a:lnTo>
                  <a:lnTo>
                    <a:pt x="68037" y="38457"/>
                  </a:lnTo>
                  <a:cubicBezTo>
                    <a:pt x="60417" y="30837"/>
                    <a:pt x="48987" y="29885"/>
                    <a:pt x="41367" y="37505"/>
                  </a:cubicBezTo>
                  <a:cubicBezTo>
                    <a:pt x="33747" y="45125"/>
                    <a:pt x="32794" y="56555"/>
                    <a:pt x="40414" y="64175"/>
                  </a:cubicBezTo>
                  <a:lnTo>
                    <a:pt x="109947" y="139422"/>
                  </a:lnTo>
                  <a:lnTo>
                    <a:pt x="29937" y="85130"/>
                  </a:lnTo>
                  <a:cubicBezTo>
                    <a:pt x="21364" y="79415"/>
                    <a:pt x="8982" y="81320"/>
                    <a:pt x="3267" y="89892"/>
                  </a:cubicBezTo>
                  <a:cubicBezTo>
                    <a:pt x="-2448" y="98465"/>
                    <a:pt x="-543" y="110847"/>
                    <a:pt x="8029" y="116562"/>
                  </a:cubicBezTo>
                  <a:lnTo>
                    <a:pt x="104232" y="182285"/>
                  </a:lnTo>
                  <a:cubicBezTo>
                    <a:pt x="112804" y="192762"/>
                    <a:pt x="119472" y="204192"/>
                    <a:pt x="125187" y="214670"/>
                  </a:cubicBezTo>
                  <a:cubicBezTo>
                    <a:pt x="125187" y="214670"/>
                    <a:pt x="124234" y="214670"/>
                    <a:pt x="124234" y="214670"/>
                  </a:cubicBezTo>
                  <a:cubicBezTo>
                    <a:pt x="95659" y="208002"/>
                    <a:pt x="62322" y="208955"/>
                    <a:pt x="39462" y="221337"/>
                  </a:cubicBezTo>
                  <a:cubicBezTo>
                    <a:pt x="30889" y="226100"/>
                    <a:pt x="27079" y="236577"/>
                    <a:pt x="31842" y="245150"/>
                  </a:cubicBezTo>
                  <a:cubicBezTo>
                    <a:pt x="36604" y="253722"/>
                    <a:pt x="47082" y="257532"/>
                    <a:pt x="55654" y="252770"/>
                  </a:cubicBezTo>
                  <a:cubicBezTo>
                    <a:pt x="66132" y="247055"/>
                    <a:pt x="87087" y="251817"/>
                    <a:pt x="108994" y="257532"/>
                  </a:cubicBezTo>
                  <a:cubicBezTo>
                    <a:pt x="136617" y="264200"/>
                    <a:pt x="169002" y="271820"/>
                    <a:pt x="201387" y="264200"/>
                  </a:cubicBezTo>
                  <a:lnTo>
                    <a:pt x="269967" y="338495"/>
                  </a:lnTo>
                  <a:lnTo>
                    <a:pt x="330927" y="281345"/>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6B42AACA-5650-4004-B88E-B977EF43886E}"/>
                </a:ext>
              </a:extLst>
            </p:cNvPr>
            <p:cNvSpPr/>
            <p:nvPr/>
          </p:nvSpPr>
          <p:spPr>
            <a:xfrm>
              <a:off x="6126239" y="3013710"/>
              <a:ext cx="323138" cy="350520"/>
            </a:xfrm>
            <a:custGeom>
              <a:avLst/>
              <a:gdLst>
                <a:gd name="connsiteX0" fmla="*/ 20243 w 323138"/>
                <a:gd name="connsiteY0" fmla="*/ 205740 h 350520"/>
                <a:gd name="connsiteX1" fmla="*/ 26911 w 323138"/>
                <a:gd name="connsiteY1" fmla="*/ 204788 h 350520"/>
                <a:gd name="connsiteX2" fmla="*/ 99301 w 323138"/>
                <a:gd name="connsiteY2" fmla="*/ 179070 h 350520"/>
                <a:gd name="connsiteX3" fmla="*/ 13576 w 323138"/>
                <a:gd name="connsiteY3" fmla="*/ 238125 h 350520"/>
                <a:gd name="connsiteX4" fmla="*/ 8813 w 323138"/>
                <a:gd name="connsiteY4" fmla="*/ 264795 h 350520"/>
                <a:gd name="connsiteX5" fmla="*/ 24053 w 323138"/>
                <a:gd name="connsiteY5" fmla="*/ 273368 h 350520"/>
                <a:gd name="connsiteX6" fmla="*/ 34531 w 323138"/>
                <a:gd name="connsiteY6" fmla="*/ 269558 h 350520"/>
                <a:gd name="connsiteX7" fmla="*/ 108826 w 323138"/>
                <a:gd name="connsiteY7" fmla="*/ 218122 h 350520"/>
                <a:gd name="connsiteX8" fmla="*/ 45961 w 323138"/>
                <a:gd name="connsiteY8" fmla="*/ 289560 h 350520"/>
                <a:gd name="connsiteX9" fmla="*/ 47866 w 323138"/>
                <a:gd name="connsiteY9" fmla="*/ 316230 h 350520"/>
                <a:gd name="connsiteX10" fmla="*/ 60248 w 323138"/>
                <a:gd name="connsiteY10" fmla="*/ 320993 h 350520"/>
                <a:gd name="connsiteX11" fmla="*/ 74536 w 323138"/>
                <a:gd name="connsiteY11" fmla="*/ 314325 h 350520"/>
                <a:gd name="connsiteX12" fmla="*/ 142163 w 323138"/>
                <a:gd name="connsiteY12" fmla="*/ 237172 h 350520"/>
                <a:gd name="connsiteX13" fmla="*/ 96443 w 323138"/>
                <a:gd name="connsiteY13" fmla="*/ 322898 h 350520"/>
                <a:gd name="connsiteX14" fmla="*/ 104063 w 323138"/>
                <a:gd name="connsiteY14" fmla="*/ 348615 h 350520"/>
                <a:gd name="connsiteX15" fmla="*/ 112636 w 323138"/>
                <a:gd name="connsiteY15" fmla="*/ 350520 h 350520"/>
                <a:gd name="connsiteX16" fmla="*/ 129781 w 323138"/>
                <a:gd name="connsiteY16" fmla="*/ 340043 h 350520"/>
                <a:gd name="connsiteX17" fmla="*/ 185026 w 323138"/>
                <a:gd name="connsiteY17" fmla="*/ 237172 h 350520"/>
                <a:gd name="connsiteX18" fmla="*/ 215506 w 323138"/>
                <a:gd name="connsiteY18" fmla="*/ 213360 h 350520"/>
                <a:gd name="connsiteX19" fmla="*/ 215506 w 323138"/>
                <a:gd name="connsiteY19" fmla="*/ 214313 h 350520"/>
                <a:gd name="connsiteX20" fmla="*/ 230746 w 323138"/>
                <a:gd name="connsiteY20" fmla="*/ 298133 h 350520"/>
                <a:gd name="connsiteX21" fmla="*/ 255511 w 323138"/>
                <a:gd name="connsiteY21" fmla="*/ 302895 h 350520"/>
                <a:gd name="connsiteX22" fmla="*/ 260273 w 323138"/>
                <a:gd name="connsiteY22" fmla="*/ 278130 h 350520"/>
                <a:gd name="connsiteX23" fmla="*/ 259321 w 323138"/>
                <a:gd name="connsiteY23" fmla="*/ 223838 h 350520"/>
                <a:gd name="connsiteX24" fmla="*/ 256463 w 323138"/>
                <a:gd name="connsiteY24" fmla="*/ 131445 h 350520"/>
                <a:gd name="connsiteX25" fmla="*/ 323138 w 323138"/>
                <a:gd name="connsiteY25" fmla="*/ 55245 h 350520"/>
                <a:gd name="connsiteX26" fmla="*/ 260273 w 323138"/>
                <a:gd name="connsiteY26" fmla="*/ 0 h 350520"/>
                <a:gd name="connsiteX27" fmla="*/ 189788 w 323138"/>
                <a:gd name="connsiteY27" fmla="*/ 80962 h 350520"/>
                <a:gd name="connsiteX28" fmla="*/ 90728 w 323138"/>
                <a:gd name="connsiteY28" fmla="*/ 139065 h 350520"/>
                <a:gd name="connsiteX29" fmla="*/ 12623 w 323138"/>
                <a:gd name="connsiteY29" fmla="*/ 166688 h 350520"/>
                <a:gd name="connsiteX30" fmla="*/ 1193 w 323138"/>
                <a:gd name="connsiteY30" fmla="*/ 191453 h 350520"/>
                <a:gd name="connsiteX31" fmla="*/ 20243 w 323138"/>
                <a:gd name="connsiteY31" fmla="*/ 205740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138" h="350520">
                  <a:moveTo>
                    <a:pt x="20243" y="205740"/>
                  </a:moveTo>
                  <a:cubicBezTo>
                    <a:pt x="22148" y="205740"/>
                    <a:pt x="24053" y="205740"/>
                    <a:pt x="26911" y="204788"/>
                  </a:cubicBezTo>
                  <a:lnTo>
                    <a:pt x="99301" y="179070"/>
                  </a:lnTo>
                  <a:lnTo>
                    <a:pt x="13576" y="238125"/>
                  </a:lnTo>
                  <a:cubicBezTo>
                    <a:pt x="5003" y="243840"/>
                    <a:pt x="3098" y="256222"/>
                    <a:pt x="8813" y="264795"/>
                  </a:cubicBezTo>
                  <a:cubicBezTo>
                    <a:pt x="12623" y="270510"/>
                    <a:pt x="18338" y="273368"/>
                    <a:pt x="24053" y="273368"/>
                  </a:cubicBezTo>
                  <a:cubicBezTo>
                    <a:pt x="27863" y="273368"/>
                    <a:pt x="31673" y="272415"/>
                    <a:pt x="34531" y="269558"/>
                  </a:cubicBezTo>
                  <a:lnTo>
                    <a:pt x="108826" y="218122"/>
                  </a:lnTo>
                  <a:lnTo>
                    <a:pt x="45961" y="289560"/>
                  </a:lnTo>
                  <a:cubicBezTo>
                    <a:pt x="39293" y="297180"/>
                    <a:pt x="40246" y="309563"/>
                    <a:pt x="47866" y="316230"/>
                  </a:cubicBezTo>
                  <a:cubicBezTo>
                    <a:pt x="51676" y="319088"/>
                    <a:pt x="55486" y="320993"/>
                    <a:pt x="60248" y="320993"/>
                  </a:cubicBezTo>
                  <a:cubicBezTo>
                    <a:pt x="65963" y="320993"/>
                    <a:pt x="70726" y="319088"/>
                    <a:pt x="74536" y="314325"/>
                  </a:cubicBezTo>
                  <a:lnTo>
                    <a:pt x="142163" y="237172"/>
                  </a:lnTo>
                  <a:lnTo>
                    <a:pt x="96443" y="322898"/>
                  </a:lnTo>
                  <a:cubicBezTo>
                    <a:pt x="91681" y="332423"/>
                    <a:pt x="94538" y="343853"/>
                    <a:pt x="104063" y="348615"/>
                  </a:cubicBezTo>
                  <a:cubicBezTo>
                    <a:pt x="106921" y="350520"/>
                    <a:pt x="109778" y="350520"/>
                    <a:pt x="112636" y="350520"/>
                  </a:cubicBezTo>
                  <a:cubicBezTo>
                    <a:pt x="119303" y="350520"/>
                    <a:pt x="125971" y="346710"/>
                    <a:pt x="129781" y="340043"/>
                  </a:cubicBezTo>
                  <a:lnTo>
                    <a:pt x="185026" y="237172"/>
                  </a:lnTo>
                  <a:cubicBezTo>
                    <a:pt x="194551" y="227647"/>
                    <a:pt x="205028" y="220028"/>
                    <a:pt x="215506" y="213360"/>
                  </a:cubicBezTo>
                  <a:cubicBezTo>
                    <a:pt x="215506" y="213360"/>
                    <a:pt x="215506" y="214313"/>
                    <a:pt x="215506" y="214313"/>
                  </a:cubicBezTo>
                  <a:cubicBezTo>
                    <a:pt x="211696" y="243840"/>
                    <a:pt x="216458" y="277178"/>
                    <a:pt x="230746" y="298133"/>
                  </a:cubicBezTo>
                  <a:cubicBezTo>
                    <a:pt x="236461" y="306705"/>
                    <a:pt x="246938" y="308610"/>
                    <a:pt x="255511" y="302895"/>
                  </a:cubicBezTo>
                  <a:cubicBezTo>
                    <a:pt x="264083" y="297180"/>
                    <a:pt x="265988" y="286703"/>
                    <a:pt x="260273" y="278130"/>
                  </a:cubicBezTo>
                  <a:cubicBezTo>
                    <a:pt x="253606" y="267653"/>
                    <a:pt x="256463" y="246697"/>
                    <a:pt x="259321" y="223838"/>
                  </a:cubicBezTo>
                  <a:cubicBezTo>
                    <a:pt x="263131" y="196215"/>
                    <a:pt x="266941" y="162878"/>
                    <a:pt x="256463" y="131445"/>
                  </a:cubicBezTo>
                  <a:lnTo>
                    <a:pt x="323138" y="55245"/>
                  </a:lnTo>
                  <a:lnTo>
                    <a:pt x="260273" y="0"/>
                  </a:lnTo>
                  <a:lnTo>
                    <a:pt x="189788" y="80962"/>
                  </a:lnTo>
                  <a:cubicBezTo>
                    <a:pt x="155498" y="72390"/>
                    <a:pt x="107873" y="120968"/>
                    <a:pt x="90728" y="139065"/>
                  </a:cubicBezTo>
                  <a:lnTo>
                    <a:pt x="12623" y="166688"/>
                  </a:lnTo>
                  <a:cubicBezTo>
                    <a:pt x="3098" y="170497"/>
                    <a:pt x="-2617" y="180975"/>
                    <a:pt x="1193" y="191453"/>
                  </a:cubicBezTo>
                  <a:cubicBezTo>
                    <a:pt x="5003" y="200978"/>
                    <a:pt x="12623" y="205740"/>
                    <a:pt x="20243" y="205740"/>
                  </a:cubicBezTo>
                  <a:close/>
                </a:path>
              </a:pathLst>
            </a:custGeom>
            <a:grpFill/>
            <a:ln w="9525" cap="flat">
              <a:noFill/>
              <a:prstDash val="solid"/>
              <a:miter/>
            </a:ln>
          </p:spPr>
          <p:txBody>
            <a:bodyPr rtlCol="0" anchor="ctr"/>
            <a:lstStyle/>
            <a:p>
              <a:endParaRPr lang="en-US"/>
            </a:p>
          </p:txBody>
        </p:sp>
      </p:grpSp>
      <p:sp>
        <p:nvSpPr>
          <p:cNvPr id="162" name="Freeform 176">
            <a:extLst>
              <a:ext uri="{FF2B5EF4-FFF2-40B4-BE49-F238E27FC236}">
                <a16:creationId xmlns:a16="http://schemas.microsoft.com/office/drawing/2014/main" id="{9DB9AAA6-80FE-490C-B2E2-DB0F5F61D413}"/>
              </a:ext>
            </a:extLst>
          </p:cNvPr>
          <p:cNvSpPr>
            <a:spLocks noEditPoints="1"/>
          </p:cNvSpPr>
          <p:nvPr/>
        </p:nvSpPr>
        <p:spPr bwMode="auto">
          <a:xfrm>
            <a:off x="4071149" y="3956241"/>
            <a:ext cx="327025" cy="360363"/>
          </a:xfrm>
          <a:custGeom>
            <a:avLst/>
            <a:gdLst>
              <a:gd name="T0" fmla="*/ 81 w 87"/>
              <a:gd name="T1" fmla="*/ 39 h 96"/>
              <a:gd name="T2" fmla="*/ 78 w 87"/>
              <a:gd name="T3" fmla="*/ 34 h 96"/>
              <a:gd name="T4" fmla="*/ 40 w 87"/>
              <a:gd name="T5" fmla="*/ 0 h 96"/>
              <a:gd name="T6" fmla="*/ 0 w 87"/>
              <a:gd name="T7" fmla="*/ 40 h 96"/>
              <a:gd name="T8" fmla="*/ 16 w 87"/>
              <a:gd name="T9" fmla="*/ 72 h 96"/>
              <a:gd name="T10" fmla="*/ 16 w 87"/>
              <a:gd name="T11" fmla="*/ 94 h 96"/>
              <a:gd name="T12" fmla="*/ 18 w 87"/>
              <a:gd name="T13" fmla="*/ 96 h 96"/>
              <a:gd name="T14" fmla="*/ 58 w 87"/>
              <a:gd name="T15" fmla="*/ 96 h 96"/>
              <a:gd name="T16" fmla="*/ 60 w 87"/>
              <a:gd name="T17" fmla="*/ 94 h 96"/>
              <a:gd name="T18" fmla="*/ 60 w 87"/>
              <a:gd name="T19" fmla="*/ 82 h 96"/>
              <a:gd name="T20" fmla="*/ 74 w 87"/>
              <a:gd name="T21" fmla="*/ 78 h 96"/>
              <a:gd name="T22" fmla="*/ 78 w 87"/>
              <a:gd name="T23" fmla="*/ 60 h 96"/>
              <a:gd name="T24" fmla="*/ 82 w 87"/>
              <a:gd name="T25" fmla="*/ 60 h 96"/>
              <a:gd name="T26" fmla="*/ 86 w 87"/>
              <a:gd name="T27" fmla="*/ 58 h 96"/>
              <a:gd name="T28" fmla="*/ 87 w 87"/>
              <a:gd name="T29" fmla="*/ 55 h 96"/>
              <a:gd name="T30" fmla="*/ 87 w 87"/>
              <a:gd name="T31" fmla="*/ 54 h 96"/>
              <a:gd name="T32" fmla="*/ 81 w 87"/>
              <a:gd name="T33" fmla="*/ 39 h 96"/>
              <a:gd name="T34" fmla="*/ 41 w 87"/>
              <a:gd name="T35" fmla="*/ 60 h 96"/>
              <a:gd name="T36" fmla="*/ 40 w 87"/>
              <a:gd name="T37" fmla="*/ 60 h 96"/>
              <a:gd name="T38" fmla="*/ 39 w 87"/>
              <a:gd name="T39" fmla="*/ 60 h 96"/>
              <a:gd name="T40" fmla="*/ 18 w 87"/>
              <a:gd name="T41" fmla="*/ 33 h 96"/>
              <a:gd name="T42" fmla="*/ 30 w 87"/>
              <a:gd name="T43" fmla="*/ 20 h 96"/>
              <a:gd name="T44" fmla="*/ 40 w 87"/>
              <a:gd name="T45" fmla="*/ 26 h 96"/>
              <a:gd name="T46" fmla="*/ 50 w 87"/>
              <a:gd name="T47" fmla="*/ 20 h 96"/>
              <a:gd name="T48" fmla="*/ 62 w 87"/>
              <a:gd name="T49" fmla="*/ 33 h 96"/>
              <a:gd name="T50" fmla="*/ 41 w 87"/>
              <a:gd name="T51"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96">
                <a:moveTo>
                  <a:pt x="81" y="39"/>
                </a:moveTo>
                <a:cubicBezTo>
                  <a:pt x="80" y="37"/>
                  <a:pt x="78" y="34"/>
                  <a:pt x="78" y="34"/>
                </a:cubicBez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5" y="59"/>
                  <a:pt x="86" y="58"/>
                </a:cubicBezTo>
                <a:cubicBezTo>
                  <a:pt x="87" y="57"/>
                  <a:pt x="87" y="56"/>
                  <a:pt x="87" y="55"/>
                </a:cubicBezTo>
                <a:cubicBezTo>
                  <a:pt x="87" y="54"/>
                  <a:pt x="87" y="54"/>
                  <a:pt x="87" y="54"/>
                </a:cubicBezTo>
                <a:cubicBezTo>
                  <a:pt x="87" y="50"/>
                  <a:pt x="84" y="44"/>
                  <a:pt x="81" y="39"/>
                </a:cubicBezTo>
                <a:close/>
                <a:moveTo>
                  <a:pt x="41" y="60"/>
                </a:moveTo>
                <a:cubicBezTo>
                  <a:pt x="41" y="60"/>
                  <a:pt x="40" y="60"/>
                  <a:pt x="40" y="60"/>
                </a:cubicBezTo>
                <a:cubicBezTo>
                  <a:pt x="40" y="60"/>
                  <a:pt x="39" y="60"/>
                  <a:pt x="39" y="60"/>
                </a:cubicBezTo>
                <a:cubicBezTo>
                  <a:pt x="37" y="58"/>
                  <a:pt x="18" y="45"/>
                  <a:pt x="18" y="33"/>
                </a:cubicBezTo>
                <a:cubicBezTo>
                  <a:pt x="18" y="25"/>
                  <a:pt x="24" y="20"/>
                  <a:pt x="30" y="20"/>
                </a:cubicBezTo>
                <a:cubicBezTo>
                  <a:pt x="33" y="20"/>
                  <a:pt x="37" y="22"/>
                  <a:pt x="40" y="26"/>
                </a:cubicBezTo>
                <a:cubicBezTo>
                  <a:pt x="43" y="22"/>
                  <a:pt x="47" y="20"/>
                  <a:pt x="50" y="20"/>
                </a:cubicBezTo>
                <a:cubicBezTo>
                  <a:pt x="56" y="20"/>
                  <a:pt x="62" y="25"/>
                  <a:pt x="62" y="33"/>
                </a:cubicBezTo>
                <a:cubicBezTo>
                  <a:pt x="62" y="45"/>
                  <a:pt x="43" y="58"/>
                  <a:pt x="41" y="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Oval 61">
            <a:extLst>
              <a:ext uri="{FF2B5EF4-FFF2-40B4-BE49-F238E27FC236}">
                <a16:creationId xmlns:a16="http://schemas.microsoft.com/office/drawing/2014/main" id="{30C5968E-350D-41A7-9CD4-D9C5C520327B}"/>
              </a:ext>
            </a:extLst>
          </p:cNvPr>
          <p:cNvSpPr/>
          <p:nvPr/>
        </p:nvSpPr>
        <p:spPr>
          <a:xfrm>
            <a:off x="5450670" y="2783670"/>
            <a:ext cx="1290660" cy="12906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4" name="Group 63">
            <a:extLst>
              <a:ext uri="{FF2B5EF4-FFF2-40B4-BE49-F238E27FC236}">
                <a16:creationId xmlns:a16="http://schemas.microsoft.com/office/drawing/2014/main" id="{AC8BF826-F1A6-4DAD-B421-4606949E3774}"/>
              </a:ext>
            </a:extLst>
          </p:cNvPr>
          <p:cNvGrpSpPr/>
          <p:nvPr/>
        </p:nvGrpSpPr>
        <p:grpSpPr>
          <a:xfrm>
            <a:off x="5844000" y="3177000"/>
            <a:ext cx="504000" cy="504000"/>
            <a:chOff x="6997700" y="3609976"/>
            <a:chExt cx="360363" cy="361950"/>
          </a:xfrm>
          <a:solidFill>
            <a:schemeClr val="tx1"/>
          </a:solidFill>
        </p:grpSpPr>
        <p:sp>
          <p:nvSpPr>
            <p:cNvPr id="65" name="Freeform 83">
              <a:extLst>
                <a:ext uri="{FF2B5EF4-FFF2-40B4-BE49-F238E27FC236}">
                  <a16:creationId xmlns:a16="http://schemas.microsoft.com/office/drawing/2014/main" id="{D4CB5600-064A-41B1-8482-36A464F55B25}"/>
                </a:ext>
              </a:extLst>
            </p:cNvPr>
            <p:cNvSpPr>
              <a:spLocks/>
            </p:cNvSpPr>
            <p:nvPr/>
          </p:nvSpPr>
          <p:spPr bwMode="auto">
            <a:xfrm>
              <a:off x="7207250" y="3654426"/>
              <a:ext cx="46038" cy="109538"/>
            </a:xfrm>
            <a:custGeom>
              <a:avLst/>
              <a:gdLst>
                <a:gd name="T0" fmla="*/ 0 w 12"/>
                <a:gd name="T1" fmla="*/ 8 h 29"/>
                <a:gd name="T2" fmla="*/ 2 w 12"/>
                <a:gd name="T3" fmla="*/ 8 h 29"/>
                <a:gd name="T4" fmla="*/ 4 w 12"/>
                <a:gd name="T5" fmla="*/ 10 h 29"/>
                <a:gd name="T6" fmla="*/ 4 w 12"/>
                <a:gd name="T7" fmla="*/ 29 h 29"/>
                <a:gd name="T8" fmla="*/ 8 w 12"/>
                <a:gd name="T9" fmla="*/ 28 h 29"/>
                <a:gd name="T10" fmla="*/ 12 w 12"/>
                <a:gd name="T11" fmla="*/ 28 h 29"/>
                <a:gd name="T12" fmla="*/ 12 w 12"/>
                <a:gd name="T13" fmla="*/ 2 h 29"/>
                <a:gd name="T14" fmla="*/ 11 w 12"/>
                <a:gd name="T15" fmla="*/ 1 h 29"/>
                <a:gd name="T16" fmla="*/ 10 w 12"/>
                <a:gd name="T17" fmla="*/ 0 h 29"/>
                <a:gd name="T18" fmla="*/ 0 w 12"/>
                <a:gd name="T19" fmla="*/ 0 h 29"/>
                <a:gd name="T20" fmla="*/ 0 w 12"/>
                <a:gd name="T2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9">
                  <a:moveTo>
                    <a:pt x="0" y="8"/>
                  </a:moveTo>
                  <a:cubicBezTo>
                    <a:pt x="2" y="8"/>
                    <a:pt x="2" y="8"/>
                    <a:pt x="2" y="8"/>
                  </a:cubicBezTo>
                  <a:cubicBezTo>
                    <a:pt x="3" y="8"/>
                    <a:pt x="4" y="9"/>
                    <a:pt x="4" y="10"/>
                  </a:cubicBezTo>
                  <a:cubicBezTo>
                    <a:pt x="4" y="29"/>
                    <a:pt x="4" y="29"/>
                    <a:pt x="4" y="29"/>
                  </a:cubicBezTo>
                  <a:cubicBezTo>
                    <a:pt x="5" y="28"/>
                    <a:pt x="6" y="28"/>
                    <a:pt x="8" y="28"/>
                  </a:cubicBezTo>
                  <a:cubicBezTo>
                    <a:pt x="12" y="28"/>
                    <a:pt x="12" y="28"/>
                    <a:pt x="12" y="28"/>
                  </a:cubicBezTo>
                  <a:cubicBezTo>
                    <a:pt x="12" y="2"/>
                    <a:pt x="12" y="2"/>
                    <a:pt x="12" y="2"/>
                  </a:cubicBezTo>
                  <a:cubicBezTo>
                    <a:pt x="12" y="1"/>
                    <a:pt x="12" y="1"/>
                    <a:pt x="11" y="1"/>
                  </a:cubicBezTo>
                  <a:cubicBezTo>
                    <a:pt x="11" y="0"/>
                    <a:pt x="11" y="0"/>
                    <a:pt x="10" y="0"/>
                  </a:cubicBezTo>
                  <a:cubicBezTo>
                    <a:pt x="0" y="0"/>
                    <a:pt x="0" y="0"/>
                    <a:pt x="0" y="0"/>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sp>
          <p:nvSpPr>
            <p:cNvPr id="66" name="Freeform 84">
              <a:extLst>
                <a:ext uri="{FF2B5EF4-FFF2-40B4-BE49-F238E27FC236}">
                  <a16:creationId xmlns:a16="http://schemas.microsoft.com/office/drawing/2014/main" id="{CDECE9F5-059A-451B-8013-B6ACFA2159F4}"/>
                </a:ext>
              </a:extLst>
            </p:cNvPr>
            <p:cNvSpPr>
              <a:spLocks/>
            </p:cNvSpPr>
            <p:nvPr/>
          </p:nvSpPr>
          <p:spPr bwMode="auto">
            <a:xfrm>
              <a:off x="7072313" y="3835401"/>
              <a:ext cx="60325" cy="15875"/>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sp>
          <p:nvSpPr>
            <p:cNvPr id="67" name="Freeform 85">
              <a:extLst>
                <a:ext uri="{FF2B5EF4-FFF2-40B4-BE49-F238E27FC236}">
                  <a16:creationId xmlns:a16="http://schemas.microsoft.com/office/drawing/2014/main" id="{36126132-799E-48D5-B8B5-8D66D0755312}"/>
                </a:ext>
              </a:extLst>
            </p:cNvPr>
            <p:cNvSpPr>
              <a:spLocks/>
            </p:cNvSpPr>
            <p:nvPr/>
          </p:nvSpPr>
          <p:spPr bwMode="auto">
            <a:xfrm>
              <a:off x="7072313" y="3805238"/>
              <a:ext cx="90488" cy="15875"/>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sp>
          <p:nvSpPr>
            <p:cNvPr id="68" name="Freeform 86">
              <a:extLst>
                <a:ext uri="{FF2B5EF4-FFF2-40B4-BE49-F238E27FC236}">
                  <a16:creationId xmlns:a16="http://schemas.microsoft.com/office/drawing/2014/main" id="{6ACF0C60-8AAA-40AE-8250-26537E910205}"/>
                </a:ext>
              </a:extLst>
            </p:cNvPr>
            <p:cNvSpPr>
              <a:spLocks/>
            </p:cNvSpPr>
            <p:nvPr/>
          </p:nvSpPr>
          <p:spPr bwMode="auto">
            <a:xfrm>
              <a:off x="7072313" y="3775076"/>
              <a:ext cx="90488" cy="15875"/>
            </a:xfrm>
            <a:custGeom>
              <a:avLst/>
              <a:gdLst>
                <a:gd name="T0" fmla="*/ 2 w 24"/>
                <a:gd name="T1" fmla="*/ 4 h 4"/>
                <a:gd name="T2" fmla="*/ 22 w 24"/>
                <a:gd name="T3" fmla="*/ 4 h 4"/>
                <a:gd name="T4" fmla="*/ 24 w 24"/>
                <a:gd name="T5" fmla="*/ 2 h 4"/>
                <a:gd name="T6" fmla="*/ 22 w 24"/>
                <a:gd name="T7" fmla="*/ 0 h 4"/>
                <a:gd name="T8" fmla="*/ 2 w 24"/>
                <a:gd name="T9" fmla="*/ 0 h 4"/>
                <a:gd name="T10" fmla="*/ 0 w 24"/>
                <a:gd name="T11" fmla="*/ 2 h 4"/>
                <a:gd name="T12" fmla="*/ 2 w 2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 y="4"/>
                  </a:moveTo>
                  <a:cubicBezTo>
                    <a:pt x="22" y="4"/>
                    <a:pt x="22" y="4"/>
                    <a:pt x="22" y="4"/>
                  </a:cubicBezTo>
                  <a:cubicBezTo>
                    <a:pt x="23" y="4"/>
                    <a:pt x="24" y="3"/>
                    <a:pt x="24" y="2"/>
                  </a:cubicBezTo>
                  <a:cubicBezTo>
                    <a:pt x="24" y="1"/>
                    <a:pt x="23" y="0"/>
                    <a:pt x="22" y="0"/>
                  </a:cubicBezTo>
                  <a:cubicBezTo>
                    <a:pt x="2" y="0"/>
                    <a:pt x="2" y="0"/>
                    <a:pt x="2" y="0"/>
                  </a:cubicBezTo>
                  <a:cubicBezTo>
                    <a:pt x="1" y="0"/>
                    <a:pt x="0" y="1"/>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sp>
          <p:nvSpPr>
            <p:cNvPr id="69" name="Freeform 87">
              <a:extLst>
                <a:ext uri="{FF2B5EF4-FFF2-40B4-BE49-F238E27FC236}">
                  <a16:creationId xmlns:a16="http://schemas.microsoft.com/office/drawing/2014/main" id="{7FE5F564-A3C7-4604-8F73-34A45A61EC2C}"/>
                </a:ext>
              </a:extLst>
            </p:cNvPr>
            <p:cNvSpPr>
              <a:spLocks/>
            </p:cNvSpPr>
            <p:nvPr/>
          </p:nvSpPr>
          <p:spPr bwMode="auto">
            <a:xfrm>
              <a:off x="6997700" y="3654426"/>
              <a:ext cx="173038" cy="287338"/>
            </a:xfrm>
            <a:custGeom>
              <a:avLst/>
              <a:gdLst>
                <a:gd name="T0" fmla="*/ 41 w 46"/>
                <a:gd name="T1" fmla="*/ 68 h 76"/>
                <a:gd name="T2" fmla="*/ 10 w 46"/>
                <a:gd name="T3" fmla="*/ 68 h 76"/>
                <a:gd name="T4" fmla="*/ 8 w 46"/>
                <a:gd name="T5" fmla="*/ 66 h 76"/>
                <a:gd name="T6" fmla="*/ 8 w 46"/>
                <a:gd name="T7" fmla="*/ 10 h 76"/>
                <a:gd name="T8" fmla="*/ 10 w 46"/>
                <a:gd name="T9" fmla="*/ 8 h 76"/>
                <a:gd name="T10" fmla="*/ 12 w 46"/>
                <a:gd name="T11" fmla="*/ 8 h 76"/>
                <a:gd name="T12" fmla="*/ 12 w 46"/>
                <a:gd name="T13" fmla="*/ 0 h 76"/>
                <a:gd name="T14" fmla="*/ 2 w 46"/>
                <a:gd name="T15" fmla="*/ 0 h 76"/>
                <a:gd name="T16" fmla="*/ 0 w 46"/>
                <a:gd name="T17" fmla="*/ 2 h 76"/>
                <a:gd name="T18" fmla="*/ 0 w 46"/>
                <a:gd name="T19" fmla="*/ 66 h 76"/>
                <a:gd name="T20" fmla="*/ 10 w 46"/>
                <a:gd name="T21" fmla="*/ 76 h 76"/>
                <a:gd name="T22" fmla="*/ 46 w 46"/>
                <a:gd name="T23" fmla="*/ 76 h 76"/>
                <a:gd name="T24" fmla="*/ 41 w 46"/>
                <a:gd name="T25"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6">
                  <a:moveTo>
                    <a:pt x="41" y="68"/>
                  </a:moveTo>
                  <a:cubicBezTo>
                    <a:pt x="10" y="68"/>
                    <a:pt x="10" y="68"/>
                    <a:pt x="10" y="68"/>
                  </a:cubicBezTo>
                  <a:cubicBezTo>
                    <a:pt x="9" y="68"/>
                    <a:pt x="8" y="67"/>
                    <a:pt x="8" y="66"/>
                  </a:cubicBezTo>
                  <a:cubicBezTo>
                    <a:pt x="8" y="10"/>
                    <a:pt x="8" y="10"/>
                    <a:pt x="8" y="10"/>
                  </a:cubicBezTo>
                  <a:cubicBezTo>
                    <a:pt x="8" y="9"/>
                    <a:pt x="9" y="8"/>
                    <a:pt x="10" y="8"/>
                  </a:cubicBezTo>
                  <a:cubicBezTo>
                    <a:pt x="12" y="8"/>
                    <a:pt x="12" y="8"/>
                    <a:pt x="12" y="8"/>
                  </a:cubicBez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6" y="76"/>
                    <a:pt x="46" y="76"/>
                    <a:pt x="46" y="76"/>
                  </a:cubicBezTo>
                  <a:lnTo>
                    <a:pt x="4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sp>
          <p:nvSpPr>
            <p:cNvPr id="70" name="Freeform 88">
              <a:extLst>
                <a:ext uri="{FF2B5EF4-FFF2-40B4-BE49-F238E27FC236}">
                  <a16:creationId xmlns:a16="http://schemas.microsoft.com/office/drawing/2014/main" id="{19A3C4F2-7F10-47EF-8388-0CB25769E6F1}"/>
                </a:ext>
              </a:extLst>
            </p:cNvPr>
            <p:cNvSpPr>
              <a:spLocks/>
            </p:cNvSpPr>
            <p:nvPr/>
          </p:nvSpPr>
          <p:spPr bwMode="auto">
            <a:xfrm>
              <a:off x="7058025" y="3609976"/>
              <a:ext cx="134938" cy="104775"/>
            </a:xfrm>
            <a:custGeom>
              <a:avLst/>
              <a:gdLst>
                <a:gd name="T0" fmla="*/ 0 w 36"/>
                <a:gd name="T1" fmla="*/ 26 h 28"/>
                <a:gd name="T2" fmla="*/ 2 w 36"/>
                <a:gd name="T3" fmla="*/ 28 h 28"/>
                <a:gd name="T4" fmla="*/ 34 w 36"/>
                <a:gd name="T5" fmla="*/ 28 h 28"/>
                <a:gd name="T6" fmla="*/ 36 w 36"/>
                <a:gd name="T7" fmla="*/ 26 h 28"/>
                <a:gd name="T8" fmla="*/ 36 w 36"/>
                <a:gd name="T9" fmla="*/ 10 h 28"/>
                <a:gd name="T10" fmla="*/ 34 w 36"/>
                <a:gd name="T11" fmla="*/ 8 h 28"/>
                <a:gd name="T12" fmla="*/ 28 w 36"/>
                <a:gd name="T13" fmla="*/ 8 h 28"/>
                <a:gd name="T14" fmla="*/ 18 w 36"/>
                <a:gd name="T15" fmla="*/ 0 h 28"/>
                <a:gd name="T16" fmla="*/ 8 w 36"/>
                <a:gd name="T17" fmla="*/ 8 h 28"/>
                <a:gd name="T18" fmla="*/ 2 w 36"/>
                <a:gd name="T19" fmla="*/ 8 h 28"/>
                <a:gd name="T20" fmla="*/ 0 w 36"/>
                <a:gd name="T21" fmla="*/ 10 h 28"/>
                <a:gd name="T22" fmla="*/ 0 w 36"/>
                <a:gd name="T2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0" y="26"/>
                  </a:moveTo>
                  <a:cubicBezTo>
                    <a:pt x="0" y="27"/>
                    <a:pt x="1" y="28"/>
                    <a:pt x="2" y="28"/>
                  </a:cubicBez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4"/>
                    <a:pt x="24" y="0"/>
                    <a:pt x="18" y="0"/>
                  </a:cubicBezTo>
                  <a:cubicBezTo>
                    <a:pt x="12" y="0"/>
                    <a:pt x="9" y="4"/>
                    <a:pt x="8" y="8"/>
                  </a:cubicBezTo>
                  <a:cubicBezTo>
                    <a:pt x="2" y="8"/>
                    <a:pt x="2" y="8"/>
                    <a:pt x="2" y="8"/>
                  </a:cubicBezTo>
                  <a:cubicBezTo>
                    <a:pt x="1" y="8"/>
                    <a:pt x="0" y="9"/>
                    <a:pt x="0" y="10"/>
                  </a:cubicBez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sp>
          <p:nvSpPr>
            <p:cNvPr id="71" name="Freeform 89">
              <a:extLst>
                <a:ext uri="{FF2B5EF4-FFF2-40B4-BE49-F238E27FC236}">
                  <a16:creationId xmlns:a16="http://schemas.microsoft.com/office/drawing/2014/main" id="{9BE233A2-79F3-4E5F-96A0-D1C7CDD31D4F}"/>
                </a:ext>
              </a:extLst>
            </p:cNvPr>
            <p:cNvSpPr>
              <a:spLocks/>
            </p:cNvSpPr>
            <p:nvPr/>
          </p:nvSpPr>
          <p:spPr bwMode="auto">
            <a:xfrm>
              <a:off x="7072313" y="3744913"/>
              <a:ext cx="90488" cy="15875"/>
            </a:xfrm>
            <a:custGeom>
              <a:avLst/>
              <a:gdLst>
                <a:gd name="T0" fmla="*/ 2 w 24"/>
                <a:gd name="T1" fmla="*/ 4 h 4"/>
                <a:gd name="T2" fmla="*/ 22 w 24"/>
                <a:gd name="T3" fmla="*/ 4 h 4"/>
                <a:gd name="T4" fmla="*/ 24 w 24"/>
                <a:gd name="T5" fmla="*/ 2 h 4"/>
                <a:gd name="T6" fmla="*/ 22 w 24"/>
                <a:gd name="T7" fmla="*/ 0 h 4"/>
                <a:gd name="T8" fmla="*/ 2 w 24"/>
                <a:gd name="T9" fmla="*/ 0 h 4"/>
                <a:gd name="T10" fmla="*/ 0 w 24"/>
                <a:gd name="T11" fmla="*/ 2 h 4"/>
                <a:gd name="T12" fmla="*/ 2 w 2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 y="4"/>
                  </a:moveTo>
                  <a:cubicBezTo>
                    <a:pt x="22" y="4"/>
                    <a:pt x="22" y="4"/>
                    <a:pt x="22" y="4"/>
                  </a:cubicBezTo>
                  <a:cubicBezTo>
                    <a:pt x="23" y="4"/>
                    <a:pt x="24" y="3"/>
                    <a:pt x="24" y="2"/>
                  </a:cubicBezTo>
                  <a:cubicBezTo>
                    <a:pt x="24" y="1"/>
                    <a:pt x="23" y="0"/>
                    <a:pt x="22" y="0"/>
                  </a:cubicBezTo>
                  <a:cubicBezTo>
                    <a:pt x="2" y="0"/>
                    <a:pt x="2" y="0"/>
                    <a:pt x="2" y="0"/>
                  </a:cubicBezTo>
                  <a:cubicBezTo>
                    <a:pt x="1" y="0"/>
                    <a:pt x="0" y="1"/>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sp>
          <p:nvSpPr>
            <p:cNvPr id="81" name="Freeform 90">
              <a:extLst>
                <a:ext uri="{FF2B5EF4-FFF2-40B4-BE49-F238E27FC236}">
                  <a16:creationId xmlns:a16="http://schemas.microsoft.com/office/drawing/2014/main" id="{754AD4E1-CA85-4CBF-80CC-51E194E8F2FE}"/>
                </a:ext>
              </a:extLst>
            </p:cNvPr>
            <p:cNvSpPr>
              <a:spLocks noEditPoints="1"/>
            </p:cNvSpPr>
            <p:nvPr/>
          </p:nvSpPr>
          <p:spPr bwMode="auto">
            <a:xfrm>
              <a:off x="7162800" y="3775076"/>
              <a:ext cx="195263" cy="196850"/>
            </a:xfrm>
            <a:custGeom>
              <a:avLst/>
              <a:gdLst>
                <a:gd name="T0" fmla="*/ 51 w 52"/>
                <a:gd name="T1" fmla="*/ 31 h 52"/>
                <a:gd name="T2" fmla="*/ 47 w 52"/>
                <a:gd name="T3" fmla="*/ 28 h 52"/>
                <a:gd name="T4" fmla="*/ 48 w 52"/>
                <a:gd name="T5" fmla="*/ 26 h 52"/>
                <a:gd name="T6" fmla="*/ 47 w 52"/>
                <a:gd name="T7" fmla="*/ 23 h 52"/>
                <a:gd name="T8" fmla="*/ 51 w 52"/>
                <a:gd name="T9" fmla="*/ 21 h 52"/>
                <a:gd name="T10" fmla="*/ 52 w 52"/>
                <a:gd name="T11" fmla="*/ 19 h 52"/>
                <a:gd name="T12" fmla="*/ 45 w 52"/>
                <a:gd name="T13" fmla="*/ 7 h 52"/>
                <a:gd name="T14" fmla="*/ 44 w 52"/>
                <a:gd name="T15" fmla="*/ 6 h 52"/>
                <a:gd name="T16" fmla="*/ 42 w 52"/>
                <a:gd name="T17" fmla="*/ 7 h 52"/>
                <a:gd name="T18" fmla="*/ 39 w 52"/>
                <a:gd name="T19" fmla="*/ 9 h 52"/>
                <a:gd name="T20" fmla="*/ 35 w 52"/>
                <a:gd name="T21" fmla="*/ 6 h 52"/>
                <a:gd name="T22" fmla="*/ 35 w 52"/>
                <a:gd name="T23" fmla="*/ 2 h 52"/>
                <a:gd name="T24" fmla="*/ 33 w 52"/>
                <a:gd name="T25" fmla="*/ 0 h 52"/>
                <a:gd name="T26" fmla="*/ 20 w 52"/>
                <a:gd name="T27" fmla="*/ 0 h 52"/>
                <a:gd name="T28" fmla="*/ 18 w 52"/>
                <a:gd name="T29" fmla="*/ 2 h 52"/>
                <a:gd name="T30" fmla="*/ 18 w 52"/>
                <a:gd name="T31" fmla="*/ 6 h 52"/>
                <a:gd name="T32" fmla="*/ 13 w 52"/>
                <a:gd name="T33" fmla="*/ 9 h 52"/>
                <a:gd name="T34" fmla="*/ 10 w 52"/>
                <a:gd name="T35" fmla="*/ 7 h 52"/>
                <a:gd name="T36" fmla="*/ 7 w 52"/>
                <a:gd name="T37" fmla="*/ 7 h 52"/>
                <a:gd name="T38" fmla="*/ 0 w 52"/>
                <a:gd name="T39" fmla="*/ 19 h 52"/>
                <a:gd name="T40" fmla="*/ 0 w 52"/>
                <a:gd name="T41" fmla="*/ 20 h 52"/>
                <a:gd name="T42" fmla="*/ 1 w 52"/>
                <a:gd name="T43" fmla="*/ 21 h 52"/>
                <a:gd name="T44" fmla="*/ 5 w 52"/>
                <a:gd name="T45" fmla="*/ 23 h 52"/>
                <a:gd name="T46" fmla="*/ 4 w 52"/>
                <a:gd name="T47" fmla="*/ 26 h 52"/>
                <a:gd name="T48" fmla="*/ 5 w 52"/>
                <a:gd name="T49" fmla="*/ 28 h 52"/>
                <a:gd name="T50" fmla="*/ 1 w 52"/>
                <a:gd name="T51" fmla="*/ 31 h 52"/>
                <a:gd name="T52" fmla="*/ 0 w 52"/>
                <a:gd name="T53" fmla="*/ 32 h 52"/>
                <a:gd name="T54" fmla="*/ 0 w 52"/>
                <a:gd name="T55" fmla="*/ 33 h 52"/>
                <a:gd name="T56" fmla="*/ 7 w 52"/>
                <a:gd name="T57" fmla="*/ 45 h 52"/>
                <a:gd name="T58" fmla="*/ 10 w 52"/>
                <a:gd name="T59" fmla="*/ 45 h 52"/>
                <a:gd name="T60" fmla="*/ 13 w 52"/>
                <a:gd name="T61" fmla="*/ 43 h 52"/>
                <a:gd name="T62" fmla="*/ 18 w 52"/>
                <a:gd name="T63" fmla="*/ 46 h 52"/>
                <a:gd name="T64" fmla="*/ 18 w 52"/>
                <a:gd name="T65" fmla="*/ 50 h 52"/>
                <a:gd name="T66" fmla="*/ 20 w 52"/>
                <a:gd name="T67" fmla="*/ 52 h 52"/>
                <a:gd name="T68" fmla="*/ 33 w 52"/>
                <a:gd name="T69" fmla="*/ 52 h 52"/>
                <a:gd name="T70" fmla="*/ 35 w 52"/>
                <a:gd name="T71" fmla="*/ 50 h 52"/>
                <a:gd name="T72" fmla="*/ 35 w 52"/>
                <a:gd name="T73" fmla="*/ 46 h 52"/>
                <a:gd name="T74" fmla="*/ 39 w 52"/>
                <a:gd name="T75" fmla="*/ 43 h 52"/>
                <a:gd name="T76" fmla="*/ 42 w 52"/>
                <a:gd name="T77" fmla="*/ 45 h 52"/>
                <a:gd name="T78" fmla="*/ 44 w 52"/>
                <a:gd name="T79" fmla="*/ 45 h 52"/>
                <a:gd name="T80" fmla="*/ 45 w 52"/>
                <a:gd name="T81" fmla="*/ 45 h 52"/>
                <a:gd name="T82" fmla="*/ 52 w 52"/>
                <a:gd name="T83" fmla="*/ 33 h 52"/>
                <a:gd name="T84" fmla="*/ 51 w 52"/>
                <a:gd name="T85" fmla="*/ 31 h 52"/>
                <a:gd name="T86" fmla="*/ 26 w 52"/>
                <a:gd name="T87" fmla="*/ 37 h 52"/>
                <a:gd name="T88" fmla="*/ 15 w 52"/>
                <a:gd name="T89" fmla="*/ 26 h 52"/>
                <a:gd name="T90" fmla="*/ 26 w 52"/>
                <a:gd name="T91" fmla="*/ 15 h 52"/>
                <a:gd name="T92" fmla="*/ 37 w 52"/>
                <a:gd name="T93" fmla="*/ 26 h 52"/>
                <a:gd name="T94" fmla="*/ 26 w 52"/>
                <a:gd name="T95" fmla="*/ 3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52">
                  <a:moveTo>
                    <a:pt x="51" y="31"/>
                  </a:moveTo>
                  <a:cubicBezTo>
                    <a:pt x="47" y="28"/>
                    <a:pt x="47" y="28"/>
                    <a:pt x="47" y="28"/>
                  </a:cubicBezTo>
                  <a:cubicBezTo>
                    <a:pt x="48" y="28"/>
                    <a:pt x="48" y="27"/>
                    <a:pt x="48" y="26"/>
                  </a:cubicBezTo>
                  <a:cubicBezTo>
                    <a:pt x="48" y="25"/>
                    <a:pt x="48" y="24"/>
                    <a:pt x="47" y="23"/>
                  </a:cubicBezTo>
                  <a:cubicBezTo>
                    <a:pt x="51" y="21"/>
                    <a:pt x="51" y="21"/>
                    <a:pt x="51" y="21"/>
                  </a:cubicBezTo>
                  <a:cubicBezTo>
                    <a:pt x="52" y="21"/>
                    <a:pt x="52" y="20"/>
                    <a:pt x="52" y="19"/>
                  </a:cubicBezTo>
                  <a:cubicBezTo>
                    <a:pt x="45" y="7"/>
                    <a:pt x="45" y="7"/>
                    <a:pt x="45" y="7"/>
                  </a:cubicBezTo>
                  <a:cubicBezTo>
                    <a:pt x="45" y="7"/>
                    <a:pt x="44" y="7"/>
                    <a:pt x="44" y="6"/>
                  </a:cubicBezTo>
                  <a:cubicBezTo>
                    <a:pt x="43" y="6"/>
                    <a:pt x="43" y="6"/>
                    <a:pt x="42" y="7"/>
                  </a:cubicBezTo>
                  <a:cubicBezTo>
                    <a:pt x="39" y="9"/>
                    <a:pt x="39" y="9"/>
                    <a:pt x="39" y="9"/>
                  </a:cubicBezTo>
                  <a:cubicBezTo>
                    <a:pt x="38" y="8"/>
                    <a:pt x="36" y="7"/>
                    <a:pt x="35" y="6"/>
                  </a:cubicBezTo>
                  <a:cubicBezTo>
                    <a:pt x="35" y="2"/>
                    <a:pt x="35" y="2"/>
                    <a:pt x="35" y="2"/>
                  </a:cubicBezTo>
                  <a:cubicBezTo>
                    <a:pt x="35" y="1"/>
                    <a:pt x="34" y="0"/>
                    <a:pt x="33" y="0"/>
                  </a:cubicBezTo>
                  <a:cubicBezTo>
                    <a:pt x="20" y="0"/>
                    <a:pt x="20" y="0"/>
                    <a:pt x="20" y="0"/>
                  </a:cubicBezTo>
                  <a:cubicBezTo>
                    <a:pt x="18" y="0"/>
                    <a:pt x="18" y="1"/>
                    <a:pt x="18" y="2"/>
                  </a:cubicBezTo>
                  <a:cubicBezTo>
                    <a:pt x="18" y="6"/>
                    <a:pt x="18" y="6"/>
                    <a:pt x="18" y="6"/>
                  </a:cubicBezTo>
                  <a:cubicBezTo>
                    <a:pt x="16" y="7"/>
                    <a:pt x="15" y="8"/>
                    <a:pt x="13" y="9"/>
                  </a:cubicBezTo>
                  <a:cubicBezTo>
                    <a:pt x="10" y="7"/>
                    <a:pt x="10" y="7"/>
                    <a:pt x="10" y="7"/>
                  </a:cubicBezTo>
                  <a:cubicBezTo>
                    <a:pt x="9" y="6"/>
                    <a:pt x="7" y="6"/>
                    <a:pt x="7" y="7"/>
                  </a:cubicBezTo>
                  <a:cubicBezTo>
                    <a:pt x="0" y="19"/>
                    <a:pt x="0" y="19"/>
                    <a:pt x="0" y="19"/>
                  </a:cubicBezTo>
                  <a:cubicBezTo>
                    <a:pt x="0" y="19"/>
                    <a:pt x="0" y="20"/>
                    <a:pt x="0" y="20"/>
                  </a:cubicBezTo>
                  <a:cubicBezTo>
                    <a:pt x="0" y="21"/>
                    <a:pt x="1" y="21"/>
                    <a:pt x="1" y="21"/>
                  </a:cubicBezTo>
                  <a:cubicBezTo>
                    <a:pt x="5" y="23"/>
                    <a:pt x="5" y="23"/>
                    <a:pt x="5" y="23"/>
                  </a:cubicBezTo>
                  <a:cubicBezTo>
                    <a:pt x="4" y="24"/>
                    <a:pt x="4" y="25"/>
                    <a:pt x="4" y="26"/>
                  </a:cubicBezTo>
                  <a:cubicBezTo>
                    <a:pt x="4" y="27"/>
                    <a:pt x="4" y="28"/>
                    <a:pt x="5" y="28"/>
                  </a:cubicBezTo>
                  <a:cubicBezTo>
                    <a:pt x="1" y="31"/>
                    <a:pt x="1" y="31"/>
                    <a:pt x="1" y="31"/>
                  </a:cubicBezTo>
                  <a:cubicBezTo>
                    <a:pt x="1" y="31"/>
                    <a:pt x="0" y="31"/>
                    <a:pt x="0" y="32"/>
                  </a:cubicBezTo>
                  <a:cubicBezTo>
                    <a:pt x="0" y="32"/>
                    <a:pt x="0" y="33"/>
                    <a:pt x="0" y="33"/>
                  </a:cubicBezTo>
                  <a:cubicBezTo>
                    <a:pt x="7" y="45"/>
                    <a:pt x="7" y="45"/>
                    <a:pt x="7" y="45"/>
                  </a:cubicBezTo>
                  <a:cubicBezTo>
                    <a:pt x="7" y="46"/>
                    <a:pt x="9" y="46"/>
                    <a:pt x="10" y="45"/>
                  </a:cubicBezTo>
                  <a:cubicBezTo>
                    <a:pt x="13" y="43"/>
                    <a:pt x="13" y="43"/>
                    <a:pt x="13" y="43"/>
                  </a:cubicBezTo>
                  <a:cubicBezTo>
                    <a:pt x="15" y="44"/>
                    <a:pt x="16" y="45"/>
                    <a:pt x="18" y="46"/>
                  </a:cubicBezTo>
                  <a:cubicBezTo>
                    <a:pt x="18" y="50"/>
                    <a:pt x="18" y="50"/>
                    <a:pt x="18" y="50"/>
                  </a:cubicBezTo>
                  <a:cubicBezTo>
                    <a:pt x="18" y="51"/>
                    <a:pt x="18" y="52"/>
                    <a:pt x="20" y="52"/>
                  </a:cubicBezTo>
                  <a:cubicBezTo>
                    <a:pt x="33" y="52"/>
                    <a:pt x="33" y="52"/>
                    <a:pt x="33" y="52"/>
                  </a:cubicBezTo>
                  <a:cubicBezTo>
                    <a:pt x="34" y="52"/>
                    <a:pt x="35" y="51"/>
                    <a:pt x="35" y="50"/>
                  </a:cubicBezTo>
                  <a:cubicBezTo>
                    <a:pt x="35" y="46"/>
                    <a:pt x="35" y="46"/>
                    <a:pt x="35" y="46"/>
                  </a:cubicBezTo>
                  <a:cubicBezTo>
                    <a:pt x="36" y="45"/>
                    <a:pt x="38" y="44"/>
                    <a:pt x="39" y="43"/>
                  </a:cubicBezTo>
                  <a:cubicBezTo>
                    <a:pt x="42" y="45"/>
                    <a:pt x="42" y="45"/>
                    <a:pt x="42" y="45"/>
                  </a:cubicBezTo>
                  <a:cubicBezTo>
                    <a:pt x="43" y="46"/>
                    <a:pt x="43" y="46"/>
                    <a:pt x="44" y="45"/>
                  </a:cubicBezTo>
                  <a:cubicBezTo>
                    <a:pt x="45" y="45"/>
                    <a:pt x="45" y="45"/>
                    <a:pt x="45" y="45"/>
                  </a:cubicBezTo>
                  <a:cubicBezTo>
                    <a:pt x="52" y="33"/>
                    <a:pt x="52" y="33"/>
                    <a:pt x="52" y="33"/>
                  </a:cubicBezTo>
                  <a:cubicBezTo>
                    <a:pt x="52" y="32"/>
                    <a:pt x="52" y="31"/>
                    <a:pt x="51" y="31"/>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75757"/>
                </a:solidFill>
              </a:endParaRPr>
            </a:p>
          </p:txBody>
        </p:sp>
      </p:grpSp>
    </p:spTree>
    <p:extLst>
      <p:ext uri="{BB962C8B-B14F-4D97-AF65-F5344CB8AC3E}">
        <p14:creationId xmlns:p14="http://schemas.microsoft.com/office/powerpoint/2010/main" val="2704177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7</a:t>
            </a:fld>
            <a:endParaRPr lang="en-US"/>
          </a:p>
        </p:txBody>
      </p:sp>
      <p:grpSp>
        <p:nvGrpSpPr>
          <p:cNvPr id="9" name="Group 8">
            <a:extLst>
              <a:ext uri="{FF2B5EF4-FFF2-40B4-BE49-F238E27FC236}">
                <a16:creationId xmlns:a16="http://schemas.microsoft.com/office/drawing/2014/main" id="{305280FB-1D32-45C3-B02C-88350595D191}"/>
              </a:ext>
            </a:extLst>
          </p:cNvPr>
          <p:cNvGrpSpPr/>
          <p:nvPr/>
        </p:nvGrpSpPr>
        <p:grpSpPr>
          <a:xfrm>
            <a:off x="7469384" y="2272309"/>
            <a:ext cx="3426157" cy="695310"/>
            <a:chOff x="7469384" y="2329188"/>
            <a:chExt cx="3426157" cy="695310"/>
          </a:xfrm>
        </p:grpSpPr>
        <p:sp>
          <p:nvSpPr>
            <p:cNvPr id="49" name="TextBox 48">
              <a:extLst>
                <a:ext uri="{FF2B5EF4-FFF2-40B4-BE49-F238E27FC236}">
                  <a16:creationId xmlns:a16="http://schemas.microsoft.com/office/drawing/2014/main" id="{4252D862-413C-4F62-8F46-12A77EC293FB}"/>
                </a:ext>
              </a:extLst>
            </p:cNvPr>
            <p:cNvSpPr txBox="1"/>
            <p:nvPr/>
          </p:nvSpPr>
          <p:spPr>
            <a:xfrm>
              <a:off x="7469384" y="2593611"/>
              <a:ext cx="3426157" cy="430887"/>
            </a:xfrm>
            <a:prstGeom prst="rect">
              <a:avLst/>
            </a:prstGeom>
            <a:noFill/>
            <a:ln w="6350">
              <a:noFill/>
              <a:prstDash val="dash"/>
            </a:ln>
          </p:spPr>
          <p:txBody>
            <a:bodyPr wrap="square" lIns="0" tIns="0" rIns="0" bIns="0" rtlCol="0">
              <a:spAutoFit/>
            </a:bodyPr>
            <a:lstStyle>
              <a:defPPr>
                <a:defRPr lang="en-US"/>
              </a:defPPr>
              <a:lvl1pPr algn="just">
                <a:defRPr sz="1400"/>
              </a:lvl1pPr>
            </a:lstStyle>
            <a:p>
              <a:r>
                <a:rPr lang="en-US" dirty="0"/>
                <a:t>Together we walked, ran, and biked the equivalent of 46.5 American football fields. </a:t>
              </a:r>
            </a:p>
          </p:txBody>
        </p:sp>
        <p:sp>
          <p:nvSpPr>
            <p:cNvPr id="53" name="TextBox 52">
              <a:extLst>
                <a:ext uri="{FF2B5EF4-FFF2-40B4-BE49-F238E27FC236}">
                  <a16:creationId xmlns:a16="http://schemas.microsoft.com/office/drawing/2014/main" id="{CA20B307-1425-4515-94BE-1DC3367D9B55}"/>
                </a:ext>
              </a:extLst>
            </p:cNvPr>
            <p:cNvSpPr txBox="1"/>
            <p:nvPr/>
          </p:nvSpPr>
          <p:spPr>
            <a:xfrm>
              <a:off x="7469385" y="2329188"/>
              <a:ext cx="3426156" cy="246221"/>
            </a:xfrm>
            <a:prstGeom prst="rect">
              <a:avLst/>
            </a:prstGeom>
            <a:noFill/>
            <a:ln w="6350">
              <a:noFill/>
              <a:prstDash val="dash"/>
            </a:ln>
          </p:spPr>
          <p:txBody>
            <a:bodyPr wrap="square" lIns="0" tIns="0" rIns="0" bIns="0" rtlCol="0">
              <a:spAutoFit/>
            </a:bodyPr>
            <a:lstStyle/>
            <a:p>
              <a:r>
                <a:rPr lang="en-US" sz="1600" b="1" dirty="0">
                  <a:solidFill>
                    <a:schemeClr val="accent1">
                      <a:lumMod val="50000"/>
                    </a:schemeClr>
                  </a:solidFill>
                </a:rPr>
                <a:t>MORE THAN 4,260 KMS IN JUST A WEEK </a:t>
              </a:r>
            </a:p>
          </p:txBody>
        </p:sp>
      </p:grpSp>
      <p:graphicFrame>
        <p:nvGraphicFramePr>
          <p:cNvPr id="57" name="Chart 56">
            <a:extLst>
              <a:ext uri="{FF2B5EF4-FFF2-40B4-BE49-F238E27FC236}">
                <a16:creationId xmlns:a16="http://schemas.microsoft.com/office/drawing/2014/main" id="{F0F11D57-9BDA-4C03-8DC2-D33A21A1AC1F}"/>
              </a:ext>
            </a:extLst>
          </p:cNvPr>
          <p:cNvGraphicFramePr/>
          <p:nvPr/>
        </p:nvGraphicFramePr>
        <p:xfrm>
          <a:off x="5958441" y="2029630"/>
          <a:ext cx="1664752" cy="1388100"/>
        </p:xfrm>
        <a:graphic>
          <a:graphicData uri="http://schemas.openxmlformats.org/drawingml/2006/chart">
            <c:chart xmlns:c="http://schemas.openxmlformats.org/drawingml/2006/chart" xmlns:r="http://schemas.openxmlformats.org/officeDocument/2006/relationships" r:id="rId2"/>
          </a:graphicData>
        </a:graphic>
      </p:graphicFrame>
      <p:sp>
        <p:nvSpPr>
          <p:cNvPr id="61" name="Oval 60">
            <a:extLst>
              <a:ext uri="{FF2B5EF4-FFF2-40B4-BE49-F238E27FC236}">
                <a16:creationId xmlns:a16="http://schemas.microsoft.com/office/drawing/2014/main" id="{D5D6E24F-CD52-4DD9-B35D-2F3E42B1B203}"/>
              </a:ext>
            </a:extLst>
          </p:cNvPr>
          <p:cNvSpPr/>
          <p:nvPr/>
        </p:nvSpPr>
        <p:spPr>
          <a:xfrm>
            <a:off x="6360011" y="2292873"/>
            <a:ext cx="861613" cy="86161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B0CA5C97-5276-4EE3-B2DD-4941858DF8D4}"/>
              </a:ext>
            </a:extLst>
          </p:cNvPr>
          <p:cNvGrpSpPr/>
          <p:nvPr/>
        </p:nvGrpSpPr>
        <p:grpSpPr>
          <a:xfrm>
            <a:off x="7469384" y="3674940"/>
            <a:ext cx="3426157" cy="919222"/>
            <a:chOff x="7469384" y="3731362"/>
            <a:chExt cx="3426157" cy="919222"/>
          </a:xfrm>
        </p:grpSpPr>
        <p:sp>
          <p:nvSpPr>
            <p:cNvPr id="77" name="TextBox 76">
              <a:extLst>
                <a:ext uri="{FF2B5EF4-FFF2-40B4-BE49-F238E27FC236}">
                  <a16:creationId xmlns:a16="http://schemas.microsoft.com/office/drawing/2014/main" id="{8C7CC528-67A6-44AD-A70E-9026ADB64B71}"/>
                </a:ext>
              </a:extLst>
            </p:cNvPr>
            <p:cNvSpPr txBox="1"/>
            <p:nvPr/>
          </p:nvSpPr>
          <p:spPr>
            <a:xfrm>
              <a:off x="7469384" y="4004253"/>
              <a:ext cx="3426157" cy="646331"/>
            </a:xfrm>
            <a:prstGeom prst="rect">
              <a:avLst/>
            </a:prstGeom>
            <a:noFill/>
            <a:ln w="6350">
              <a:noFill/>
              <a:prstDash val="dash"/>
            </a:ln>
          </p:spPr>
          <p:txBody>
            <a:bodyPr wrap="square" lIns="0" tIns="0" rIns="0" bIns="0" rtlCol="0">
              <a:spAutoFit/>
            </a:bodyPr>
            <a:lstStyle>
              <a:defPPr>
                <a:defRPr lang="en-US"/>
              </a:defPPr>
              <a:lvl1pPr algn="just">
                <a:defRPr sz="1400"/>
              </a:lvl1pPr>
            </a:lstStyle>
            <a:p>
              <a:r>
                <a:rPr lang="en-US" dirty="0"/>
                <a:t>Thanks to the effort of our team, we were able to secure emergency food packages for 112 girls and their families.</a:t>
              </a:r>
            </a:p>
          </p:txBody>
        </p:sp>
        <p:sp>
          <p:nvSpPr>
            <p:cNvPr id="78" name="TextBox 77">
              <a:extLst>
                <a:ext uri="{FF2B5EF4-FFF2-40B4-BE49-F238E27FC236}">
                  <a16:creationId xmlns:a16="http://schemas.microsoft.com/office/drawing/2014/main" id="{36227773-8030-484E-BF53-BDDACA671749}"/>
                </a:ext>
              </a:extLst>
            </p:cNvPr>
            <p:cNvSpPr txBox="1"/>
            <p:nvPr/>
          </p:nvSpPr>
          <p:spPr>
            <a:xfrm>
              <a:off x="7469385" y="3731362"/>
              <a:ext cx="3053964" cy="246221"/>
            </a:xfrm>
            <a:prstGeom prst="rect">
              <a:avLst/>
            </a:prstGeom>
            <a:noFill/>
            <a:ln w="6350">
              <a:noFill/>
              <a:prstDash val="dash"/>
            </a:ln>
          </p:spPr>
          <p:txBody>
            <a:bodyPr wrap="square" lIns="0" tIns="0" rIns="0" bIns="0" rtlCol="0">
              <a:spAutoFit/>
            </a:bodyPr>
            <a:lstStyle/>
            <a:p>
              <a:r>
                <a:rPr lang="en-US" sz="1600" b="1" dirty="0">
                  <a:solidFill>
                    <a:schemeClr val="accent3">
                      <a:lumMod val="40000"/>
                      <a:lumOff val="60000"/>
                    </a:schemeClr>
                  </a:solidFill>
                </a:rPr>
                <a:t>GIVING BACK TO THE COMMUNITY</a:t>
              </a:r>
            </a:p>
          </p:txBody>
        </p:sp>
      </p:grpSp>
      <p:graphicFrame>
        <p:nvGraphicFramePr>
          <p:cNvPr id="79" name="Chart 78">
            <a:extLst>
              <a:ext uri="{FF2B5EF4-FFF2-40B4-BE49-F238E27FC236}">
                <a16:creationId xmlns:a16="http://schemas.microsoft.com/office/drawing/2014/main" id="{B4D63E8C-D462-411D-89C7-1190F7315373}"/>
              </a:ext>
            </a:extLst>
          </p:cNvPr>
          <p:cNvGraphicFramePr/>
          <p:nvPr/>
        </p:nvGraphicFramePr>
        <p:xfrm>
          <a:off x="5958441" y="3440272"/>
          <a:ext cx="1664752" cy="1388100"/>
        </p:xfrm>
        <a:graphic>
          <a:graphicData uri="http://schemas.openxmlformats.org/drawingml/2006/chart">
            <c:chart xmlns:c="http://schemas.openxmlformats.org/drawingml/2006/chart" xmlns:r="http://schemas.openxmlformats.org/officeDocument/2006/relationships" r:id="rId3"/>
          </a:graphicData>
        </a:graphic>
      </p:graphicFrame>
      <p:sp>
        <p:nvSpPr>
          <p:cNvPr id="80" name="Oval 79">
            <a:extLst>
              <a:ext uri="{FF2B5EF4-FFF2-40B4-BE49-F238E27FC236}">
                <a16:creationId xmlns:a16="http://schemas.microsoft.com/office/drawing/2014/main" id="{2C4D988A-58D7-44D2-8499-5D0849CFE20D}"/>
              </a:ext>
            </a:extLst>
          </p:cNvPr>
          <p:cNvSpPr/>
          <p:nvPr/>
        </p:nvSpPr>
        <p:spPr>
          <a:xfrm>
            <a:off x="6360011" y="3703515"/>
            <a:ext cx="861613" cy="86161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E0C3EA78-0262-43CC-97FB-7233D055921D}"/>
              </a:ext>
            </a:extLst>
          </p:cNvPr>
          <p:cNvGrpSpPr/>
          <p:nvPr/>
        </p:nvGrpSpPr>
        <p:grpSpPr>
          <a:xfrm>
            <a:off x="7469384" y="5094053"/>
            <a:ext cx="5037248" cy="902051"/>
            <a:chOff x="7469384" y="5159172"/>
            <a:chExt cx="5037248" cy="902051"/>
          </a:xfrm>
        </p:grpSpPr>
        <p:sp>
          <p:nvSpPr>
            <p:cNvPr id="85" name="TextBox 84">
              <a:extLst>
                <a:ext uri="{FF2B5EF4-FFF2-40B4-BE49-F238E27FC236}">
                  <a16:creationId xmlns:a16="http://schemas.microsoft.com/office/drawing/2014/main" id="{37064592-F3AC-48D4-BAD5-2DB6EFE954F4}"/>
                </a:ext>
              </a:extLst>
            </p:cNvPr>
            <p:cNvSpPr txBox="1"/>
            <p:nvPr/>
          </p:nvSpPr>
          <p:spPr>
            <a:xfrm>
              <a:off x="7469384" y="5414892"/>
              <a:ext cx="3426157" cy="646331"/>
            </a:xfrm>
            <a:prstGeom prst="rect">
              <a:avLst/>
            </a:prstGeom>
            <a:noFill/>
            <a:ln w="6350">
              <a:noFill/>
              <a:prstDash val="dash"/>
            </a:ln>
          </p:spPr>
          <p:txBody>
            <a:bodyPr wrap="square" lIns="0" tIns="0" rIns="0" bIns="0" rtlCol="0">
              <a:spAutoFit/>
            </a:bodyPr>
            <a:lstStyle>
              <a:defPPr>
                <a:defRPr lang="en-US"/>
              </a:defPPr>
              <a:lvl1pPr algn="just">
                <a:defRPr sz="1400"/>
              </a:lvl1pPr>
            </a:lstStyle>
            <a:p>
              <a:r>
                <a:rPr lang="en-US" dirty="0"/>
                <a:t>86.7% affirmed they would join the challenge if we do it again. The rest said only if the timing is right. </a:t>
              </a:r>
            </a:p>
          </p:txBody>
        </p:sp>
        <p:sp>
          <p:nvSpPr>
            <p:cNvPr id="86" name="TextBox 85">
              <a:extLst>
                <a:ext uri="{FF2B5EF4-FFF2-40B4-BE49-F238E27FC236}">
                  <a16:creationId xmlns:a16="http://schemas.microsoft.com/office/drawing/2014/main" id="{8EFAF5A3-A7A4-4F8D-B073-F6087CA26D0A}"/>
                </a:ext>
              </a:extLst>
            </p:cNvPr>
            <p:cNvSpPr txBox="1"/>
            <p:nvPr/>
          </p:nvSpPr>
          <p:spPr>
            <a:xfrm>
              <a:off x="7469384" y="5159172"/>
              <a:ext cx="5037248" cy="246221"/>
            </a:xfrm>
            <a:prstGeom prst="rect">
              <a:avLst/>
            </a:prstGeom>
            <a:noFill/>
            <a:ln w="6350">
              <a:noFill/>
              <a:prstDash val="dash"/>
            </a:ln>
          </p:spPr>
          <p:txBody>
            <a:bodyPr wrap="square" lIns="0" tIns="0" rIns="0" bIns="0" rtlCol="0">
              <a:spAutoFit/>
            </a:bodyPr>
            <a:lstStyle/>
            <a:p>
              <a:r>
                <a:rPr lang="en-US" sz="1600" b="1" dirty="0">
                  <a:solidFill>
                    <a:schemeClr val="accent3">
                      <a:lumMod val="60000"/>
                      <a:lumOff val="40000"/>
                    </a:schemeClr>
                  </a:solidFill>
                </a:rPr>
                <a:t>READY FOR MORE GLOBAL CHALLENGES</a:t>
              </a:r>
            </a:p>
          </p:txBody>
        </p:sp>
      </p:grpSp>
      <p:graphicFrame>
        <p:nvGraphicFramePr>
          <p:cNvPr id="87" name="Chart 86">
            <a:extLst>
              <a:ext uri="{FF2B5EF4-FFF2-40B4-BE49-F238E27FC236}">
                <a16:creationId xmlns:a16="http://schemas.microsoft.com/office/drawing/2014/main" id="{D5EF5671-A69B-4DCE-B744-04ED7E4078F5}"/>
              </a:ext>
            </a:extLst>
          </p:cNvPr>
          <p:cNvGraphicFramePr/>
          <p:nvPr/>
        </p:nvGraphicFramePr>
        <p:xfrm>
          <a:off x="5958441" y="4850911"/>
          <a:ext cx="1664752" cy="1388100"/>
        </p:xfrm>
        <a:graphic>
          <a:graphicData uri="http://schemas.openxmlformats.org/drawingml/2006/chart">
            <c:chart xmlns:c="http://schemas.openxmlformats.org/drawingml/2006/chart" xmlns:r="http://schemas.openxmlformats.org/officeDocument/2006/relationships" r:id="rId4"/>
          </a:graphicData>
        </a:graphic>
      </p:graphicFrame>
      <p:sp>
        <p:nvSpPr>
          <p:cNvPr id="88" name="Oval 87">
            <a:extLst>
              <a:ext uri="{FF2B5EF4-FFF2-40B4-BE49-F238E27FC236}">
                <a16:creationId xmlns:a16="http://schemas.microsoft.com/office/drawing/2014/main" id="{60AFEF6C-30F8-457A-86B2-EAC1746A7B4A}"/>
              </a:ext>
            </a:extLst>
          </p:cNvPr>
          <p:cNvSpPr/>
          <p:nvPr/>
        </p:nvSpPr>
        <p:spPr>
          <a:xfrm>
            <a:off x="6360011" y="5114154"/>
            <a:ext cx="861613" cy="86161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0CD39130-9C5C-4315-BA86-FED6EFBADB1D}"/>
              </a:ext>
            </a:extLst>
          </p:cNvPr>
          <p:cNvSpPr txBox="1"/>
          <p:nvPr/>
        </p:nvSpPr>
        <p:spPr>
          <a:xfrm>
            <a:off x="6447409" y="5391072"/>
            <a:ext cx="686816" cy="307777"/>
          </a:xfrm>
          <a:prstGeom prst="rect">
            <a:avLst/>
          </a:prstGeom>
          <a:noFill/>
          <a:ln w="6350">
            <a:noFill/>
            <a:prstDash val="dash"/>
          </a:ln>
        </p:spPr>
        <p:txBody>
          <a:bodyPr wrap="square" lIns="0" tIns="0" rIns="0" bIns="0" rtlCol="0" anchor="ctr">
            <a:spAutoFit/>
          </a:bodyPr>
          <a:lstStyle/>
          <a:p>
            <a:pPr algn="ctr"/>
            <a:r>
              <a:rPr lang="en-US" sz="2000" b="1" dirty="0">
                <a:solidFill>
                  <a:schemeClr val="accent3">
                    <a:lumMod val="40000"/>
                    <a:lumOff val="60000"/>
                  </a:schemeClr>
                </a:solidFill>
              </a:rPr>
              <a:t>86,7%</a:t>
            </a:r>
          </a:p>
        </p:txBody>
      </p:sp>
      <p:cxnSp>
        <p:nvCxnSpPr>
          <p:cNvPr id="94" name="Straight Connector 93">
            <a:extLst>
              <a:ext uri="{FF2B5EF4-FFF2-40B4-BE49-F238E27FC236}">
                <a16:creationId xmlns:a16="http://schemas.microsoft.com/office/drawing/2014/main" id="{35E1CFE7-506E-462C-9E03-A5C1CFA4953F}"/>
              </a:ext>
            </a:extLst>
          </p:cNvPr>
          <p:cNvCxnSpPr/>
          <p:nvPr/>
        </p:nvCxnSpPr>
        <p:spPr>
          <a:xfrm>
            <a:off x="6360011" y="3429001"/>
            <a:ext cx="491245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0CD3299-E7BA-4828-991C-4669B8F22AC5}"/>
              </a:ext>
            </a:extLst>
          </p:cNvPr>
          <p:cNvCxnSpPr/>
          <p:nvPr/>
        </p:nvCxnSpPr>
        <p:spPr>
          <a:xfrm>
            <a:off x="6360011" y="4839642"/>
            <a:ext cx="491245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FD6B2DF-814F-4D81-9049-E8ECD36D8FFE}"/>
              </a:ext>
            </a:extLst>
          </p:cNvPr>
          <p:cNvGrpSpPr/>
          <p:nvPr/>
        </p:nvGrpSpPr>
        <p:grpSpPr>
          <a:xfrm>
            <a:off x="7469384" y="867928"/>
            <a:ext cx="3426157" cy="701592"/>
            <a:chOff x="7469384" y="927014"/>
            <a:chExt cx="3426157" cy="701592"/>
          </a:xfrm>
        </p:grpSpPr>
        <p:sp>
          <p:nvSpPr>
            <p:cNvPr id="96" name="TextBox 95">
              <a:extLst>
                <a:ext uri="{FF2B5EF4-FFF2-40B4-BE49-F238E27FC236}">
                  <a16:creationId xmlns:a16="http://schemas.microsoft.com/office/drawing/2014/main" id="{F696692B-5A3B-4F08-8DD7-D2980E951EA7}"/>
                </a:ext>
              </a:extLst>
            </p:cNvPr>
            <p:cNvSpPr txBox="1"/>
            <p:nvPr/>
          </p:nvSpPr>
          <p:spPr>
            <a:xfrm>
              <a:off x="7469384" y="1197719"/>
              <a:ext cx="3426157" cy="430887"/>
            </a:xfrm>
            <a:prstGeom prst="rect">
              <a:avLst/>
            </a:prstGeom>
            <a:noFill/>
            <a:ln w="6350">
              <a:noFill/>
              <a:prstDash val="dash"/>
            </a:ln>
          </p:spPr>
          <p:txBody>
            <a:bodyPr wrap="square" lIns="0" tIns="0" rIns="0" bIns="0" rtlCol="0">
              <a:spAutoFit/>
            </a:bodyPr>
            <a:lstStyle/>
            <a:p>
              <a:pPr algn="just"/>
              <a:r>
                <a:rPr lang="en-US" sz="1400" dirty="0"/>
                <a:t>57,8% of the participants rated this challenge as “10x awesome”</a:t>
              </a:r>
            </a:p>
          </p:txBody>
        </p:sp>
        <p:sp>
          <p:nvSpPr>
            <p:cNvPr id="97" name="TextBox 96">
              <a:extLst>
                <a:ext uri="{FF2B5EF4-FFF2-40B4-BE49-F238E27FC236}">
                  <a16:creationId xmlns:a16="http://schemas.microsoft.com/office/drawing/2014/main" id="{89553626-3F0B-42E2-ACDA-F8358EB51048}"/>
                </a:ext>
              </a:extLst>
            </p:cNvPr>
            <p:cNvSpPr txBox="1"/>
            <p:nvPr/>
          </p:nvSpPr>
          <p:spPr>
            <a:xfrm>
              <a:off x="7469384" y="927014"/>
              <a:ext cx="3047950" cy="246221"/>
            </a:xfrm>
            <a:prstGeom prst="rect">
              <a:avLst/>
            </a:prstGeom>
            <a:noFill/>
            <a:ln w="6350">
              <a:noFill/>
              <a:prstDash val="dash"/>
            </a:ln>
          </p:spPr>
          <p:txBody>
            <a:bodyPr wrap="square" lIns="0" tIns="0" rIns="0" bIns="0" rtlCol="0">
              <a:spAutoFit/>
            </a:bodyPr>
            <a:lstStyle/>
            <a:p>
              <a:r>
                <a:rPr lang="en-US" sz="1600" b="1" dirty="0">
                  <a:solidFill>
                    <a:schemeClr val="accent1">
                      <a:lumMod val="90000"/>
                    </a:schemeClr>
                  </a:solidFill>
                </a:rPr>
                <a:t>OUR TEAM HAD AN AWESOME TIME</a:t>
              </a:r>
            </a:p>
          </p:txBody>
        </p:sp>
      </p:grpSp>
      <p:graphicFrame>
        <p:nvGraphicFramePr>
          <p:cNvPr id="98" name="Chart 97">
            <a:extLst>
              <a:ext uri="{FF2B5EF4-FFF2-40B4-BE49-F238E27FC236}">
                <a16:creationId xmlns:a16="http://schemas.microsoft.com/office/drawing/2014/main" id="{DFE4BDAA-D55C-40C9-B4A7-5A0607F362C7}"/>
              </a:ext>
            </a:extLst>
          </p:cNvPr>
          <p:cNvGraphicFramePr/>
          <p:nvPr/>
        </p:nvGraphicFramePr>
        <p:xfrm>
          <a:off x="5958441" y="618989"/>
          <a:ext cx="1664752" cy="1388100"/>
        </p:xfrm>
        <a:graphic>
          <a:graphicData uri="http://schemas.openxmlformats.org/drawingml/2006/chart">
            <c:chart xmlns:c="http://schemas.openxmlformats.org/drawingml/2006/chart" xmlns:r="http://schemas.openxmlformats.org/officeDocument/2006/relationships" r:id="rId5"/>
          </a:graphicData>
        </a:graphic>
      </p:graphicFrame>
      <p:sp>
        <p:nvSpPr>
          <p:cNvPr id="99" name="Oval 98">
            <a:extLst>
              <a:ext uri="{FF2B5EF4-FFF2-40B4-BE49-F238E27FC236}">
                <a16:creationId xmlns:a16="http://schemas.microsoft.com/office/drawing/2014/main" id="{77D79D79-A039-4CEF-9DAC-8F54A3CCF24C}"/>
              </a:ext>
            </a:extLst>
          </p:cNvPr>
          <p:cNvSpPr/>
          <p:nvPr/>
        </p:nvSpPr>
        <p:spPr>
          <a:xfrm>
            <a:off x="6360011" y="882232"/>
            <a:ext cx="861613" cy="86161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TextBox 99">
            <a:extLst>
              <a:ext uri="{FF2B5EF4-FFF2-40B4-BE49-F238E27FC236}">
                <a16:creationId xmlns:a16="http://schemas.microsoft.com/office/drawing/2014/main" id="{F525AE7A-A937-40CC-A189-368752956D2F}"/>
              </a:ext>
            </a:extLst>
          </p:cNvPr>
          <p:cNvSpPr txBox="1"/>
          <p:nvPr/>
        </p:nvSpPr>
        <p:spPr>
          <a:xfrm>
            <a:off x="6447409" y="1159151"/>
            <a:ext cx="686816" cy="307777"/>
          </a:xfrm>
          <a:prstGeom prst="rect">
            <a:avLst/>
          </a:prstGeom>
          <a:noFill/>
          <a:ln w="6350">
            <a:noFill/>
            <a:prstDash val="dash"/>
          </a:ln>
        </p:spPr>
        <p:txBody>
          <a:bodyPr wrap="square" lIns="0" tIns="0" rIns="0" bIns="0" rtlCol="0" anchor="ctr">
            <a:spAutoFit/>
          </a:bodyPr>
          <a:lstStyle/>
          <a:p>
            <a:pPr algn="ctr"/>
            <a:r>
              <a:rPr lang="en-US" sz="2000" b="1" dirty="0">
                <a:solidFill>
                  <a:schemeClr val="accent1">
                    <a:lumMod val="90000"/>
                  </a:schemeClr>
                </a:solidFill>
              </a:rPr>
              <a:t>57,8%</a:t>
            </a:r>
          </a:p>
        </p:txBody>
      </p:sp>
      <p:cxnSp>
        <p:nvCxnSpPr>
          <p:cNvPr id="111" name="Straight Connector 110">
            <a:extLst>
              <a:ext uri="{FF2B5EF4-FFF2-40B4-BE49-F238E27FC236}">
                <a16:creationId xmlns:a16="http://schemas.microsoft.com/office/drawing/2014/main" id="{7189A94C-8699-4CA0-A2B5-4377566E2EF8}"/>
              </a:ext>
            </a:extLst>
          </p:cNvPr>
          <p:cNvCxnSpPr/>
          <p:nvPr/>
        </p:nvCxnSpPr>
        <p:spPr>
          <a:xfrm>
            <a:off x="6360011" y="2018360"/>
            <a:ext cx="491245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575CD53-6108-481A-A31F-305A2B59F755}"/>
              </a:ext>
            </a:extLst>
          </p:cNvPr>
          <p:cNvSpPr txBox="1"/>
          <p:nvPr/>
        </p:nvSpPr>
        <p:spPr>
          <a:xfrm>
            <a:off x="779478" y="3366141"/>
            <a:ext cx="4931202" cy="492443"/>
          </a:xfrm>
          <a:prstGeom prst="rect">
            <a:avLst/>
          </a:prstGeom>
          <a:noFill/>
        </p:spPr>
        <p:txBody>
          <a:bodyPr wrap="square" lIns="0" tIns="0" rIns="0" bIns="0" rtlCol="0" anchor="t">
            <a:spAutoFit/>
          </a:bodyPr>
          <a:lstStyle/>
          <a:p>
            <a:r>
              <a:rPr lang="en-US" sz="3200" dirty="0">
                <a:latin typeface="+mj-lt"/>
              </a:rPr>
              <a:t>CSR ACTIVITIES IN DETAIL</a:t>
            </a:r>
          </a:p>
        </p:txBody>
      </p:sp>
      <p:sp>
        <p:nvSpPr>
          <p:cNvPr id="11" name="Rectangle 10">
            <a:extLst>
              <a:ext uri="{FF2B5EF4-FFF2-40B4-BE49-F238E27FC236}">
                <a16:creationId xmlns:a16="http://schemas.microsoft.com/office/drawing/2014/main" id="{177EB124-CE7C-4645-B84D-B125C8F3F54C}"/>
              </a:ext>
            </a:extLst>
          </p:cNvPr>
          <p:cNvSpPr/>
          <p:nvPr/>
        </p:nvSpPr>
        <p:spPr>
          <a:xfrm>
            <a:off x="779478" y="3984846"/>
            <a:ext cx="4912459" cy="1723549"/>
          </a:xfrm>
          <a:prstGeom prst="rect">
            <a:avLst/>
          </a:prstGeom>
        </p:spPr>
        <p:txBody>
          <a:bodyPr wrap="square" lIns="0" tIns="0" rIns="0" bIns="0">
            <a:spAutoFit/>
          </a:bodyPr>
          <a:lstStyle/>
          <a:p>
            <a:r>
              <a:rPr lang="en-US" sz="1600" dirty="0">
                <a:solidFill>
                  <a:srgbClr val="000000"/>
                </a:solidFill>
              </a:rPr>
              <a:t>To combine our passion for giving back and a social activity, we did a week-long </a:t>
            </a:r>
            <a:r>
              <a:rPr lang="en-US" sz="1600" b="1" dirty="0">
                <a:solidFill>
                  <a:srgbClr val="000000"/>
                </a:solidFill>
              </a:rPr>
              <a:t>global challenge </a:t>
            </a:r>
            <a:r>
              <a:rPr lang="en-US" sz="1600" dirty="0">
                <a:solidFill>
                  <a:srgbClr val="000000"/>
                </a:solidFill>
              </a:rPr>
              <a:t>in September. We encouraged our colleagues to get together (virtually) and complete 60kms in just 7 days. And for every employee who joined the challenge, 24Slides would donate emergency food packages to a primary school for impoverished girls in Peru.</a:t>
            </a:r>
          </a:p>
        </p:txBody>
      </p:sp>
      <p:grpSp>
        <p:nvGrpSpPr>
          <p:cNvPr id="12" name="Group 11">
            <a:extLst>
              <a:ext uri="{FF2B5EF4-FFF2-40B4-BE49-F238E27FC236}">
                <a16:creationId xmlns:a16="http://schemas.microsoft.com/office/drawing/2014/main" id="{575326F3-7210-4070-8501-BDFE478314E2}"/>
              </a:ext>
            </a:extLst>
          </p:cNvPr>
          <p:cNvGrpSpPr/>
          <p:nvPr/>
        </p:nvGrpSpPr>
        <p:grpSpPr>
          <a:xfrm>
            <a:off x="779478" y="1149606"/>
            <a:ext cx="2886583" cy="2151828"/>
            <a:chOff x="694817" y="1114149"/>
            <a:chExt cx="2886583" cy="2151828"/>
          </a:xfrm>
        </p:grpSpPr>
        <p:pic>
          <p:nvPicPr>
            <p:cNvPr id="121" name="Picture 120">
              <a:extLst>
                <a:ext uri="{FF2B5EF4-FFF2-40B4-BE49-F238E27FC236}">
                  <a16:creationId xmlns:a16="http://schemas.microsoft.com/office/drawing/2014/main" id="{B535FBE3-3CEA-48E1-9A73-21021F8C8D4A}"/>
                </a:ext>
              </a:extLst>
            </p:cNvPr>
            <p:cNvPicPr>
              <a:picLocks noChangeAspect="1"/>
            </p:cNvPicPr>
            <p:nvPr/>
          </p:nvPicPr>
          <p:blipFill>
            <a:blip r:embed="rId6" cstate="screen">
              <a:extLst>
                <a:ext uri="{28A0092B-C50C-407E-A947-70E740481C1C}">
                  <a14:useLocalDpi xmlns:a14="http://schemas.microsoft.com/office/drawing/2010/main"/>
                </a:ext>
              </a:extLst>
            </a:blip>
            <a:srcRect l="11189" t="2494" r="38510" b="4521"/>
            <a:stretch>
              <a:fillRect/>
            </a:stretch>
          </p:blipFill>
          <p:spPr>
            <a:xfrm>
              <a:off x="694817" y="1114149"/>
              <a:ext cx="1991395" cy="1991395"/>
            </a:xfrm>
            <a:custGeom>
              <a:avLst/>
              <a:gdLst>
                <a:gd name="connsiteX0" fmla="*/ 2165350 w 4330700"/>
                <a:gd name="connsiteY0" fmla="*/ 0 h 4330700"/>
                <a:gd name="connsiteX1" fmla="*/ 4330700 w 4330700"/>
                <a:gd name="connsiteY1" fmla="*/ 2165350 h 4330700"/>
                <a:gd name="connsiteX2" fmla="*/ 2165350 w 4330700"/>
                <a:gd name="connsiteY2" fmla="*/ 4330700 h 4330700"/>
                <a:gd name="connsiteX3" fmla="*/ 0 w 4330700"/>
                <a:gd name="connsiteY3" fmla="*/ 2165350 h 4330700"/>
              </a:gdLst>
              <a:ahLst/>
              <a:cxnLst>
                <a:cxn ang="0">
                  <a:pos x="connsiteX0" y="connsiteY0"/>
                </a:cxn>
                <a:cxn ang="0">
                  <a:pos x="connsiteX1" y="connsiteY1"/>
                </a:cxn>
                <a:cxn ang="0">
                  <a:pos x="connsiteX2" y="connsiteY2"/>
                </a:cxn>
                <a:cxn ang="0">
                  <a:pos x="connsiteX3" y="connsiteY3"/>
                </a:cxn>
              </a:cxnLst>
              <a:rect l="l" t="t" r="r" b="b"/>
              <a:pathLst>
                <a:path w="4330700" h="4330700">
                  <a:moveTo>
                    <a:pt x="2165350" y="0"/>
                  </a:moveTo>
                  <a:lnTo>
                    <a:pt x="4330700" y="2165350"/>
                  </a:lnTo>
                  <a:lnTo>
                    <a:pt x="2165350" y="4330700"/>
                  </a:lnTo>
                  <a:lnTo>
                    <a:pt x="0" y="2165350"/>
                  </a:lnTo>
                  <a:close/>
                </a:path>
              </a:pathLst>
            </a:custGeom>
          </p:spPr>
        </p:pic>
        <p:pic>
          <p:nvPicPr>
            <p:cNvPr id="123" name="Picture 122">
              <a:extLst>
                <a:ext uri="{FF2B5EF4-FFF2-40B4-BE49-F238E27FC236}">
                  <a16:creationId xmlns:a16="http://schemas.microsoft.com/office/drawing/2014/main" id="{AFA2DF01-8A41-421C-A104-B7A68F2371B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4518" t="2494" r="15181" b="4521"/>
            <a:stretch/>
          </p:blipFill>
          <p:spPr>
            <a:xfrm>
              <a:off x="1590005" y="1114149"/>
              <a:ext cx="1991395" cy="1991395"/>
            </a:xfrm>
            <a:custGeom>
              <a:avLst/>
              <a:gdLst>
                <a:gd name="connsiteX0" fmla="*/ 2165350 w 4330700"/>
                <a:gd name="connsiteY0" fmla="*/ 0 h 4330700"/>
                <a:gd name="connsiteX1" fmla="*/ 4330700 w 4330700"/>
                <a:gd name="connsiteY1" fmla="*/ 2165350 h 4330700"/>
                <a:gd name="connsiteX2" fmla="*/ 2165350 w 4330700"/>
                <a:gd name="connsiteY2" fmla="*/ 4330700 h 4330700"/>
                <a:gd name="connsiteX3" fmla="*/ 0 w 4330700"/>
                <a:gd name="connsiteY3" fmla="*/ 2165350 h 4330700"/>
              </a:gdLst>
              <a:ahLst/>
              <a:cxnLst>
                <a:cxn ang="0">
                  <a:pos x="connsiteX0" y="connsiteY0"/>
                </a:cxn>
                <a:cxn ang="0">
                  <a:pos x="connsiteX1" y="connsiteY1"/>
                </a:cxn>
                <a:cxn ang="0">
                  <a:pos x="connsiteX2" y="connsiteY2"/>
                </a:cxn>
                <a:cxn ang="0">
                  <a:pos x="connsiteX3" y="connsiteY3"/>
                </a:cxn>
              </a:cxnLst>
              <a:rect l="l" t="t" r="r" b="b"/>
              <a:pathLst>
                <a:path w="4330700" h="4330700">
                  <a:moveTo>
                    <a:pt x="2165350" y="0"/>
                  </a:moveTo>
                  <a:lnTo>
                    <a:pt x="4330700" y="2165350"/>
                  </a:lnTo>
                  <a:lnTo>
                    <a:pt x="2165350" y="4330700"/>
                  </a:lnTo>
                  <a:lnTo>
                    <a:pt x="0" y="2165350"/>
                  </a:lnTo>
                  <a:close/>
                </a:path>
              </a:pathLst>
            </a:custGeom>
          </p:spPr>
        </p:pic>
        <p:sp>
          <p:nvSpPr>
            <p:cNvPr id="124" name="Diamond 123">
              <a:extLst>
                <a:ext uri="{FF2B5EF4-FFF2-40B4-BE49-F238E27FC236}">
                  <a16:creationId xmlns:a16="http://schemas.microsoft.com/office/drawing/2014/main" id="{F65DA0DE-E03D-4C8B-9954-A8D440E6DFFD}"/>
                </a:ext>
              </a:extLst>
            </p:cNvPr>
            <p:cNvSpPr/>
            <p:nvPr/>
          </p:nvSpPr>
          <p:spPr>
            <a:xfrm>
              <a:off x="1070238" y="1130237"/>
              <a:ext cx="2135740" cy="2135740"/>
            </a:xfrm>
            <a:prstGeom prst="diamond">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5" name="Freeform 3886">
            <a:extLst>
              <a:ext uri="{FF2B5EF4-FFF2-40B4-BE49-F238E27FC236}">
                <a16:creationId xmlns:a16="http://schemas.microsoft.com/office/drawing/2014/main" id="{2FA6C4BF-689E-4194-B64E-5F151EF1A5CF}"/>
              </a:ext>
            </a:extLst>
          </p:cNvPr>
          <p:cNvSpPr>
            <a:spLocks noEditPoints="1"/>
          </p:cNvSpPr>
          <p:nvPr/>
        </p:nvSpPr>
        <p:spPr bwMode="auto">
          <a:xfrm>
            <a:off x="1979627" y="1983722"/>
            <a:ext cx="486284" cy="483596"/>
          </a:xfrm>
          <a:custGeom>
            <a:avLst/>
            <a:gdLst>
              <a:gd name="T0" fmla="*/ 268 w 902"/>
              <a:gd name="T1" fmla="*/ 575 h 901"/>
              <a:gd name="T2" fmla="*/ 207 w 902"/>
              <a:gd name="T3" fmla="*/ 555 h 901"/>
              <a:gd name="T4" fmla="*/ 155 w 902"/>
              <a:gd name="T5" fmla="*/ 520 h 901"/>
              <a:gd name="T6" fmla="*/ 112 w 902"/>
              <a:gd name="T7" fmla="*/ 475 h 901"/>
              <a:gd name="T8" fmla="*/ 81 w 902"/>
              <a:gd name="T9" fmla="*/ 422 h 901"/>
              <a:gd name="T10" fmla="*/ 64 w 902"/>
              <a:gd name="T11" fmla="*/ 360 h 901"/>
              <a:gd name="T12" fmla="*/ 61 w 902"/>
              <a:gd name="T13" fmla="*/ 294 h 901"/>
              <a:gd name="T14" fmla="*/ 76 w 902"/>
              <a:gd name="T15" fmla="*/ 231 h 901"/>
              <a:gd name="T16" fmla="*/ 104 w 902"/>
              <a:gd name="T17" fmla="*/ 175 h 901"/>
              <a:gd name="T18" fmla="*/ 145 w 902"/>
              <a:gd name="T19" fmla="*/ 128 h 901"/>
              <a:gd name="T20" fmla="*/ 197 w 902"/>
              <a:gd name="T21" fmla="*/ 92 h 901"/>
              <a:gd name="T22" fmla="*/ 256 w 902"/>
              <a:gd name="T23" fmla="*/ 69 h 901"/>
              <a:gd name="T24" fmla="*/ 320 w 902"/>
              <a:gd name="T25" fmla="*/ 60 h 901"/>
              <a:gd name="T26" fmla="*/ 385 w 902"/>
              <a:gd name="T27" fmla="*/ 69 h 901"/>
              <a:gd name="T28" fmla="*/ 444 w 902"/>
              <a:gd name="T29" fmla="*/ 92 h 901"/>
              <a:gd name="T30" fmla="*/ 495 w 902"/>
              <a:gd name="T31" fmla="*/ 128 h 901"/>
              <a:gd name="T32" fmla="*/ 537 w 902"/>
              <a:gd name="T33" fmla="*/ 175 h 901"/>
              <a:gd name="T34" fmla="*/ 564 w 902"/>
              <a:gd name="T35" fmla="*/ 231 h 901"/>
              <a:gd name="T36" fmla="*/ 579 w 902"/>
              <a:gd name="T37" fmla="*/ 294 h 901"/>
              <a:gd name="T38" fmla="*/ 577 w 902"/>
              <a:gd name="T39" fmla="*/ 360 h 901"/>
              <a:gd name="T40" fmla="*/ 560 w 902"/>
              <a:gd name="T41" fmla="*/ 422 h 901"/>
              <a:gd name="T42" fmla="*/ 529 w 902"/>
              <a:gd name="T43" fmla="*/ 475 h 901"/>
              <a:gd name="T44" fmla="*/ 486 w 902"/>
              <a:gd name="T45" fmla="*/ 520 h 901"/>
              <a:gd name="T46" fmla="*/ 432 w 902"/>
              <a:gd name="T47" fmla="*/ 555 h 901"/>
              <a:gd name="T48" fmla="*/ 372 w 902"/>
              <a:gd name="T49" fmla="*/ 575 h 901"/>
              <a:gd name="T50" fmla="*/ 320 w 902"/>
              <a:gd name="T51" fmla="*/ 580 h 901"/>
              <a:gd name="T52" fmla="*/ 591 w 902"/>
              <a:gd name="T53" fmla="*/ 491 h 901"/>
              <a:gd name="T54" fmla="*/ 621 w 902"/>
              <a:gd name="T55" fmla="*/ 430 h 901"/>
              <a:gd name="T56" fmla="*/ 637 w 902"/>
              <a:gd name="T57" fmla="*/ 363 h 901"/>
              <a:gd name="T58" fmla="*/ 638 w 902"/>
              <a:gd name="T59" fmla="*/ 288 h 901"/>
              <a:gd name="T60" fmla="*/ 621 w 902"/>
              <a:gd name="T61" fmla="*/ 211 h 901"/>
              <a:gd name="T62" fmla="*/ 586 w 902"/>
              <a:gd name="T63" fmla="*/ 142 h 901"/>
              <a:gd name="T64" fmla="*/ 535 w 902"/>
              <a:gd name="T65" fmla="*/ 83 h 901"/>
              <a:gd name="T66" fmla="*/ 473 w 902"/>
              <a:gd name="T67" fmla="*/ 39 h 901"/>
              <a:gd name="T68" fmla="*/ 400 w 902"/>
              <a:gd name="T69" fmla="*/ 10 h 901"/>
              <a:gd name="T70" fmla="*/ 320 w 902"/>
              <a:gd name="T71" fmla="*/ 0 h 901"/>
              <a:gd name="T72" fmla="*/ 241 w 902"/>
              <a:gd name="T73" fmla="*/ 10 h 901"/>
              <a:gd name="T74" fmla="*/ 168 w 902"/>
              <a:gd name="T75" fmla="*/ 39 h 901"/>
              <a:gd name="T76" fmla="*/ 105 w 902"/>
              <a:gd name="T77" fmla="*/ 83 h 901"/>
              <a:gd name="T78" fmla="*/ 55 w 902"/>
              <a:gd name="T79" fmla="*/ 142 h 901"/>
              <a:gd name="T80" fmla="*/ 20 w 902"/>
              <a:gd name="T81" fmla="*/ 211 h 901"/>
              <a:gd name="T82" fmla="*/ 1 w 902"/>
              <a:gd name="T83" fmla="*/ 288 h 901"/>
              <a:gd name="T84" fmla="*/ 3 w 902"/>
              <a:gd name="T85" fmla="*/ 369 h 901"/>
              <a:gd name="T86" fmla="*/ 25 w 902"/>
              <a:gd name="T87" fmla="*/ 445 h 901"/>
              <a:gd name="T88" fmla="*/ 64 w 902"/>
              <a:gd name="T89" fmla="*/ 512 h 901"/>
              <a:gd name="T90" fmla="*/ 117 w 902"/>
              <a:gd name="T91" fmla="*/ 568 h 901"/>
              <a:gd name="T92" fmla="*/ 182 w 902"/>
              <a:gd name="T93" fmla="*/ 608 h 901"/>
              <a:gd name="T94" fmla="*/ 256 w 902"/>
              <a:gd name="T95" fmla="*/ 634 h 901"/>
              <a:gd name="T96" fmla="*/ 335 w 902"/>
              <a:gd name="T97" fmla="*/ 641 h 901"/>
              <a:gd name="T98" fmla="*/ 405 w 902"/>
              <a:gd name="T99" fmla="*/ 630 h 901"/>
              <a:gd name="T100" fmla="*/ 468 w 902"/>
              <a:gd name="T101" fmla="*/ 604 h 901"/>
              <a:gd name="T102" fmla="*/ 525 w 902"/>
              <a:gd name="T103" fmla="*/ 567 h 901"/>
              <a:gd name="T104" fmla="*/ 871 w 902"/>
              <a:gd name="T105" fmla="*/ 901 h 901"/>
              <a:gd name="T106" fmla="*/ 897 w 902"/>
              <a:gd name="T107" fmla="*/ 888 h 901"/>
              <a:gd name="T108" fmla="*/ 899 w 902"/>
              <a:gd name="T109" fmla="*/ 86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2" h="901">
                <a:moveTo>
                  <a:pt x="320" y="580"/>
                </a:moveTo>
                <a:lnTo>
                  <a:pt x="307" y="580"/>
                </a:lnTo>
                <a:lnTo>
                  <a:pt x="294" y="579"/>
                </a:lnTo>
                <a:lnTo>
                  <a:pt x="281" y="577"/>
                </a:lnTo>
                <a:lnTo>
                  <a:pt x="268" y="575"/>
                </a:lnTo>
                <a:lnTo>
                  <a:pt x="256" y="572"/>
                </a:lnTo>
                <a:lnTo>
                  <a:pt x="243" y="569"/>
                </a:lnTo>
                <a:lnTo>
                  <a:pt x="231" y="564"/>
                </a:lnTo>
                <a:lnTo>
                  <a:pt x="219" y="560"/>
                </a:lnTo>
                <a:lnTo>
                  <a:pt x="207" y="555"/>
                </a:lnTo>
                <a:lnTo>
                  <a:pt x="197" y="549"/>
                </a:lnTo>
                <a:lnTo>
                  <a:pt x="186" y="543"/>
                </a:lnTo>
                <a:lnTo>
                  <a:pt x="175" y="535"/>
                </a:lnTo>
                <a:lnTo>
                  <a:pt x="164" y="529"/>
                </a:lnTo>
                <a:lnTo>
                  <a:pt x="155" y="520"/>
                </a:lnTo>
                <a:lnTo>
                  <a:pt x="145" y="513"/>
                </a:lnTo>
                <a:lnTo>
                  <a:pt x="136" y="504"/>
                </a:lnTo>
                <a:lnTo>
                  <a:pt x="128" y="495"/>
                </a:lnTo>
                <a:lnTo>
                  <a:pt x="119" y="486"/>
                </a:lnTo>
                <a:lnTo>
                  <a:pt x="112" y="475"/>
                </a:lnTo>
                <a:lnTo>
                  <a:pt x="104" y="466"/>
                </a:lnTo>
                <a:lnTo>
                  <a:pt x="98" y="455"/>
                </a:lnTo>
                <a:lnTo>
                  <a:pt x="91" y="444"/>
                </a:lnTo>
                <a:lnTo>
                  <a:pt x="86" y="432"/>
                </a:lnTo>
                <a:lnTo>
                  <a:pt x="81" y="422"/>
                </a:lnTo>
                <a:lnTo>
                  <a:pt x="76" y="410"/>
                </a:lnTo>
                <a:lnTo>
                  <a:pt x="72" y="397"/>
                </a:lnTo>
                <a:lnTo>
                  <a:pt x="69" y="385"/>
                </a:lnTo>
                <a:lnTo>
                  <a:pt x="66" y="372"/>
                </a:lnTo>
                <a:lnTo>
                  <a:pt x="64" y="360"/>
                </a:lnTo>
                <a:lnTo>
                  <a:pt x="61" y="347"/>
                </a:lnTo>
                <a:lnTo>
                  <a:pt x="60" y="334"/>
                </a:lnTo>
                <a:lnTo>
                  <a:pt x="60" y="320"/>
                </a:lnTo>
                <a:lnTo>
                  <a:pt x="60" y="307"/>
                </a:lnTo>
                <a:lnTo>
                  <a:pt x="61" y="294"/>
                </a:lnTo>
                <a:lnTo>
                  <a:pt x="64" y="281"/>
                </a:lnTo>
                <a:lnTo>
                  <a:pt x="66" y="268"/>
                </a:lnTo>
                <a:lnTo>
                  <a:pt x="69" y="256"/>
                </a:lnTo>
                <a:lnTo>
                  <a:pt x="72" y="243"/>
                </a:lnTo>
                <a:lnTo>
                  <a:pt x="76" y="231"/>
                </a:lnTo>
                <a:lnTo>
                  <a:pt x="81" y="219"/>
                </a:lnTo>
                <a:lnTo>
                  <a:pt x="86" y="207"/>
                </a:lnTo>
                <a:lnTo>
                  <a:pt x="91" y="197"/>
                </a:lnTo>
                <a:lnTo>
                  <a:pt x="98" y="186"/>
                </a:lnTo>
                <a:lnTo>
                  <a:pt x="104" y="175"/>
                </a:lnTo>
                <a:lnTo>
                  <a:pt x="112" y="164"/>
                </a:lnTo>
                <a:lnTo>
                  <a:pt x="119" y="155"/>
                </a:lnTo>
                <a:lnTo>
                  <a:pt x="128" y="145"/>
                </a:lnTo>
                <a:lnTo>
                  <a:pt x="136" y="137"/>
                </a:lnTo>
                <a:lnTo>
                  <a:pt x="145" y="128"/>
                </a:lnTo>
                <a:lnTo>
                  <a:pt x="155" y="119"/>
                </a:lnTo>
                <a:lnTo>
                  <a:pt x="164" y="112"/>
                </a:lnTo>
                <a:lnTo>
                  <a:pt x="175" y="104"/>
                </a:lnTo>
                <a:lnTo>
                  <a:pt x="186" y="98"/>
                </a:lnTo>
                <a:lnTo>
                  <a:pt x="197" y="92"/>
                </a:lnTo>
                <a:lnTo>
                  <a:pt x="207" y="86"/>
                </a:lnTo>
                <a:lnTo>
                  <a:pt x="219" y="81"/>
                </a:lnTo>
                <a:lnTo>
                  <a:pt x="231" y="77"/>
                </a:lnTo>
                <a:lnTo>
                  <a:pt x="243" y="72"/>
                </a:lnTo>
                <a:lnTo>
                  <a:pt x="256" y="69"/>
                </a:lnTo>
                <a:lnTo>
                  <a:pt x="268" y="66"/>
                </a:lnTo>
                <a:lnTo>
                  <a:pt x="281" y="64"/>
                </a:lnTo>
                <a:lnTo>
                  <a:pt x="294" y="61"/>
                </a:lnTo>
                <a:lnTo>
                  <a:pt x="307" y="60"/>
                </a:lnTo>
                <a:lnTo>
                  <a:pt x="320" y="60"/>
                </a:lnTo>
                <a:lnTo>
                  <a:pt x="334" y="60"/>
                </a:lnTo>
                <a:lnTo>
                  <a:pt x="347" y="61"/>
                </a:lnTo>
                <a:lnTo>
                  <a:pt x="360" y="64"/>
                </a:lnTo>
                <a:lnTo>
                  <a:pt x="372" y="66"/>
                </a:lnTo>
                <a:lnTo>
                  <a:pt x="385" y="69"/>
                </a:lnTo>
                <a:lnTo>
                  <a:pt x="397" y="72"/>
                </a:lnTo>
                <a:lnTo>
                  <a:pt x="410" y="77"/>
                </a:lnTo>
                <a:lnTo>
                  <a:pt x="422" y="81"/>
                </a:lnTo>
                <a:lnTo>
                  <a:pt x="432" y="86"/>
                </a:lnTo>
                <a:lnTo>
                  <a:pt x="444" y="92"/>
                </a:lnTo>
                <a:lnTo>
                  <a:pt x="455" y="98"/>
                </a:lnTo>
                <a:lnTo>
                  <a:pt x="466" y="104"/>
                </a:lnTo>
                <a:lnTo>
                  <a:pt x="475" y="112"/>
                </a:lnTo>
                <a:lnTo>
                  <a:pt x="486" y="119"/>
                </a:lnTo>
                <a:lnTo>
                  <a:pt x="495" y="128"/>
                </a:lnTo>
                <a:lnTo>
                  <a:pt x="504" y="137"/>
                </a:lnTo>
                <a:lnTo>
                  <a:pt x="513" y="145"/>
                </a:lnTo>
                <a:lnTo>
                  <a:pt x="522" y="155"/>
                </a:lnTo>
                <a:lnTo>
                  <a:pt x="529" y="164"/>
                </a:lnTo>
                <a:lnTo>
                  <a:pt x="537" y="175"/>
                </a:lnTo>
                <a:lnTo>
                  <a:pt x="543" y="186"/>
                </a:lnTo>
                <a:lnTo>
                  <a:pt x="549" y="197"/>
                </a:lnTo>
                <a:lnTo>
                  <a:pt x="555" y="207"/>
                </a:lnTo>
                <a:lnTo>
                  <a:pt x="560" y="219"/>
                </a:lnTo>
                <a:lnTo>
                  <a:pt x="564" y="231"/>
                </a:lnTo>
                <a:lnTo>
                  <a:pt x="569" y="243"/>
                </a:lnTo>
                <a:lnTo>
                  <a:pt x="572" y="256"/>
                </a:lnTo>
                <a:lnTo>
                  <a:pt x="575" y="268"/>
                </a:lnTo>
                <a:lnTo>
                  <a:pt x="577" y="281"/>
                </a:lnTo>
                <a:lnTo>
                  <a:pt x="579" y="294"/>
                </a:lnTo>
                <a:lnTo>
                  <a:pt x="580" y="307"/>
                </a:lnTo>
                <a:lnTo>
                  <a:pt x="580" y="320"/>
                </a:lnTo>
                <a:lnTo>
                  <a:pt x="580" y="334"/>
                </a:lnTo>
                <a:lnTo>
                  <a:pt x="579" y="347"/>
                </a:lnTo>
                <a:lnTo>
                  <a:pt x="577" y="360"/>
                </a:lnTo>
                <a:lnTo>
                  <a:pt x="575" y="372"/>
                </a:lnTo>
                <a:lnTo>
                  <a:pt x="572" y="385"/>
                </a:lnTo>
                <a:lnTo>
                  <a:pt x="569" y="397"/>
                </a:lnTo>
                <a:lnTo>
                  <a:pt x="564" y="410"/>
                </a:lnTo>
                <a:lnTo>
                  <a:pt x="560" y="422"/>
                </a:lnTo>
                <a:lnTo>
                  <a:pt x="555" y="432"/>
                </a:lnTo>
                <a:lnTo>
                  <a:pt x="549" y="444"/>
                </a:lnTo>
                <a:lnTo>
                  <a:pt x="543" y="455"/>
                </a:lnTo>
                <a:lnTo>
                  <a:pt x="537" y="466"/>
                </a:lnTo>
                <a:lnTo>
                  <a:pt x="529" y="475"/>
                </a:lnTo>
                <a:lnTo>
                  <a:pt x="522" y="486"/>
                </a:lnTo>
                <a:lnTo>
                  <a:pt x="513" y="495"/>
                </a:lnTo>
                <a:lnTo>
                  <a:pt x="504" y="504"/>
                </a:lnTo>
                <a:lnTo>
                  <a:pt x="495" y="513"/>
                </a:lnTo>
                <a:lnTo>
                  <a:pt x="486" y="520"/>
                </a:lnTo>
                <a:lnTo>
                  <a:pt x="475" y="529"/>
                </a:lnTo>
                <a:lnTo>
                  <a:pt x="466" y="535"/>
                </a:lnTo>
                <a:lnTo>
                  <a:pt x="455" y="543"/>
                </a:lnTo>
                <a:lnTo>
                  <a:pt x="444" y="549"/>
                </a:lnTo>
                <a:lnTo>
                  <a:pt x="432" y="555"/>
                </a:lnTo>
                <a:lnTo>
                  <a:pt x="422" y="560"/>
                </a:lnTo>
                <a:lnTo>
                  <a:pt x="410" y="564"/>
                </a:lnTo>
                <a:lnTo>
                  <a:pt x="397" y="569"/>
                </a:lnTo>
                <a:lnTo>
                  <a:pt x="385" y="572"/>
                </a:lnTo>
                <a:lnTo>
                  <a:pt x="372" y="575"/>
                </a:lnTo>
                <a:lnTo>
                  <a:pt x="360" y="577"/>
                </a:lnTo>
                <a:lnTo>
                  <a:pt x="347" y="579"/>
                </a:lnTo>
                <a:lnTo>
                  <a:pt x="334" y="580"/>
                </a:lnTo>
                <a:lnTo>
                  <a:pt x="320" y="580"/>
                </a:lnTo>
                <a:lnTo>
                  <a:pt x="320" y="580"/>
                </a:lnTo>
                <a:close/>
                <a:moveTo>
                  <a:pt x="893" y="851"/>
                </a:moveTo>
                <a:lnTo>
                  <a:pt x="567" y="525"/>
                </a:lnTo>
                <a:lnTo>
                  <a:pt x="575" y="514"/>
                </a:lnTo>
                <a:lnTo>
                  <a:pt x="584" y="503"/>
                </a:lnTo>
                <a:lnTo>
                  <a:pt x="591" y="491"/>
                </a:lnTo>
                <a:lnTo>
                  <a:pt x="598" y="480"/>
                </a:lnTo>
                <a:lnTo>
                  <a:pt x="604" y="468"/>
                </a:lnTo>
                <a:lnTo>
                  <a:pt x="611" y="456"/>
                </a:lnTo>
                <a:lnTo>
                  <a:pt x="616" y="443"/>
                </a:lnTo>
                <a:lnTo>
                  <a:pt x="621" y="430"/>
                </a:lnTo>
                <a:lnTo>
                  <a:pt x="626" y="417"/>
                </a:lnTo>
                <a:lnTo>
                  <a:pt x="630" y="405"/>
                </a:lnTo>
                <a:lnTo>
                  <a:pt x="633" y="391"/>
                </a:lnTo>
                <a:lnTo>
                  <a:pt x="635" y="377"/>
                </a:lnTo>
                <a:lnTo>
                  <a:pt x="637" y="363"/>
                </a:lnTo>
                <a:lnTo>
                  <a:pt x="639" y="349"/>
                </a:lnTo>
                <a:lnTo>
                  <a:pt x="641" y="335"/>
                </a:lnTo>
                <a:lnTo>
                  <a:pt x="641" y="320"/>
                </a:lnTo>
                <a:lnTo>
                  <a:pt x="641" y="304"/>
                </a:lnTo>
                <a:lnTo>
                  <a:pt x="638" y="288"/>
                </a:lnTo>
                <a:lnTo>
                  <a:pt x="637" y="272"/>
                </a:lnTo>
                <a:lnTo>
                  <a:pt x="634" y="256"/>
                </a:lnTo>
                <a:lnTo>
                  <a:pt x="631" y="241"/>
                </a:lnTo>
                <a:lnTo>
                  <a:pt x="627" y="226"/>
                </a:lnTo>
                <a:lnTo>
                  <a:pt x="621" y="211"/>
                </a:lnTo>
                <a:lnTo>
                  <a:pt x="616" y="196"/>
                </a:lnTo>
                <a:lnTo>
                  <a:pt x="609" y="182"/>
                </a:lnTo>
                <a:lnTo>
                  <a:pt x="602" y="168"/>
                </a:lnTo>
                <a:lnTo>
                  <a:pt x="594" y="155"/>
                </a:lnTo>
                <a:lnTo>
                  <a:pt x="586" y="142"/>
                </a:lnTo>
                <a:lnTo>
                  <a:pt x="577" y="129"/>
                </a:lnTo>
                <a:lnTo>
                  <a:pt x="568" y="117"/>
                </a:lnTo>
                <a:lnTo>
                  <a:pt x="557" y="105"/>
                </a:lnTo>
                <a:lnTo>
                  <a:pt x="546" y="94"/>
                </a:lnTo>
                <a:lnTo>
                  <a:pt x="535" y="83"/>
                </a:lnTo>
                <a:lnTo>
                  <a:pt x="524" y="73"/>
                </a:lnTo>
                <a:lnTo>
                  <a:pt x="512" y="64"/>
                </a:lnTo>
                <a:lnTo>
                  <a:pt x="499" y="55"/>
                </a:lnTo>
                <a:lnTo>
                  <a:pt x="486" y="46"/>
                </a:lnTo>
                <a:lnTo>
                  <a:pt x="473" y="39"/>
                </a:lnTo>
                <a:lnTo>
                  <a:pt x="459" y="31"/>
                </a:lnTo>
                <a:lnTo>
                  <a:pt x="445" y="25"/>
                </a:lnTo>
                <a:lnTo>
                  <a:pt x="430" y="20"/>
                </a:lnTo>
                <a:lnTo>
                  <a:pt x="415" y="14"/>
                </a:lnTo>
                <a:lnTo>
                  <a:pt x="400" y="10"/>
                </a:lnTo>
                <a:lnTo>
                  <a:pt x="385" y="7"/>
                </a:lnTo>
                <a:lnTo>
                  <a:pt x="369" y="4"/>
                </a:lnTo>
                <a:lnTo>
                  <a:pt x="353" y="1"/>
                </a:lnTo>
                <a:lnTo>
                  <a:pt x="337" y="0"/>
                </a:lnTo>
                <a:lnTo>
                  <a:pt x="320" y="0"/>
                </a:lnTo>
                <a:lnTo>
                  <a:pt x="304" y="0"/>
                </a:lnTo>
                <a:lnTo>
                  <a:pt x="288" y="1"/>
                </a:lnTo>
                <a:lnTo>
                  <a:pt x="272" y="4"/>
                </a:lnTo>
                <a:lnTo>
                  <a:pt x="256" y="7"/>
                </a:lnTo>
                <a:lnTo>
                  <a:pt x="241" y="10"/>
                </a:lnTo>
                <a:lnTo>
                  <a:pt x="225" y="14"/>
                </a:lnTo>
                <a:lnTo>
                  <a:pt x="210" y="20"/>
                </a:lnTo>
                <a:lnTo>
                  <a:pt x="195" y="25"/>
                </a:lnTo>
                <a:lnTo>
                  <a:pt x="182" y="31"/>
                </a:lnTo>
                <a:lnTo>
                  <a:pt x="168" y="39"/>
                </a:lnTo>
                <a:lnTo>
                  <a:pt x="155" y="46"/>
                </a:lnTo>
                <a:lnTo>
                  <a:pt x="142" y="55"/>
                </a:lnTo>
                <a:lnTo>
                  <a:pt x="129" y="64"/>
                </a:lnTo>
                <a:lnTo>
                  <a:pt x="117" y="73"/>
                </a:lnTo>
                <a:lnTo>
                  <a:pt x="105" y="83"/>
                </a:lnTo>
                <a:lnTo>
                  <a:pt x="94" y="94"/>
                </a:lnTo>
                <a:lnTo>
                  <a:pt x="84" y="105"/>
                </a:lnTo>
                <a:lnTo>
                  <a:pt x="73" y="117"/>
                </a:lnTo>
                <a:lnTo>
                  <a:pt x="64" y="129"/>
                </a:lnTo>
                <a:lnTo>
                  <a:pt x="55" y="142"/>
                </a:lnTo>
                <a:lnTo>
                  <a:pt x="46" y="155"/>
                </a:lnTo>
                <a:lnTo>
                  <a:pt x="39" y="168"/>
                </a:lnTo>
                <a:lnTo>
                  <a:pt x="31" y="182"/>
                </a:lnTo>
                <a:lnTo>
                  <a:pt x="25" y="196"/>
                </a:lnTo>
                <a:lnTo>
                  <a:pt x="20" y="211"/>
                </a:lnTo>
                <a:lnTo>
                  <a:pt x="14" y="226"/>
                </a:lnTo>
                <a:lnTo>
                  <a:pt x="10" y="241"/>
                </a:lnTo>
                <a:lnTo>
                  <a:pt x="7" y="256"/>
                </a:lnTo>
                <a:lnTo>
                  <a:pt x="3" y="272"/>
                </a:lnTo>
                <a:lnTo>
                  <a:pt x="1" y="288"/>
                </a:lnTo>
                <a:lnTo>
                  <a:pt x="0" y="304"/>
                </a:lnTo>
                <a:lnTo>
                  <a:pt x="0" y="320"/>
                </a:lnTo>
                <a:lnTo>
                  <a:pt x="0" y="337"/>
                </a:lnTo>
                <a:lnTo>
                  <a:pt x="1" y="353"/>
                </a:lnTo>
                <a:lnTo>
                  <a:pt x="3" y="369"/>
                </a:lnTo>
                <a:lnTo>
                  <a:pt x="7" y="385"/>
                </a:lnTo>
                <a:lnTo>
                  <a:pt x="10" y="400"/>
                </a:lnTo>
                <a:lnTo>
                  <a:pt x="14" y="415"/>
                </a:lnTo>
                <a:lnTo>
                  <a:pt x="20" y="430"/>
                </a:lnTo>
                <a:lnTo>
                  <a:pt x="25" y="445"/>
                </a:lnTo>
                <a:lnTo>
                  <a:pt x="31" y="459"/>
                </a:lnTo>
                <a:lnTo>
                  <a:pt x="39" y="473"/>
                </a:lnTo>
                <a:lnTo>
                  <a:pt x="46" y="486"/>
                </a:lnTo>
                <a:lnTo>
                  <a:pt x="55" y="499"/>
                </a:lnTo>
                <a:lnTo>
                  <a:pt x="64" y="512"/>
                </a:lnTo>
                <a:lnTo>
                  <a:pt x="73" y="524"/>
                </a:lnTo>
                <a:lnTo>
                  <a:pt x="84" y="535"/>
                </a:lnTo>
                <a:lnTo>
                  <a:pt x="94" y="546"/>
                </a:lnTo>
                <a:lnTo>
                  <a:pt x="105" y="557"/>
                </a:lnTo>
                <a:lnTo>
                  <a:pt x="117" y="568"/>
                </a:lnTo>
                <a:lnTo>
                  <a:pt x="129" y="577"/>
                </a:lnTo>
                <a:lnTo>
                  <a:pt x="142" y="586"/>
                </a:lnTo>
                <a:lnTo>
                  <a:pt x="155" y="594"/>
                </a:lnTo>
                <a:lnTo>
                  <a:pt x="168" y="602"/>
                </a:lnTo>
                <a:lnTo>
                  <a:pt x="182" y="608"/>
                </a:lnTo>
                <a:lnTo>
                  <a:pt x="195" y="615"/>
                </a:lnTo>
                <a:lnTo>
                  <a:pt x="210" y="621"/>
                </a:lnTo>
                <a:lnTo>
                  <a:pt x="225" y="627"/>
                </a:lnTo>
                <a:lnTo>
                  <a:pt x="241" y="631"/>
                </a:lnTo>
                <a:lnTo>
                  <a:pt x="256" y="634"/>
                </a:lnTo>
                <a:lnTo>
                  <a:pt x="272" y="637"/>
                </a:lnTo>
                <a:lnTo>
                  <a:pt x="288" y="638"/>
                </a:lnTo>
                <a:lnTo>
                  <a:pt x="304" y="641"/>
                </a:lnTo>
                <a:lnTo>
                  <a:pt x="320" y="641"/>
                </a:lnTo>
                <a:lnTo>
                  <a:pt x="335" y="641"/>
                </a:lnTo>
                <a:lnTo>
                  <a:pt x="349" y="639"/>
                </a:lnTo>
                <a:lnTo>
                  <a:pt x="363" y="637"/>
                </a:lnTo>
                <a:lnTo>
                  <a:pt x="377" y="635"/>
                </a:lnTo>
                <a:lnTo>
                  <a:pt x="391" y="633"/>
                </a:lnTo>
                <a:lnTo>
                  <a:pt x="405" y="630"/>
                </a:lnTo>
                <a:lnTo>
                  <a:pt x="417" y="625"/>
                </a:lnTo>
                <a:lnTo>
                  <a:pt x="430" y="621"/>
                </a:lnTo>
                <a:lnTo>
                  <a:pt x="443" y="616"/>
                </a:lnTo>
                <a:lnTo>
                  <a:pt x="456" y="610"/>
                </a:lnTo>
                <a:lnTo>
                  <a:pt x="468" y="604"/>
                </a:lnTo>
                <a:lnTo>
                  <a:pt x="480" y="598"/>
                </a:lnTo>
                <a:lnTo>
                  <a:pt x="491" y="591"/>
                </a:lnTo>
                <a:lnTo>
                  <a:pt x="503" y="584"/>
                </a:lnTo>
                <a:lnTo>
                  <a:pt x="514" y="575"/>
                </a:lnTo>
                <a:lnTo>
                  <a:pt x="525" y="567"/>
                </a:lnTo>
                <a:lnTo>
                  <a:pt x="851" y="892"/>
                </a:lnTo>
                <a:lnTo>
                  <a:pt x="855" y="897"/>
                </a:lnTo>
                <a:lnTo>
                  <a:pt x="860" y="899"/>
                </a:lnTo>
                <a:lnTo>
                  <a:pt x="866" y="901"/>
                </a:lnTo>
                <a:lnTo>
                  <a:pt x="871" y="901"/>
                </a:lnTo>
                <a:lnTo>
                  <a:pt x="878" y="901"/>
                </a:lnTo>
                <a:lnTo>
                  <a:pt x="883" y="899"/>
                </a:lnTo>
                <a:lnTo>
                  <a:pt x="888" y="897"/>
                </a:lnTo>
                <a:lnTo>
                  <a:pt x="893" y="892"/>
                </a:lnTo>
                <a:lnTo>
                  <a:pt x="897" y="888"/>
                </a:lnTo>
                <a:lnTo>
                  <a:pt x="899" y="883"/>
                </a:lnTo>
                <a:lnTo>
                  <a:pt x="901" y="877"/>
                </a:lnTo>
                <a:lnTo>
                  <a:pt x="902" y="871"/>
                </a:lnTo>
                <a:lnTo>
                  <a:pt x="901" y="866"/>
                </a:lnTo>
                <a:lnTo>
                  <a:pt x="899" y="860"/>
                </a:lnTo>
                <a:lnTo>
                  <a:pt x="897" y="855"/>
                </a:lnTo>
                <a:lnTo>
                  <a:pt x="893" y="8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 name="Group 39">
            <a:extLst>
              <a:ext uri="{FF2B5EF4-FFF2-40B4-BE49-F238E27FC236}">
                <a16:creationId xmlns:a16="http://schemas.microsoft.com/office/drawing/2014/main" id="{5B9474A7-132C-44FA-952A-456E53ABFFAB}"/>
              </a:ext>
            </a:extLst>
          </p:cNvPr>
          <p:cNvGrpSpPr/>
          <p:nvPr/>
        </p:nvGrpSpPr>
        <p:grpSpPr>
          <a:xfrm>
            <a:off x="6574817" y="2507680"/>
            <a:ext cx="432000" cy="432000"/>
            <a:chOff x="9161463" y="1393825"/>
            <a:chExt cx="346075" cy="360363"/>
          </a:xfrm>
          <a:solidFill>
            <a:srgbClr val="72BFC5"/>
          </a:solidFill>
        </p:grpSpPr>
        <p:sp>
          <p:nvSpPr>
            <p:cNvPr id="41" name="Freeform 120">
              <a:extLst>
                <a:ext uri="{FF2B5EF4-FFF2-40B4-BE49-F238E27FC236}">
                  <a16:creationId xmlns:a16="http://schemas.microsoft.com/office/drawing/2014/main" id="{AF939336-8487-47A9-8DD7-2BAE892A056D}"/>
                </a:ext>
              </a:extLst>
            </p:cNvPr>
            <p:cNvSpPr>
              <a:spLocks noEditPoints="1"/>
            </p:cNvSpPr>
            <p:nvPr/>
          </p:nvSpPr>
          <p:spPr bwMode="auto">
            <a:xfrm>
              <a:off x="9161463" y="1393825"/>
              <a:ext cx="346075" cy="360363"/>
            </a:xfrm>
            <a:custGeom>
              <a:avLst/>
              <a:gdLst>
                <a:gd name="T0" fmla="*/ 92 w 92"/>
                <a:gd name="T1" fmla="*/ 93 h 96"/>
                <a:gd name="T2" fmla="*/ 80 w 92"/>
                <a:gd name="T3" fmla="*/ 53 h 96"/>
                <a:gd name="T4" fmla="*/ 67 w 92"/>
                <a:gd name="T5" fmla="*/ 70 h 96"/>
                <a:gd name="T6" fmla="*/ 62 w 92"/>
                <a:gd name="T7" fmla="*/ 72 h 96"/>
                <a:gd name="T8" fmla="*/ 58 w 92"/>
                <a:gd name="T9" fmla="*/ 70 h 96"/>
                <a:gd name="T10" fmla="*/ 36 w 92"/>
                <a:gd name="T11" fmla="*/ 30 h 96"/>
                <a:gd name="T12" fmla="*/ 62 w 92"/>
                <a:gd name="T13" fmla="*/ 4 h 96"/>
                <a:gd name="T14" fmla="*/ 65 w 92"/>
                <a:gd name="T15" fmla="*/ 4 h 96"/>
                <a:gd name="T16" fmla="*/ 64 w 92"/>
                <a:gd name="T17" fmla="*/ 1 h 96"/>
                <a:gd name="T18" fmla="*/ 62 w 92"/>
                <a:gd name="T19" fmla="*/ 0 h 96"/>
                <a:gd name="T20" fmla="*/ 48 w 92"/>
                <a:gd name="T21" fmla="*/ 0 h 96"/>
                <a:gd name="T22" fmla="*/ 48 w 92"/>
                <a:gd name="T23" fmla="*/ 4 h 96"/>
                <a:gd name="T24" fmla="*/ 46 w 92"/>
                <a:gd name="T25" fmla="*/ 6 h 96"/>
                <a:gd name="T26" fmla="*/ 44 w 92"/>
                <a:gd name="T27" fmla="*/ 4 h 96"/>
                <a:gd name="T28" fmla="*/ 44 w 92"/>
                <a:gd name="T29" fmla="*/ 0 h 96"/>
                <a:gd name="T30" fmla="*/ 30 w 92"/>
                <a:gd name="T31" fmla="*/ 0 h 96"/>
                <a:gd name="T32" fmla="*/ 28 w 92"/>
                <a:gd name="T33" fmla="*/ 1 h 96"/>
                <a:gd name="T34" fmla="*/ 0 w 92"/>
                <a:gd name="T35" fmla="*/ 93 h 96"/>
                <a:gd name="T36" fmla="*/ 0 w 92"/>
                <a:gd name="T37" fmla="*/ 95 h 96"/>
                <a:gd name="T38" fmla="*/ 2 w 92"/>
                <a:gd name="T39" fmla="*/ 96 h 96"/>
                <a:gd name="T40" fmla="*/ 44 w 92"/>
                <a:gd name="T41" fmla="*/ 96 h 96"/>
                <a:gd name="T42" fmla="*/ 44 w 92"/>
                <a:gd name="T43" fmla="*/ 84 h 96"/>
                <a:gd name="T44" fmla="*/ 46 w 92"/>
                <a:gd name="T45" fmla="*/ 82 h 96"/>
                <a:gd name="T46" fmla="*/ 48 w 92"/>
                <a:gd name="T47" fmla="*/ 84 h 96"/>
                <a:gd name="T48" fmla="*/ 48 w 92"/>
                <a:gd name="T49" fmla="*/ 96 h 96"/>
                <a:gd name="T50" fmla="*/ 90 w 92"/>
                <a:gd name="T51" fmla="*/ 96 h 96"/>
                <a:gd name="T52" fmla="*/ 92 w 92"/>
                <a:gd name="T53" fmla="*/ 95 h 96"/>
                <a:gd name="T54" fmla="*/ 92 w 92"/>
                <a:gd name="T55" fmla="*/ 93 h 96"/>
                <a:gd name="T56" fmla="*/ 48 w 92"/>
                <a:gd name="T57" fmla="*/ 72 h 96"/>
                <a:gd name="T58" fmla="*/ 46 w 92"/>
                <a:gd name="T59" fmla="*/ 74 h 96"/>
                <a:gd name="T60" fmla="*/ 44 w 92"/>
                <a:gd name="T61" fmla="*/ 72 h 96"/>
                <a:gd name="T62" fmla="*/ 44 w 92"/>
                <a:gd name="T63" fmla="*/ 64 h 96"/>
                <a:gd name="T64" fmla="*/ 46 w 92"/>
                <a:gd name="T65" fmla="*/ 62 h 96"/>
                <a:gd name="T66" fmla="*/ 48 w 92"/>
                <a:gd name="T67" fmla="*/ 64 h 96"/>
                <a:gd name="T68" fmla="*/ 48 w 92"/>
                <a:gd name="T6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 h="96">
                  <a:moveTo>
                    <a:pt x="92" y="93"/>
                  </a:moveTo>
                  <a:cubicBezTo>
                    <a:pt x="80" y="53"/>
                    <a:pt x="80" y="53"/>
                    <a:pt x="80" y="53"/>
                  </a:cubicBezTo>
                  <a:cubicBezTo>
                    <a:pt x="74" y="61"/>
                    <a:pt x="69" y="68"/>
                    <a:pt x="67" y="70"/>
                  </a:cubicBezTo>
                  <a:cubicBezTo>
                    <a:pt x="66" y="71"/>
                    <a:pt x="64" y="72"/>
                    <a:pt x="62" y="72"/>
                  </a:cubicBezTo>
                  <a:cubicBezTo>
                    <a:pt x="61" y="72"/>
                    <a:pt x="59" y="71"/>
                    <a:pt x="58" y="70"/>
                  </a:cubicBezTo>
                  <a:cubicBezTo>
                    <a:pt x="54" y="66"/>
                    <a:pt x="36" y="43"/>
                    <a:pt x="36" y="30"/>
                  </a:cubicBezTo>
                  <a:cubicBezTo>
                    <a:pt x="36" y="16"/>
                    <a:pt x="48" y="4"/>
                    <a:pt x="62" y="4"/>
                  </a:cubicBezTo>
                  <a:cubicBezTo>
                    <a:pt x="63" y="4"/>
                    <a:pt x="64" y="4"/>
                    <a:pt x="65" y="4"/>
                  </a:cubicBezTo>
                  <a:cubicBezTo>
                    <a:pt x="64" y="1"/>
                    <a:pt x="64" y="1"/>
                    <a:pt x="64" y="1"/>
                  </a:cubicBezTo>
                  <a:cubicBezTo>
                    <a:pt x="64" y="1"/>
                    <a:pt x="63" y="0"/>
                    <a:pt x="62" y="0"/>
                  </a:cubicBezTo>
                  <a:cubicBezTo>
                    <a:pt x="48" y="0"/>
                    <a:pt x="48" y="0"/>
                    <a:pt x="48" y="0"/>
                  </a:cubicBezTo>
                  <a:cubicBezTo>
                    <a:pt x="48" y="4"/>
                    <a:pt x="48" y="4"/>
                    <a:pt x="48" y="4"/>
                  </a:cubicBezTo>
                  <a:cubicBezTo>
                    <a:pt x="48" y="5"/>
                    <a:pt x="47" y="6"/>
                    <a:pt x="46" y="6"/>
                  </a:cubicBezTo>
                  <a:cubicBezTo>
                    <a:pt x="45" y="6"/>
                    <a:pt x="44" y="5"/>
                    <a:pt x="44" y="4"/>
                  </a:cubicBezTo>
                  <a:cubicBezTo>
                    <a:pt x="44" y="0"/>
                    <a:pt x="44" y="0"/>
                    <a:pt x="44" y="0"/>
                  </a:cubicBezTo>
                  <a:cubicBezTo>
                    <a:pt x="30" y="0"/>
                    <a:pt x="30" y="0"/>
                    <a:pt x="30" y="0"/>
                  </a:cubicBezTo>
                  <a:cubicBezTo>
                    <a:pt x="29" y="0"/>
                    <a:pt x="28" y="1"/>
                    <a:pt x="28" y="1"/>
                  </a:cubicBezTo>
                  <a:cubicBezTo>
                    <a:pt x="0" y="93"/>
                    <a:pt x="0" y="93"/>
                    <a:pt x="0" y="93"/>
                  </a:cubicBezTo>
                  <a:cubicBezTo>
                    <a:pt x="0" y="94"/>
                    <a:pt x="0" y="95"/>
                    <a:pt x="0" y="95"/>
                  </a:cubicBezTo>
                  <a:cubicBezTo>
                    <a:pt x="1" y="96"/>
                    <a:pt x="1" y="96"/>
                    <a:pt x="2" y="96"/>
                  </a:cubicBezTo>
                  <a:cubicBezTo>
                    <a:pt x="44" y="96"/>
                    <a:pt x="44" y="96"/>
                    <a:pt x="44" y="96"/>
                  </a:cubicBezTo>
                  <a:cubicBezTo>
                    <a:pt x="44" y="84"/>
                    <a:pt x="44" y="84"/>
                    <a:pt x="44" y="84"/>
                  </a:cubicBezTo>
                  <a:cubicBezTo>
                    <a:pt x="44" y="83"/>
                    <a:pt x="45" y="82"/>
                    <a:pt x="46" y="82"/>
                  </a:cubicBezTo>
                  <a:cubicBezTo>
                    <a:pt x="47" y="82"/>
                    <a:pt x="48" y="83"/>
                    <a:pt x="48" y="84"/>
                  </a:cubicBezTo>
                  <a:cubicBezTo>
                    <a:pt x="48" y="96"/>
                    <a:pt x="48" y="96"/>
                    <a:pt x="48" y="96"/>
                  </a:cubicBezTo>
                  <a:cubicBezTo>
                    <a:pt x="90" y="96"/>
                    <a:pt x="90" y="96"/>
                    <a:pt x="90" y="96"/>
                  </a:cubicBezTo>
                  <a:cubicBezTo>
                    <a:pt x="91" y="96"/>
                    <a:pt x="91" y="96"/>
                    <a:pt x="92" y="95"/>
                  </a:cubicBezTo>
                  <a:cubicBezTo>
                    <a:pt x="92" y="95"/>
                    <a:pt x="92" y="94"/>
                    <a:pt x="92" y="93"/>
                  </a:cubicBezTo>
                  <a:close/>
                  <a:moveTo>
                    <a:pt x="48" y="72"/>
                  </a:moveTo>
                  <a:cubicBezTo>
                    <a:pt x="48" y="73"/>
                    <a:pt x="47" y="74"/>
                    <a:pt x="46" y="74"/>
                  </a:cubicBezTo>
                  <a:cubicBezTo>
                    <a:pt x="45" y="74"/>
                    <a:pt x="44" y="73"/>
                    <a:pt x="44" y="72"/>
                  </a:cubicBezTo>
                  <a:cubicBezTo>
                    <a:pt x="44" y="64"/>
                    <a:pt x="44" y="64"/>
                    <a:pt x="44" y="64"/>
                  </a:cubicBezTo>
                  <a:cubicBezTo>
                    <a:pt x="44" y="63"/>
                    <a:pt x="45" y="62"/>
                    <a:pt x="46" y="62"/>
                  </a:cubicBezTo>
                  <a:cubicBezTo>
                    <a:pt x="47" y="62"/>
                    <a:pt x="48" y="63"/>
                    <a:pt x="48" y="64"/>
                  </a:cubicBezTo>
                  <a:lnTo>
                    <a:pt x="48"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250">
              <a:extLst>
                <a:ext uri="{FF2B5EF4-FFF2-40B4-BE49-F238E27FC236}">
                  <a16:creationId xmlns:a16="http://schemas.microsoft.com/office/drawing/2014/main" id="{93DD07AE-02EF-46C3-B042-F9F9A564C616}"/>
                </a:ext>
              </a:extLst>
            </p:cNvPr>
            <p:cNvSpPr>
              <a:spLocks noEditPoints="1"/>
            </p:cNvSpPr>
            <p:nvPr/>
          </p:nvSpPr>
          <p:spPr bwMode="auto">
            <a:xfrm>
              <a:off x="9312275" y="1423988"/>
              <a:ext cx="168275" cy="225425"/>
            </a:xfrm>
            <a:custGeom>
              <a:avLst/>
              <a:gdLst>
                <a:gd name="T0" fmla="*/ 22 w 45"/>
                <a:gd name="T1" fmla="*/ 0 h 60"/>
                <a:gd name="T2" fmla="*/ 0 w 45"/>
                <a:gd name="T3" fmla="*/ 22 h 60"/>
                <a:gd name="T4" fmla="*/ 21 w 45"/>
                <a:gd name="T5" fmla="*/ 59 h 60"/>
                <a:gd name="T6" fmla="*/ 22 w 45"/>
                <a:gd name="T7" fmla="*/ 60 h 60"/>
                <a:gd name="T8" fmla="*/ 24 w 45"/>
                <a:gd name="T9" fmla="*/ 59 h 60"/>
                <a:gd name="T10" fmla="*/ 45 w 45"/>
                <a:gd name="T11" fmla="*/ 22 h 60"/>
                <a:gd name="T12" fmla="*/ 22 w 45"/>
                <a:gd name="T13" fmla="*/ 0 h 60"/>
                <a:gd name="T14" fmla="*/ 22 w 45"/>
                <a:gd name="T15" fmla="*/ 32 h 60"/>
                <a:gd name="T16" fmla="*/ 13 w 45"/>
                <a:gd name="T17" fmla="*/ 22 h 60"/>
                <a:gd name="T18" fmla="*/ 22 w 45"/>
                <a:gd name="T19" fmla="*/ 13 h 60"/>
                <a:gd name="T20" fmla="*/ 32 w 45"/>
                <a:gd name="T21" fmla="*/ 22 h 60"/>
                <a:gd name="T22" fmla="*/ 22 w 45"/>
                <a:gd name="T23"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0">
                  <a:moveTo>
                    <a:pt x="22" y="0"/>
                  </a:moveTo>
                  <a:cubicBezTo>
                    <a:pt x="10" y="0"/>
                    <a:pt x="0" y="10"/>
                    <a:pt x="0" y="22"/>
                  </a:cubicBezTo>
                  <a:cubicBezTo>
                    <a:pt x="0" y="34"/>
                    <a:pt x="20" y="58"/>
                    <a:pt x="21" y="59"/>
                  </a:cubicBezTo>
                  <a:cubicBezTo>
                    <a:pt x="21" y="60"/>
                    <a:pt x="22" y="60"/>
                    <a:pt x="22" y="60"/>
                  </a:cubicBezTo>
                  <a:cubicBezTo>
                    <a:pt x="23" y="60"/>
                    <a:pt x="24" y="60"/>
                    <a:pt x="24" y="59"/>
                  </a:cubicBezTo>
                  <a:cubicBezTo>
                    <a:pt x="25" y="58"/>
                    <a:pt x="45" y="34"/>
                    <a:pt x="45" y="22"/>
                  </a:cubicBezTo>
                  <a:cubicBezTo>
                    <a:pt x="45" y="10"/>
                    <a:pt x="35" y="0"/>
                    <a:pt x="22" y="0"/>
                  </a:cubicBezTo>
                  <a:close/>
                  <a:moveTo>
                    <a:pt x="22" y="32"/>
                  </a:moveTo>
                  <a:cubicBezTo>
                    <a:pt x="17" y="32"/>
                    <a:pt x="13" y="28"/>
                    <a:pt x="13" y="22"/>
                  </a:cubicBezTo>
                  <a:cubicBezTo>
                    <a:pt x="13" y="17"/>
                    <a:pt x="17" y="13"/>
                    <a:pt x="22" y="13"/>
                  </a:cubicBezTo>
                  <a:cubicBezTo>
                    <a:pt x="28" y="13"/>
                    <a:pt x="32" y="17"/>
                    <a:pt x="32" y="22"/>
                  </a:cubicBezTo>
                  <a:cubicBezTo>
                    <a:pt x="32" y="28"/>
                    <a:pt x="28" y="32"/>
                    <a:pt x="2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3" name="Group 42">
            <a:extLst>
              <a:ext uri="{FF2B5EF4-FFF2-40B4-BE49-F238E27FC236}">
                <a16:creationId xmlns:a16="http://schemas.microsoft.com/office/drawing/2014/main" id="{A3A9B2D3-9722-4AB9-8379-889F09496369}"/>
              </a:ext>
            </a:extLst>
          </p:cNvPr>
          <p:cNvGrpSpPr/>
          <p:nvPr/>
        </p:nvGrpSpPr>
        <p:grpSpPr>
          <a:xfrm>
            <a:off x="6574817" y="3918322"/>
            <a:ext cx="432000" cy="432000"/>
            <a:chOff x="4113213" y="1816100"/>
            <a:chExt cx="360363" cy="349251"/>
          </a:xfrm>
          <a:solidFill>
            <a:srgbClr val="F7CAD0"/>
          </a:solidFill>
        </p:grpSpPr>
        <p:sp>
          <p:nvSpPr>
            <p:cNvPr id="44" name="Freeform 214">
              <a:extLst>
                <a:ext uri="{FF2B5EF4-FFF2-40B4-BE49-F238E27FC236}">
                  <a16:creationId xmlns:a16="http://schemas.microsoft.com/office/drawing/2014/main" id="{446E1D8A-ADD4-435D-8AA2-4E5B94EA8270}"/>
                </a:ext>
              </a:extLst>
            </p:cNvPr>
            <p:cNvSpPr>
              <a:spLocks/>
            </p:cNvSpPr>
            <p:nvPr/>
          </p:nvSpPr>
          <p:spPr bwMode="auto">
            <a:xfrm>
              <a:off x="4146550" y="1816100"/>
              <a:ext cx="315913" cy="244475"/>
            </a:xfrm>
            <a:custGeom>
              <a:avLst/>
              <a:gdLst>
                <a:gd name="T0" fmla="*/ 31 w 84"/>
                <a:gd name="T1" fmla="*/ 65 h 65"/>
                <a:gd name="T2" fmla="*/ 31 w 84"/>
                <a:gd name="T3" fmla="*/ 63 h 65"/>
                <a:gd name="T4" fmla="*/ 53 w 84"/>
                <a:gd name="T5" fmla="*/ 41 h 65"/>
                <a:gd name="T6" fmla="*/ 63 w 84"/>
                <a:gd name="T7" fmla="*/ 41 h 65"/>
                <a:gd name="T8" fmla="*/ 79 w 84"/>
                <a:gd name="T9" fmla="*/ 25 h 65"/>
                <a:gd name="T10" fmla="*/ 79 w 84"/>
                <a:gd name="T11" fmla="*/ 5 h 65"/>
                <a:gd name="T12" fmla="*/ 59 w 84"/>
                <a:gd name="T13" fmla="*/ 5 h 65"/>
                <a:gd name="T14" fmla="*/ 54 w 84"/>
                <a:gd name="T15" fmla="*/ 10 h 65"/>
                <a:gd name="T16" fmla="*/ 54 w 84"/>
                <a:gd name="T17" fmla="*/ 10 h 65"/>
                <a:gd name="T18" fmla="*/ 58 w 84"/>
                <a:gd name="T19" fmla="*/ 14 h 65"/>
                <a:gd name="T20" fmla="*/ 62 w 84"/>
                <a:gd name="T21" fmla="*/ 20 h 65"/>
                <a:gd name="T22" fmla="*/ 60 w 84"/>
                <a:gd name="T23" fmla="*/ 23 h 65"/>
                <a:gd name="T24" fmla="*/ 55 w 84"/>
                <a:gd name="T25" fmla="*/ 25 h 65"/>
                <a:gd name="T26" fmla="*/ 45 w 84"/>
                <a:gd name="T27" fmla="*/ 19 h 65"/>
                <a:gd name="T28" fmla="*/ 35 w 84"/>
                <a:gd name="T29" fmla="*/ 29 h 65"/>
                <a:gd name="T30" fmla="*/ 35 w 84"/>
                <a:gd name="T31" fmla="*/ 29 h 65"/>
                <a:gd name="T32" fmla="*/ 39 w 84"/>
                <a:gd name="T33" fmla="*/ 33 h 65"/>
                <a:gd name="T34" fmla="*/ 43 w 84"/>
                <a:gd name="T35" fmla="*/ 39 h 65"/>
                <a:gd name="T36" fmla="*/ 41 w 84"/>
                <a:gd name="T37" fmla="*/ 42 h 65"/>
                <a:gd name="T38" fmla="*/ 36 w 84"/>
                <a:gd name="T39" fmla="*/ 44 h 65"/>
                <a:gd name="T40" fmla="*/ 26 w 84"/>
                <a:gd name="T41" fmla="*/ 38 h 65"/>
                <a:gd name="T42" fmla="*/ 17 w 84"/>
                <a:gd name="T43" fmla="*/ 47 h 65"/>
                <a:gd name="T44" fmla="*/ 17 w 84"/>
                <a:gd name="T45" fmla="*/ 47 h 65"/>
                <a:gd name="T46" fmla="*/ 21 w 84"/>
                <a:gd name="T47" fmla="*/ 51 h 65"/>
                <a:gd name="T48" fmla="*/ 25 w 84"/>
                <a:gd name="T49" fmla="*/ 57 h 65"/>
                <a:gd name="T50" fmla="*/ 23 w 84"/>
                <a:gd name="T51" fmla="*/ 60 h 65"/>
                <a:gd name="T52" fmla="*/ 18 w 84"/>
                <a:gd name="T53" fmla="*/ 62 h 65"/>
                <a:gd name="T54" fmla="*/ 8 w 84"/>
                <a:gd name="T55" fmla="*/ 56 h 65"/>
                <a:gd name="T56" fmla="*/ 3 w 84"/>
                <a:gd name="T57" fmla="*/ 62 h 65"/>
                <a:gd name="T58" fmla="*/ 0 w 84"/>
                <a:gd name="T59" fmla="*/ 65 h 65"/>
                <a:gd name="T60" fmla="*/ 31 w 84"/>
                <a:gd name="T6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 h="65">
                  <a:moveTo>
                    <a:pt x="31" y="65"/>
                  </a:moveTo>
                  <a:cubicBezTo>
                    <a:pt x="31" y="64"/>
                    <a:pt x="31" y="64"/>
                    <a:pt x="31" y="63"/>
                  </a:cubicBezTo>
                  <a:cubicBezTo>
                    <a:pt x="31" y="51"/>
                    <a:pt x="41" y="41"/>
                    <a:pt x="53" y="41"/>
                  </a:cubicBezTo>
                  <a:cubicBezTo>
                    <a:pt x="63" y="41"/>
                    <a:pt x="63" y="41"/>
                    <a:pt x="63" y="41"/>
                  </a:cubicBezTo>
                  <a:cubicBezTo>
                    <a:pt x="79" y="25"/>
                    <a:pt x="79" y="25"/>
                    <a:pt x="79" y="25"/>
                  </a:cubicBezTo>
                  <a:cubicBezTo>
                    <a:pt x="84" y="20"/>
                    <a:pt x="84" y="11"/>
                    <a:pt x="79" y="5"/>
                  </a:cubicBezTo>
                  <a:cubicBezTo>
                    <a:pt x="73" y="0"/>
                    <a:pt x="65" y="0"/>
                    <a:pt x="59" y="5"/>
                  </a:cubicBezTo>
                  <a:cubicBezTo>
                    <a:pt x="54" y="10"/>
                    <a:pt x="54" y="10"/>
                    <a:pt x="54" y="10"/>
                  </a:cubicBezTo>
                  <a:cubicBezTo>
                    <a:pt x="54" y="10"/>
                    <a:pt x="54" y="10"/>
                    <a:pt x="54" y="10"/>
                  </a:cubicBezTo>
                  <a:cubicBezTo>
                    <a:pt x="55" y="12"/>
                    <a:pt x="57" y="13"/>
                    <a:pt x="58" y="14"/>
                  </a:cubicBezTo>
                  <a:cubicBezTo>
                    <a:pt x="60" y="16"/>
                    <a:pt x="61" y="17"/>
                    <a:pt x="62" y="20"/>
                  </a:cubicBezTo>
                  <a:cubicBezTo>
                    <a:pt x="62" y="21"/>
                    <a:pt x="61" y="22"/>
                    <a:pt x="60" y="23"/>
                  </a:cubicBezTo>
                  <a:cubicBezTo>
                    <a:pt x="58" y="25"/>
                    <a:pt x="57" y="25"/>
                    <a:pt x="55" y="25"/>
                  </a:cubicBezTo>
                  <a:cubicBezTo>
                    <a:pt x="51" y="25"/>
                    <a:pt x="48" y="22"/>
                    <a:pt x="45" y="19"/>
                  </a:cubicBezTo>
                  <a:cubicBezTo>
                    <a:pt x="35" y="29"/>
                    <a:pt x="35" y="29"/>
                    <a:pt x="35" y="29"/>
                  </a:cubicBezTo>
                  <a:cubicBezTo>
                    <a:pt x="35" y="29"/>
                    <a:pt x="35" y="29"/>
                    <a:pt x="35" y="29"/>
                  </a:cubicBezTo>
                  <a:cubicBezTo>
                    <a:pt x="36" y="31"/>
                    <a:pt x="38" y="32"/>
                    <a:pt x="39" y="33"/>
                  </a:cubicBezTo>
                  <a:cubicBezTo>
                    <a:pt x="41" y="35"/>
                    <a:pt x="42" y="36"/>
                    <a:pt x="43" y="39"/>
                  </a:cubicBezTo>
                  <a:cubicBezTo>
                    <a:pt x="43" y="40"/>
                    <a:pt x="42" y="41"/>
                    <a:pt x="41" y="42"/>
                  </a:cubicBezTo>
                  <a:cubicBezTo>
                    <a:pt x="39" y="44"/>
                    <a:pt x="38" y="44"/>
                    <a:pt x="36" y="44"/>
                  </a:cubicBezTo>
                  <a:cubicBezTo>
                    <a:pt x="32" y="44"/>
                    <a:pt x="29" y="41"/>
                    <a:pt x="26" y="38"/>
                  </a:cubicBezTo>
                  <a:cubicBezTo>
                    <a:pt x="17" y="47"/>
                    <a:pt x="17" y="47"/>
                    <a:pt x="17" y="47"/>
                  </a:cubicBezTo>
                  <a:cubicBezTo>
                    <a:pt x="17" y="47"/>
                    <a:pt x="17" y="47"/>
                    <a:pt x="17" y="47"/>
                  </a:cubicBezTo>
                  <a:cubicBezTo>
                    <a:pt x="18" y="49"/>
                    <a:pt x="20" y="50"/>
                    <a:pt x="21" y="51"/>
                  </a:cubicBezTo>
                  <a:cubicBezTo>
                    <a:pt x="23" y="53"/>
                    <a:pt x="24" y="54"/>
                    <a:pt x="25" y="57"/>
                  </a:cubicBezTo>
                  <a:cubicBezTo>
                    <a:pt x="25" y="58"/>
                    <a:pt x="24" y="59"/>
                    <a:pt x="23" y="60"/>
                  </a:cubicBezTo>
                  <a:cubicBezTo>
                    <a:pt x="21" y="62"/>
                    <a:pt x="20" y="62"/>
                    <a:pt x="18" y="62"/>
                  </a:cubicBezTo>
                  <a:cubicBezTo>
                    <a:pt x="14" y="62"/>
                    <a:pt x="11" y="59"/>
                    <a:pt x="8" y="56"/>
                  </a:cubicBezTo>
                  <a:cubicBezTo>
                    <a:pt x="3" y="62"/>
                    <a:pt x="3" y="62"/>
                    <a:pt x="3" y="62"/>
                  </a:cubicBezTo>
                  <a:cubicBezTo>
                    <a:pt x="2" y="63"/>
                    <a:pt x="1" y="64"/>
                    <a:pt x="0" y="65"/>
                  </a:cubicBezTo>
                  <a:lnTo>
                    <a:pt x="3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215">
              <a:extLst>
                <a:ext uri="{FF2B5EF4-FFF2-40B4-BE49-F238E27FC236}">
                  <a16:creationId xmlns:a16="http://schemas.microsoft.com/office/drawing/2014/main" id="{34AEF1FF-D903-4B80-AD9D-DD3A642024B5}"/>
                </a:ext>
              </a:extLst>
            </p:cNvPr>
            <p:cNvSpPr>
              <a:spLocks/>
            </p:cNvSpPr>
            <p:nvPr/>
          </p:nvSpPr>
          <p:spPr bwMode="auto">
            <a:xfrm>
              <a:off x="4278313" y="1985963"/>
              <a:ext cx="179388" cy="74613"/>
            </a:xfrm>
            <a:custGeom>
              <a:avLst/>
              <a:gdLst>
                <a:gd name="T0" fmla="*/ 48 w 48"/>
                <a:gd name="T1" fmla="*/ 20 h 20"/>
                <a:gd name="T2" fmla="*/ 48 w 48"/>
                <a:gd name="T3" fmla="*/ 18 h 20"/>
                <a:gd name="T4" fmla="*/ 30 w 48"/>
                <a:gd name="T5" fmla="*/ 0 h 20"/>
                <a:gd name="T6" fmla="*/ 32 w 48"/>
                <a:gd name="T7" fmla="*/ 2 h 20"/>
                <a:gd name="T8" fmla="*/ 33 w 48"/>
                <a:gd name="T9" fmla="*/ 17 h 20"/>
                <a:gd name="T10" fmla="*/ 31 w 48"/>
                <a:gd name="T11" fmla="*/ 18 h 20"/>
                <a:gd name="T12" fmla="*/ 30 w 48"/>
                <a:gd name="T13" fmla="*/ 18 h 20"/>
                <a:gd name="T14" fmla="*/ 29 w 48"/>
                <a:gd name="T15" fmla="*/ 16 h 20"/>
                <a:gd name="T16" fmla="*/ 28 w 48"/>
                <a:gd name="T17" fmla="*/ 4 h 20"/>
                <a:gd name="T18" fmla="*/ 26 w 48"/>
                <a:gd name="T19" fmla="*/ 0 h 20"/>
                <a:gd name="T20" fmla="*/ 22 w 48"/>
                <a:gd name="T21" fmla="*/ 0 h 20"/>
                <a:gd name="T22" fmla="*/ 24 w 48"/>
                <a:gd name="T23" fmla="*/ 2 h 20"/>
                <a:gd name="T24" fmla="*/ 25 w 48"/>
                <a:gd name="T25" fmla="*/ 17 h 20"/>
                <a:gd name="T26" fmla="*/ 23 w 48"/>
                <a:gd name="T27" fmla="*/ 18 h 20"/>
                <a:gd name="T28" fmla="*/ 22 w 48"/>
                <a:gd name="T29" fmla="*/ 18 h 20"/>
                <a:gd name="T30" fmla="*/ 21 w 48"/>
                <a:gd name="T31" fmla="*/ 16 h 20"/>
                <a:gd name="T32" fmla="*/ 20 w 48"/>
                <a:gd name="T33" fmla="*/ 4 h 20"/>
                <a:gd name="T34" fmla="*/ 18 w 48"/>
                <a:gd name="T35" fmla="*/ 1 h 20"/>
                <a:gd name="T36" fmla="*/ 18 w 48"/>
                <a:gd name="T37" fmla="*/ 0 h 20"/>
                <a:gd name="T38" fmla="*/ 18 w 48"/>
                <a:gd name="T39" fmla="*/ 0 h 20"/>
                <a:gd name="T40" fmla="*/ 14 w 48"/>
                <a:gd name="T41" fmla="*/ 0 h 20"/>
                <a:gd name="T42" fmla="*/ 16 w 48"/>
                <a:gd name="T43" fmla="*/ 2 h 20"/>
                <a:gd name="T44" fmla="*/ 17 w 48"/>
                <a:gd name="T45" fmla="*/ 17 h 20"/>
                <a:gd name="T46" fmla="*/ 15 w 48"/>
                <a:gd name="T47" fmla="*/ 18 h 20"/>
                <a:gd name="T48" fmla="*/ 14 w 48"/>
                <a:gd name="T49" fmla="*/ 18 h 20"/>
                <a:gd name="T50" fmla="*/ 13 w 48"/>
                <a:gd name="T51" fmla="*/ 16 h 20"/>
                <a:gd name="T52" fmla="*/ 12 w 48"/>
                <a:gd name="T53" fmla="*/ 4 h 20"/>
                <a:gd name="T54" fmla="*/ 11 w 48"/>
                <a:gd name="T55" fmla="*/ 2 h 20"/>
                <a:gd name="T56" fmla="*/ 0 w 48"/>
                <a:gd name="T57" fmla="*/ 18 h 20"/>
                <a:gd name="T58" fmla="*/ 0 w 48"/>
                <a:gd name="T59" fmla="*/ 20 h 20"/>
                <a:gd name="T60" fmla="*/ 48 w 48"/>
                <a:gd name="T6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20">
                  <a:moveTo>
                    <a:pt x="48" y="20"/>
                  </a:moveTo>
                  <a:cubicBezTo>
                    <a:pt x="48" y="19"/>
                    <a:pt x="48" y="19"/>
                    <a:pt x="48" y="18"/>
                  </a:cubicBezTo>
                  <a:cubicBezTo>
                    <a:pt x="48" y="8"/>
                    <a:pt x="40" y="0"/>
                    <a:pt x="30" y="0"/>
                  </a:cubicBezTo>
                  <a:cubicBezTo>
                    <a:pt x="32" y="2"/>
                    <a:pt x="32" y="2"/>
                    <a:pt x="32" y="2"/>
                  </a:cubicBezTo>
                  <a:cubicBezTo>
                    <a:pt x="32" y="3"/>
                    <a:pt x="35" y="10"/>
                    <a:pt x="33" y="17"/>
                  </a:cubicBezTo>
                  <a:cubicBezTo>
                    <a:pt x="32" y="18"/>
                    <a:pt x="32" y="18"/>
                    <a:pt x="31" y="18"/>
                  </a:cubicBezTo>
                  <a:cubicBezTo>
                    <a:pt x="30" y="18"/>
                    <a:pt x="30" y="18"/>
                    <a:pt x="30" y="18"/>
                  </a:cubicBezTo>
                  <a:cubicBezTo>
                    <a:pt x="29" y="18"/>
                    <a:pt x="28" y="17"/>
                    <a:pt x="29" y="16"/>
                  </a:cubicBezTo>
                  <a:cubicBezTo>
                    <a:pt x="31" y="10"/>
                    <a:pt x="28" y="4"/>
                    <a:pt x="28" y="4"/>
                  </a:cubicBezTo>
                  <a:cubicBezTo>
                    <a:pt x="26" y="0"/>
                    <a:pt x="26" y="0"/>
                    <a:pt x="26" y="0"/>
                  </a:cubicBezTo>
                  <a:cubicBezTo>
                    <a:pt x="22" y="0"/>
                    <a:pt x="22" y="0"/>
                    <a:pt x="22" y="0"/>
                  </a:cubicBezTo>
                  <a:cubicBezTo>
                    <a:pt x="24" y="2"/>
                    <a:pt x="24" y="2"/>
                    <a:pt x="24" y="2"/>
                  </a:cubicBezTo>
                  <a:cubicBezTo>
                    <a:pt x="24" y="3"/>
                    <a:pt x="27" y="10"/>
                    <a:pt x="25" y="17"/>
                  </a:cubicBezTo>
                  <a:cubicBezTo>
                    <a:pt x="24" y="18"/>
                    <a:pt x="24" y="18"/>
                    <a:pt x="23" y="18"/>
                  </a:cubicBezTo>
                  <a:cubicBezTo>
                    <a:pt x="22" y="18"/>
                    <a:pt x="22" y="18"/>
                    <a:pt x="22" y="18"/>
                  </a:cubicBezTo>
                  <a:cubicBezTo>
                    <a:pt x="21" y="18"/>
                    <a:pt x="20" y="17"/>
                    <a:pt x="21" y="16"/>
                  </a:cubicBezTo>
                  <a:cubicBezTo>
                    <a:pt x="23" y="10"/>
                    <a:pt x="20" y="4"/>
                    <a:pt x="20" y="4"/>
                  </a:cubicBezTo>
                  <a:cubicBezTo>
                    <a:pt x="18" y="1"/>
                    <a:pt x="18" y="1"/>
                    <a:pt x="18" y="1"/>
                  </a:cubicBezTo>
                  <a:cubicBezTo>
                    <a:pt x="18" y="1"/>
                    <a:pt x="18" y="0"/>
                    <a:pt x="18" y="0"/>
                  </a:cubicBezTo>
                  <a:cubicBezTo>
                    <a:pt x="18" y="0"/>
                    <a:pt x="18" y="0"/>
                    <a:pt x="18" y="0"/>
                  </a:cubicBezTo>
                  <a:cubicBezTo>
                    <a:pt x="17" y="0"/>
                    <a:pt x="16" y="0"/>
                    <a:pt x="14" y="0"/>
                  </a:cubicBezTo>
                  <a:cubicBezTo>
                    <a:pt x="16" y="2"/>
                    <a:pt x="16" y="2"/>
                    <a:pt x="16" y="2"/>
                  </a:cubicBezTo>
                  <a:cubicBezTo>
                    <a:pt x="16" y="3"/>
                    <a:pt x="19" y="10"/>
                    <a:pt x="17" y="17"/>
                  </a:cubicBezTo>
                  <a:cubicBezTo>
                    <a:pt x="16" y="18"/>
                    <a:pt x="16" y="18"/>
                    <a:pt x="15" y="18"/>
                  </a:cubicBezTo>
                  <a:cubicBezTo>
                    <a:pt x="14" y="18"/>
                    <a:pt x="14" y="18"/>
                    <a:pt x="14" y="18"/>
                  </a:cubicBezTo>
                  <a:cubicBezTo>
                    <a:pt x="13" y="18"/>
                    <a:pt x="12" y="17"/>
                    <a:pt x="13" y="16"/>
                  </a:cubicBezTo>
                  <a:cubicBezTo>
                    <a:pt x="15" y="10"/>
                    <a:pt x="12" y="4"/>
                    <a:pt x="12" y="4"/>
                  </a:cubicBezTo>
                  <a:cubicBezTo>
                    <a:pt x="11" y="2"/>
                    <a:pt x="11" y="2"/>
                    <a:pt x="11" y="2"/>
                  </a:cubicBezTo>
                  <a:cubicBezTo>
                    <a:pt x="4" y="4"/>
                    <a:pt x="0" y="11"/>
                    <a:pt x="0" y="18"/>
                  </a:cubicBezTo>
                  <a:cubicBezTo>
                    <a:pt x="0" y="19"/>
                    <a:pt x="0" y="19"/>
                    <a:pt x="0" y="20"/>
                  </a:cubicBezTo>
                  <a:lnTo>
                    <a:pt x="4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216">
              <a:extLst>
                <a:ext uri="{FF2B5EF4-FFF2-40B4-BE49-F238E27FC236}">
                  <a16:creationId xmlns:a16="http://schemas.microsoft.com/office/drawing/2014/main" id="{D96050C3-1627-42EF-9BA0-DFA3D471AA0E}"/>
                </a:ext>
              </a:extLst>
            </p:cNvPr>
            <p:cNvSpPr>
              <a:spLocks/>
            </p:cNvSpPr>
            <p:nvPr/>
          </p:nvSpPr>
          <p:spPr bwMode="auto">
            <a:xfrm>
              <a:off x="4113213" y="2074863"/>
              <a:ext cx="360363" cy="90488"/>
            </a:xfrm>
            <a:custGeom>
              <a:avLst/>
              <a:gdLst>
                <a:gd name="T0" fmla="*/ 96 w 96"/>
                <a:gd name="T1" fmla="*/ 1 h 24"/>
                <a:gd name="T2" fmla="*/ 94 w 96"/>
                <a:gd name="T3" fmla="*/ 0 h 24"/>
                <a:gd name="T4" fmla="*/ 2 w 96"/>
                <a:gd name="T5" fmla="*/ 0 h 24"/>
                <a:gd name="T6" fmla="*/ 0 w 96"/>
                <a:gd name="T7" fmla="*/ 1 h 24"/>
                <a:gd name="T8" fmla="*/ 1 w 96"/>
                <a:gd name="T9" fmla="*/ 3 h 24"/>
                <a:gd name="T10" fmla="*/ 21 w 96"/>
                <a:gd name="T11" fmla="*/ 23 h 24"/>
                <a:gd name="T12" fmla="*/ 22 w 96"/>
                <a:gd name="T13" fmla="*/ 24 h 24"/>
                <a:gd name="T14" fmla="*/ 74 w 96"/>
                <a:gd name="T15" fmla="*/ 24 h 24"/>
                <a:gd name="T16" fmla="*/ 75 w 96"/>
                <a:gd name="T17" fmla="*/ 23 h 24"/>
                <a:gd name="T18" fmla="*/ 95 w 96"/>
                <a:gd name="T19" fmla="*/ 3 h 24"/>
                <a:gd name="T20" fmla="*/ 96 w 96"/>
                <a:gd name="T21"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4">
                  <a:moveTo>
                    <a:pt x="96" y="1"/>
                  </a:moveTo>
                  <a:cubicBezTo>
                    <a:pt x="96" y="1"/>
                    <a:pt x="95" y="0"/>
                    <a:pt x="94" y="0"/>
                  </a:cubicBezTo>
                  <a:cubicBezTo>
                    <a:pt x="2" y="0"/>
                    <a:pt x="2" y="0"/>
                    <a:pt x="2" y="0"/>
                  </a:cubicBezTo>
                  <a:cubicBezTo>
                    <a:pt x="1" y="0"/>
                    <a:pt x="0" y="1"/>
                    <a:pt x="0" y="1"/>
                  </a:cubicBezTo>
                  <a:cubicBezTo>
                    <a:pt x="0" y="2"/>
                    <a:pt x="0" y="3"/>
                    <a:pt x="1" y="3"/>
                  </a:cubicBezTo>
                  <a:cubicBezTo>
                    <a:pt x="21" y="23"/>
                    <a:pt x="21" y="23"/>
                    <a:pt x="21" y="23"/>
                  </a:cubicBezTo>
                  <a:cubicBezTo>
                    <a:pt x="21" y="24"/>
                    <a:pt x="21" y="24"/>
                    <a:pt x="22" y="24"/>
                  </a:cubicBezTo>
                  <a:cubicBezTo>
                    <a:pt x="74" y="24"/>
                    <a:pt x="74" y="24"/>
                    <a:pt x="74" y="24"/>
                  </a:cubicBezTo>
                  <a:cubicBezTo>
                    <a:pt x="75" y="24"/>
                    <a:pt x="75" y="24"/>
                    <a:pt x="75" y="23"/>
                  </a:cubicBezTo>
                  <a:cubicBezTo>
                    <a:pt x="95" y="3"/>
                    <a:pt x="95" y="3"/>
                    <a:pt x="95" y="3"/>
                  </a:cubicBezTo>
                  <a:cubicBezTo>
                    <a:pt x="96" y="3"/>
                    <a:pt x="96" y="2"/>
                    <a:pt x="9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302610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5412B7D6-9400-4B66-8814-DCF81BEB0C5A}"/>
              </a:ext>
            </a:extLst>
          </p:cNvPr>
          <p:cNvSpPr/>
          <p:nvPr/>
        </p:nvSpPr>
        <p:spPr>
          <a:xfrm rot="5400000" flipH="1">
            <a:off x="0" y="5372100"/>
            <a:ext cx="1485900" cy="1485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4ABBA9B-1329-47B1-9E6B-E01B6F3823E7}"/>
              </a:ext>
            </a:extLst>
          </p:cNvPr>
          <p:cNvSpPr/>
          <p:nvPr/>
        </p:nvSpPr>
        <p:spPr>
          <a:xfrm>
            <a:off x="10058400" y="97712"/>
            <a:ext cx="2133600" cy="177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575CD53-6108-481A-A31F-305A2B59F755}"/>
              </a:ext>
            </a:extLst>
          </p:cNvPr>
          <p:cNvSpPr txBox="1"/>
          <p:nvPr/>
        </p:nvSpPr>
        <p:spPr>
          <a:xfrm>
            <a:off x="690563" y="314325"/>
            <a:ext cx="10808351" cy="553998"/>
          </a:xfrm>
          <a:prstGeom prst="rect">
            <a:avLst/>
          </a:prstGeom>
          <a:noFill/>
        </p:spPr>
        <p:txBody>
          <a:bodyPr wrap="square" lIns="0" tIns="0" rIns="0" bIns="0" rtlCol="0" anchor="t">
            <a:spAutoFit/>
          </a:bodyPr>
          <a:lstStyle/>
          <a:p>
            <a:r>
              <a:rPr lang="en-US" sz="3600" dirty="0">
                <a:latin typeface="+mj-lt"/>
              </a:rPr>
              <a:t>RESPONSIBLE BUSINESS</a:t>
            </a:r>
          </a:p>
        </p:txBody>
      </p:sp>
      <p:sp>
        <p:nvSpPr>
          <p:cNvPr id="6" name="Date Placeholder 5">
            <a:extLst>
              <a:ext uri="{FF2B5EF4-FFF2-40B4-BE49-F238E27FC236}">
                <a16:creationId xmlns:a16="http://schemas.microsoft.com/office/drawing/2014/main" id="{80E38B08-802D-4164-A9F1-6C44A3B32802}"/>
              </a:ext>
            </a:extLst>
          </p:cNvPr>
          <p:cNvSpPr>
            <a:spLocks noGrp="1"/>
          </p:cNvSpPr>
          <p:nvPr>
            <p:ph type="dt" sz="half" idx="10"/>
          </p:nvPr>
        </p:nvSpPr>
        <p:spPr/>
        <p:txBody>
          <a:bodyPr/>
          <a:lstStyle/>
          <a:p>
            <a:fld id="{AC123CF5-7D66-4CD0-9E7B-9C396B7C8ADE}" type="datetime1">
              <a:rPr lang="en-US" smtClean="0"/>
              <a:t>4/7/2024</a:t>
            </a:fld>
            <a:endParaRPr lang="en-US"/>
          </a:p>
        </p:txBody>
      </p:sp>
      <p:sp>
        <p:nvSpPr>
          <p:cNvPr id="7" name="Slide Number Placeholder 6">
            <a:extLst>
              <a:ext uri="{FF2B5EF4-FFF2-40B4-BE49-F238E27FC236}">
                <a16:creationId xmlns:a16="http://schemas.microsoft.com/office/drawing/2014/main" id="{62E62710-286F-4B00-9BF4-C4E48604ED0D}"/>
              </a:ext>
            </a:extLst>
          </p:cNvPr>
          <p:cNvSpPr>
            <a:spLocks noGrp="1"/>
          </p:cNvSpPr>
          <p:nvPr>
            <p:ph type="sldNum" sz="quarter" idx="12"/>
          </p:nvPr>
        </p:nvSpPr>
        <p:spPr/>
        <p:txBody>
          <a:bodyPr/>
          <a:lstStyle/>
          <a:p>
            <a:fld id="{8104C915-17D6-486A-86EC-048CBE10C825}" type="slidenum">
              <a:rPr lang="en-US" smtClean="0"/>
              <a:t>18</a:t>
            </a:fld>
            <a:endParaRPr lang="en-US"/>
          </a:p>
        </p:txBody>
      </p:sp>
      <p:sp>
        <p:nvSpPr>
          <p:cNvPr id="106" name="TextBox 105">
            <a:extLst>
              <a:ext uri="{FF2B5EF4-FFF2-40B4-BE49-F238E27FC236}">
                <a16:creationId xmlns:a16="http://schemas.microsoft.com/office/drawing/2014/main" id="{AEA0C097-019B-4F97-B12C-B465177E05AB}"/>
              </a:ext>
            </a:extLst>
          </p:cNvPr>
          <p:cNvSpPr txBox="1"/>
          <p:nvPr/>
        </p:nvSpPr>
        <p:spPr>
          <a:xfrm>
            <a:off x="1551881" y="1699861"/>
            <a:ext cx="2434626" cy="430887"/>
          </a:xfrm>
          <a:prstGeom prst="rect">
            <a:avLst/>
          </a:prstGeom>
          <a:noFill/>
        </p:spPr>
        <p:txBody>
          <a:bodyPr wrap="square" lIns="0" tIns="0" rIns="0" bIns="0" rtlCol="0" anchor="b">
            <a:spAutoFit/>
          </a:bodyPr>
          <a:lstStyle/>
          <a:p>
            <a:pPr algn="ctr"/>
            <a:r>
              <a:rPr lang="en-US" sz="1400" b="1" dirty="0"/>
              <a:t>SOCIAL AND ENVIRONMENTAL PERFORMANCE</a:t>
            </a:r>
          </a:p>
        </p:txBody>
      </p:sp>
      <p:sp>
        <p:nvSpPr>
          <p:cNvPr id="107" name="TextBox 106">
            <a:extLst>
              <a:ext uri="{FF2B5EF4-FFF2-40B4-BE49-F238E27FC236}">
                <a16:creationId xmlns:a16="http://schemas.microsoft.com/office/drawing/2014/main" id="{DAC1F5B4-56F7-440D-8BF0-75E0E98BE76F}"/>
              </a:ext>
            </a:extLst>
          </p:cNvPr>
          <p:cNvSpPr txBox="1"/>
          <p:nvPr/>
        </p:nvSpPr>
        <p:spPr>
          <a:xfrm>
            <a:off x="5405438" y="1699861"/>
            <a:ext cx="1381125" cy="430887"/>
          </a:xfrm>
          <a:prstGeom prst="rect">
            <a:avLst/>
          </a:prstGeom>
          <a:noFill/>
        </p:spPr>
        <p:txBody>
          <a:bodyPr wrap="square" lIns="0" tIns="0" rIns="0" bIns="0" rtlCol="0" anchor="b">
            <a:spAutoFit/>
          </a:bodyPr>
          <a:lstStyle/>
          <a:p>
            <a:pPr algn="ctr"/>
            <a:r>
              <a:rPr lang="en-US" sz="1400" b="1" dirty="0"/>
              <a:t>PUBLIC TRANSPARENCY</a:t>
            </a:r>
          </a:p>
        </p:txBody>
      </p:sp>
      <p:sp>
        <p:nvSpPr>
          <p:cNvPr id="108" name="TextBox 107">
            <a:extLst>
              <a:ext uri="{FF2B5EF4-FFF2-40B4-BE49-F238E27FC236}">
                <a16:creationId xmlns:a16="http://schemas.microsoft.com/office/drawing/2014/main" id="{D269A8B8-1406-4AFF-A69B-7CD7CFDDDBAA}"/>
              </a:ext>
            </a:extLst>
          </p:cNvPr>
          <p:cNvSpPr txBox="1"/>
          <p:nvPr/>
        </p:nvSpPr>
        <p:spPr>
          <a:xfrm>
            <a:off x="8723744" y="1699861"/>
            <a:ext cx="1381125" cy="430887"/>
          </a:xfrm>
          <a:prstGeom prst="rect">
            <a:avLst/>
          </a:prstGeom>
          <a:noFill/>
        </p:spPr>
        <p:txBody>
          <a:bodyPr wrap="square" lIns="0" tIns="0" rIns="0" bIns="0" rtlCol="0" anchor="b">
            <a:spAutoFit/>
          </a:bodyPr>
          <a:lstStyle/>
          <a:p>
            <a:pPr algn="ctr"/>
            <a:r>
              <a:rPr lang="en-US" sz="1400" b="1" dirty="0"/>
              <a:t>LEGAL ACCOUNTABILITY</a:t>
            </a:r>
          </a:p>
        </p:txBody>
      </p:sp>
      <p:sp>
        <p:nvSpPr>
          <p:cNvPr id="159" name="TextBox 158">
            <a:extLst>
              <a:ext uri="{FF2B5EF4-FFF2-40B4-BE49-F238E27FC236}">
                <a16:creationId xmlns:a16="http://schemas.microsoft.com/office/drawing/2014/main" id="{45BD035A-DE80-47E4-81D7-151DA9169F07}"/>
              </a:ext>
            </a:extLst>
          </p:cNvPr>
          <p:cNvSpPr txBox="1"/>
          <p:nvPr/>
        </p:nvSpPr>
        <p:spPr>
          <a:xfrm>
            <a:off x="1143000" y="5676883"/>
            <a:ext cx="9906000" cy="738664"/>
          </a:xfrm>
          <a:prstGeom prst="rect">
            <a:avLst/>
          </a:prstGeom>
          <a:noFill/>
        </p:spPr>
        <p:txBody>
          <a:bodyPr wrap="square" lIns="0" tIns="0" rIns="0" bIns="0" rtlCol="0">
            <a:spAutoFit/>
          </a:bodyPr>
          <a:lstStyle/>
          <a:p>
            <a:pPr algn="ctr"/>
            <a:r>
              <a:rPr lang="en-US" sz="1600" dirty="0"/>
              <a:t>In October 2018, we became a </a:t>
            </a:r>
            <a:r>
              <a:rPr lang="en-US" sz="1600" b="1" dirty="0">
                <a:hlinkClick r:id="rId2"/>
              </a:rPr>
              <a:t>Certified B Corporation</a:t>
            </a:r>
            <a:r>
              <a:rPr lang="en-US" sz="1600" dirty="0"/>
              <a:t>. Certified B Corporations are businesses that meet the highest standards of verified social and environmental performance, public transparency, and legal accountability to </a:t>
            </a:r>
            <a:r>
              <a:rPr lang="en-US" sz="1600" b="1" dirty="0"/>
              <a:t>BALANCE PROFIT AND PURPOSE.</a:t>
            </a:r>
          </a:p>
        </p:txBody>
      </p:sp>
      <p:sp>
        <p:nvSpPr>
          <p:cNvPr id="88" name="Rectangle: Rounded Corners 87">
            <a:extLst>
              <a:ext uri="{FF2B5EF4-FFF2-40B4-BE49-F238E27FC236}">
                <a16:creationId xmlns:a16="http://schemas.microsoft.com/office/drawing/2014/main" id="{9C283CD4-EBE5-4054-BE02-93E171C937FA}"/>
              </a:ext>
            </a:extLst>
          </p:cNvPr>
          <p:cNvSpPr/>
          <p:nvPr/>
        </p:nvSpPr>
        <p:spPr>
          <a:xfrm rot="16200000">
            <a:off x="5976077" y="-236752"/>
            <a:ext cx="478565" cy="6544605"/>
          </a:xfrm>
          <a:prstGeom prst="roundRect">
            <a:avLst>
              <a:gd name="adj" fmla="val 50000"/>
            </a:avLst>
          </a:prstGeom>
          <a:pattFill prst="dkUpDiag">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0721082-1354-4301-BFD7-327294D11536}"/>
              </a:ext>
            </a:extLst>
          </p:cNvPr>
          <p:cNvSpPr/>
          <p:nvPr/>
        </p:nvSpPr>
        <p:spPr>
          <a:xfrm>
            <a:off x="1977594" y="2235450"/>
            <a:ext cx="1600200" cy="1600200"/>
          </a:xfrm>
          <a:prstGeom prst="ellipse">
            <a:avLst/>
          </a:prstGeom>
          <a:solidFill>
            <a:schemeClr val="accent1">
              <a:lumMod val="90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F867C578-DA47-46AB-AF7F-536B44FE53CD}"/>
              </a:ext>
            </a:extLst>
          </p:cNvPr>
          <p:cNvSpPr/>
          <p:nvPr/>
        </p:nvSpPr>
        <p:spPr>
          <a:xfrm>
            <a:off x="5295900" y="2235450"/>
            <a:ext cx="1600200" cy="1600200"/>
          </a:xfrm>
          <a:prstGeom prst="ellipse">
            <a:avLst/>
          </a:prstGeom>
          <a:solidFill>
            <a:schemeClr val="accent1">
              <a:lumMod val="7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B08EADB0-1EBF-4287-AFFF-078419AED533}"/>
              </a:ext>
            </a:extLst>
          </p:cNvPr>
          <p:cNvSpPr/>
          <p:nvPr/>
        </p:nvSpPr>
        <p:spPr>
          <a:xfrm>
            <a:off x="2285139" y="2542994"/>
            <a:ext cx="985112" cy="98511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AAAC41B2-2008-4AEA-8FA8-37E30644CB7E}"/>
              </a:ext>
            </a:extLst>
          </p:cNvPr>
          <p:cNvSpPr/>
          <p:nvPr/>
        </p:nvSpPr>
        <p:spPr>
          <a:xfrm>
            <a:off x="5603444" y="2542994"/>
            <a:ext cx="985112" cy="98511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5A7A50CE-1E79-49CB-8147-F3FA17A93016}"/>
              </a:ext>
            </a:extLst>
          </p:cNvPr>
          <p:cNvSpPr/>
          <p:nvPr/>
        </p:nvSpPr>
        <p:spPr>
          <a:xfrm>
            <a:off x="8614206" y="2235450"/>
            <a:ext cx="1600200" cy="1600200"/>
          </a:xfrm>
          <a:prstGeom prst="ellipse">
            <a:avLst/>
          </a:prstGeom>
          <a:solidFill>
            <a:srgbClr val="EF95A0"/>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CA8E8D4F-26AF-479D-AB04-624279296288}"/>
              </a:ext>
            </a:extLst>
          </p:cNvPr>
          <p:cNvSpPr/>
          <p:nvPr/>
        </p:nvSpPr>
        <p:spPr>
          <a:xfrm>
            <a:off x="8921750" y="2542994"/>
            <a:ext cx="985112" cy="98511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DB8F4AF3-B32A-4A16-AC15-6E145A6861C9}"/>
              </a:ext>
            </a:extLst>
          </p:cNvPr>
          <p:cNvSpPr/>
          <p:nvPr/>
        </p:nvSpPr>
        <p:spPr>
          <a:xfrm>
            <a:off x="2088677" y="3940352"/>
            <a:ext cx="8050110" cy="557138"/>
          </a:xfrm>
          <a:prstGeom prst="roundRect">
            <a:avLst>
              <a:gd name="adj" fmla="val 50000"/>
            </a:avLst>
          </a:prstGeom>
          <a:solidFill>
            <a:srgbClr val="3C8C9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algn="ctr"/>
            <a:r>
              <a:rPr lang="en-US" sz="2400" b="1"/>
              <a:t>BALANCE PROFIT AND PURPOSE.</a:t>
            </a:r>
          </a:p>
        </p:txBody>
      </p:sp>
      <p:sp>
        <p:nvSpPr>
          <p:cNvPr id="75" name="Rectangle: Rounded Corners 74">
            <a:extLst>
              <a:ext uri="{FF2B5EF4-FFF2-40B4-BE49-F238E27FC236}">
                <a16:creationId xmlns:a16="http://schemas.microsoft.com/office/drawing/2014/main" id="{BBF34D92-BFAC-469C-A7E1-43C01ADDB46D}"/>
              </a:ext>
            </a:extLst>
          </p:cNvPr>
          <p:cNvSpPr/>
          <p:nvPr/>
        </p:nvSpPr>
        <p:spPr>
          <a:xfrm>
            <a:off x="5615649" y="4535310"/>
            <a:ext cx="996166" cy="253335"/>
          </a:xfrm>
          <a:prstGeom prst="roundRect">
            <a:avLst>
              <a:gd name="adj" fmla="val 50000"/>
            </a:avLst>
          </a:prstGeom>
          <a:solidFill>
            <a:srgbClr val="3C8C9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Rounded Corners 77">
            <a:extLst>
              <a:ext uri="{FF2B5EF4-FFF2-40B4-BE49-F238E27FC236}">
                <a16:creationId xmlns:a16="http://schemas.microsoft.com/office/drawing/2014/main" id="{73C09B94-E3B7-41C9-A499-EEA108507509}"/>
              </a:ext>
            </a:extLst>
          </p:cNvPr>
          <p:cNvSpPr/>
          <p:nvPr/>
        </p:nvSpPr>
        <p:spPr>
          <a:xfrm>
            <a:off x="5454875" y="4826465"/>
            <a:ext cx="1317714" cy="253335"/>
          </a:xfrm>
          <a:prstGeom prst="roundRect">
            <a:avLst>
              <a:gd name="adj" fmla="val 50000"/>
            </a:avLst>
          </a:prstGeom>
          <a:solidFill>
            <a:srgbClr val="3C8C9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Rounded Corners 78">
            <a:extLst>
              <a:ext uri="{FF2B5EF4-FFF2-40B4-BE49-F238E27FC236}">
                <a16:creationId xmlns:a16="http://schemas.microsoft.com/office/drawing/2014/main" id="{30679328-0FCF-43E9-84B7-0AB8FF3D903A}"/>
              </a:ext>
            </a:extLst>
          </p:cNvPr>
          <p:cNvSpPr/>
          <p:nvPr/>
        </p:nvSpPr>
        <p:spPr>
          <a:xfrm>
            <a:off x="5243860" y="5117620"/>
            <a:ext cx="1739744" cy="253335"/>
          </a:xfrm>
          <a:prstGeom prst="roundRect">
            <a:avLst>
              <a:gd name="adj" fmla="val 50000"/>
            </a:avLst>
          </a:prstGeom>
          <a:solidFill>
            <a:srgbClr val="3C8C9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9" name="Group 88">
            <a:extLst>
              <a:ext uri="{FF2B5EF4-FFF2-40B4-BE49-F238E27FC236}">
                <a16:creationId xmlns:a16="http://schemas.microsoft.com/office/drawing/2014/main" id="{2D5F57A3-B380-4B18-8F4A-89AF32322285}"/>
              </a:ext>
            </a:extLst>
          </p:cNvPr>
          <p:cNvGrpSpPr/>
          <p:nvPr/>
        </p:nvGrpSpPr>
        <p:grpSpPr>
          <a:xfrm>
            <a:off x="9198306" y="2819550"/>
            <a:ext cx="432000" cy="432000"/>
            <a:chOff x="4840288" y="2513013"/>
            <a:chExt cx="360363" cy="357187"/>
          </a:xfrm>
          <a:solidFill>
            <a:srgbClr val="EF95A0"/>
          </a:solidFill>
        </p:grpSpPr>
        <p:sp>
          <p:nvSpPr>
            <p:cNvPr id="90" name="Freeform 30">
              <a:extLst>
                <a:ext uri="{FF2B5EF4-FFF2-40B4-BE49-F238E27FC236}">
                  <a16:creationId xmlns:a16="http://schemas.microsoft.com/office/drawing/2014/main" id="{2D966633-A612-4B5C-B9AC-35E08C3A0C61}"/>
                </a:ext>
              </a:extLst>
            </p:cNvPr>
            <p:cNvSpPr>
              <a:spLocks/>
            </p:cNvSpPr>
            <p:nvPr/>
          </p:nvSpPr>
          <p:spPr bwMode="auto">
            <a:xfrm>
              <a:off x="4840288" y="2825750"/>
              <a:ext cx="165100" cy="44450"/>
            </a:xfrm>
            <a:custGeom>
              <a:avLst/>
              <a:gdLst>
                <a:gd name="T0" fmla="*/ 38 w 44"/>
                <a:gd name="T1" fmla="*/ 0 h 12"/>
                <a:gd name="T2" fmla="*/ 6 w 44"/>
                <a:gd name="T3" fmla="*/ 0 h 12"/>
                <a:gd name="T4" fmla="*/ 0 w 44"/>
                <a:gd name="T5" fmla="*/ 6 h 12"/>
                <a:gd name="T6" fmla="*/ 0 w 44"/>
                <a:gd name="T7" fmla="*/ 10 h 12"/>
                <a:gd name="T8" fmla="*/ 2 w 44"/>
                <a:gd name="T9" fmla="*/ 12 h 12"/>
                <a:gd name="T10" fmla="*/ 42 w 44"/>
                <a:gd name="T11" fmla="*/ 12 h 12"/>
                <a:gd name="T12" fmla="*/ 44 w 44"/>
                <a:gd name="T13" fmla="*/ 10 h 12"/>
                <a:gd name="T14" fmla="*/ 44 w 44"/>
                <a:gd name="T15" fmla="*/ 6 h 12"/>
                <a:gd name="T16" fmla="*/ 38 w 4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2">
                  <a:moveTo>
                    <a:pt x="38" y="0"/>
                  </a:moveTo>
                  <a:cubicBezTo>
                    <a:pt x="6" y="0"/>
                    <a:pt x="6" y="0"/>
                    <a:pt x="6" y="0"/>
                  </a:cubicBezTo>
                  <a:cubicBezTo>
                    <a:pt x="3" y="0"/>
                    <a:pt x="0" y="3"/>
                    <a:pt x="0" y="6"/>
                  </a:cubicBezTo>
                  <a:cubicBezTo>
                    <a:pt x="0" y="10"/>
                    <a:pt x="0" y="10"/>
                    <a:pt x="0" y="10"/>
                  </a:cubicBezTo>
                  <a:cubicBezTo>
                    <a:pt x="0" y="11"/>
                    <a:pt x="1" y="12"/>
                    <a:pt x="2" y="12"/>
                  </a:cubicBezTo>
                  <a:cubicBezTo>
                    <a:pt x="42" y="12"/>
                    <a:pt x="42" y="12"/>
                    <a:pt x="42" y="12"/>
                  </a:cubicBezTo>
                  <a:cubicBezTo>
                    <a:pt x="43" y="12"/>
                    <a:pt x="44" y="11"/>
                    <a:pt x="44" y="10"/>
                  </a:cubicBezTo>
                  <a:cubicBezTo>
                    <a:pt x="44" y="6"/>
                    <a:pt x="44" y="6"/>
                    <a:pt x="44" y="6"/>
                  </a:cubicBezTo>
                  <a:cubicBezTo>
                    <a:pt x="44" y="3"/>
                    <a:pt x="41"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31">
              <a:extLst>
                <a:ext uri="{FF2B5EF4-FFF2-40B4-BE49-F238E27FC236}">
                  <a16:creationId xmlns:a16="http://schemas.microsoft.com/office/drawing/2014/main" id="{C2F0ADE7-D9DB-462E-B09B-1BBF46F550AB}"/>
                </a:ext>
              </a:extLst>
            </p:cNvPr>
            <p:cNvSpPr>
              <a:spLocks/>
            </p:cNvSpPr>
            <p:nvPr/>
          </p:nvSpPr>
          <p:spPr bwMode="auto">
            <a:xfrm>
              <a:off x="4854576" y="2765425"/>
              <a:ext cx="134938" cy="44450"/>
            </a:xfrm>
            <a:custGeom>
              <a:avLst/>
              <a:gdLst>
                <a:gd name="T0" fmla="*/ 2 w 36"/>
                <a:gd name="T1" fmla="*/ 12 h 12"/>
                <a:gd name="T2" fmla="*/ 34 w 36"/>
                <a:gd name="T3" fmla="*/ 12 h 12"/>
                <a:gd name="T4" fmla="*/ 36 w 36"/>
                <a:gd name="T5" fmla="*/ 10 h 12"/>
                <a:gd name="T6" fmla="*/ 36 w 36"/>
                <a:gd name="T7" fmla="*/ 6 h 12"/>
                <a:gd name="T8" fmla="*/ 30 w 36"/>
                <a:gd name="T9" fmla="*/ 0 h 12"/>
                <a:gd name="T10" fmla="*/ 6 w 36"/>
                <a:gd name="T11" fmla="*/ 0 h 12"/>
                <a:gd name="T12" fmla="*/ 0 w 36"/>
                <a:gd name="T13" fmla="*/ 6 h 12"/>
                <a:gd name="T14" fmla="*/ 0 w 36"/>
                <a:gd name="T15" fmla="*/ 10 h 12"/>
                <a:gd name="T16" fmla="*/ 2 w 36"/>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
                  <a:moveTo>
                    <a:pt x="2" y="12"/>
                  </a:moveTo>
                  <a:cubicBezTo>
                    <a:pt x="34" y="12"/>
                    <a:pt x="34" y="12"/>
                    <a:pt x="34" y="12"/>
                  </a:cubicBezTo>
                  <a:cubicBezTo>
                    <a:pt x="35" y="12"/>
                    <a:pt x="36" y="11"/>
                    <a:pt x="36" y="10"/>
                  </a:cubicBezTo>
                  <a:cubicBezTo>
                    <a:pt x="36" y="6"/>
                    <a:pt x="36" y="6"/>
                    <a:pt x="36" y="6"/>
                  </a:cubicBezTo>
                  <a:cubicBezTo>
                    <a:pt x="36" y="3"/>
                    <a:pt x="33" y="0"/>
                    <a:pt x="30" y="0"/>
                  </a:cubicBezTo>
                  <a:cubicBezTo>
                    <a:pt x="6" y="0"/>
                    <a:pt x="6" y="0"/>
                    <a:pt x="6" y="0"/>
                  </a:cubicBezTo>
                  <a:cubicBezTo>
                    <a:pt x="3" y="0"/>
                    <a:pt x="0" y="3"/>
                    <a:pt x="0" y="6"/>
                  </a:cubicBezTo>
                  <a:cubicBezTo>
                    <a:pt x="0" y="10"/>
                    <a:pt x="0" y="10"/>
                    <a:pt x="0" y="10"/>
                  </a:cubicBezTo>
                  <a:cubicBezTo>
                    <a:pt x="0" y="11"/>
                    <a:pt x="1"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Freeform 32">
              <a:extLst>
                <a:ext uri="{FF2B5EF4-FFF2-40B4-BE49-F238E27FC236}">
                  <a16:creationId xmlns:a16="http://schemas.microsoft.com/office/drawing/2014/main" id="{5A55D513-EE43-4810-8E9D-F2E6EDF82270}"/>
                </a:ext>
              </a:extLst>
            </p:cNvPr>
            <p:cNvSpPr>
              <a:spLocks/>
            </p:cNvSpPr>
            <p:nvPr/>
          </p:nvSpPr>
          <p:spPr bwMode="auto">
            <a:xfrm>
              <a:off x="4900613" y="2619375"/>
              <a:ext cx="119063" cy="112713"/>
            </a:xfrm>
            <a:custGeom>
              <a:avLst/>
              <a:gdLst>
                <a:gd name="T0" fmla="*/ 11 w 32"/>
                <a:gd name="T1" fmla="*/ 2 h 30"/>
                <a:gd name="T2" fmla="*/ 7 w 32"/>
                <a:gd name="T3" fmla="*/ 0 h 30"/>
                <a:gd name="T4" fmla="*/ 1 w 32"/>
                <a:gd name="T5" fmla="*/ 4 h 30"/>
                <a:gd name="T6" fmla="*/ 3 w 32"/>
                <a:gd name="T7" fmla="*/ 10 h 30"/>
                <a:gd name="T8" fmla="*/ 21 w 32"/>
                <a:gd name="T9" fmla="*/ 28 h 30"/>
                <a:gd name="T10" fmla="*/ 25 w 32"/>
                <a:gd name="T11" fmla="*/ 30 h 30"/>
                <a:gd name="T12" fmla="*/ 31 w 32"/>
                <a:gd name="T13" fmla="*/ 26 h 30"/>
                <a:gd name="T14" fmla="*/ 29 w 32"/>
                <a:gd name="T15" fmla="*/ 20 h 30"/>
                <a:gd name="T16" fmla="*/ 11 w 32"/>
                <a:gd name="T1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0">
                  <a:moveTo>
                    <a:pt x="11" y="2"/>
                  </a:moveTo>
                  <a:cubicBezTo>
                    <a:pt x="10" y="0"/>
                    <a:pt x="9" y="0"/>
                    <a:pt x="7" y="0"/>
                  </a:cubicBezTo>
                  <a:cubicBezTo>
                    <a:pt x="5" y="0"/>
                    <a:pt x="2" y="2"/>
                    <a:pt x="1" y="4"/>
                  </a:cubicBezTo>
                  <a:cubicBezTo>
                    <a:pt x="0" y="6"/>
                    <a:pt x="1" y="9"/>
                    <a:pt x="3" y="10"/>
                  </a:cubicBezTo>
                  <a:cubicBezTo>
                    <a:pt x="21" y="28"/>
                    <a:pt x="21" y="28"/>
                    <a:pt x="21" y="28"/>
                  </a:cubicBezTo>
                  <a:cubicBezTo>
                    <a:pt x="22" y="30"/>
                    <a:pt x="23" y="30"/>
                    <a:pt x="25" y="30"/>
                  </a:cubicBezTo>
                  <a:cubicBezTo>
                    <a:pt x="27" y="30"/>
                    <a:pt x="30" y="28"/>
                    <a:pt x="31" y="26"/>
                  </a:cubicBezTo>
                  <a:cubicBezTo>
                    <a:pt x="32" y="24"/>
                    <a:pt x="31" y="21"/>
                    <a:pt x="29" y="20"/>
                  </a:cubicBez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33">
              <a:extLst>
                <a:ext uri="{FF2B5EF4-FFF2-40B4-BE49-F238E27FC236}">
                  <a16:creationId xmlns:a16="http://schemas.microsoft.com/office/drawing/2014/main" id="{B9A25460-9CFD-4545-9F3C-6B72E37090BA}"/>
                </a:ext>
              </a:extLst>
            </p:cNvPr>
            <p:cNvSpPr>
              <a:spLocks/>
            </p:cNvSpPr>
            <p:nvPr/>
          </p:nvSpPr>
          <p:spPr bwMode="auto">
            <a:xfrm>
              <a:off x="5005388" y="2513013"/>
              <a:ext cx="119063" cy="112713"/>
            </a:xfrm>
            <a:custGeom>
              <a:avLst/>
              <a:gdLst>
                <a:gd name="T0" fmla="*/ 21 w 32"/>
                <a:gd name="T1" fmla="*/ 28 h 30"/>
                <a:gd name="T2" fmla="*/ 25 w 32"/>
                <a:gd name="T3" fmla="*/ 30 h 30"/>
                <a:gd name="T4" fmla="*/ 31 w 32"/>
                <a:gd name="T5" fmla="*/ 26 h 30"/>
                <a:gd name="T6" fmla="*/ 29 w 32"/>
                <a:gd name="T7" fmla="*/ 20 h 30"/>
                <a:gd name="T8" fmla="*/ 11 w 32"/>
                <a:gd name="T9" fmla="*/ 2 h 30"/>
                <a:gd name="T10" fmla="*/ 7 w 32"/>
                <a:gd name="T11" fmla="*/ 0 h 30"/>
                <a:gd name="T12" fmla="*/ 1 w 32"/>
                <a:gd name="T13" fmla="*/ 4 h 30"/>
                <a:gd name="T14" fmla="*/ 3 w 32"/>
                <a:gd name="T15" fmla="*/ 10 h 30"/>
                <a:gd name="T16" fmla="*/ 21 w 32"/>
                <a:gd name="T1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0">
                  <a:moveTo>
                    <a:pt x="21" y="28"/>
                  </a:moveTo>
                  <a:cubicBezTo>
                    <a:pt x="22" y="30"/>
                    <a:pt x="23" y="30"/>
                    <a:pt x="25" y="30"/>
                  </a:cubicBezTo>
                  <a:cubicBezTo>
                    <a:pt x="27" y="30"/>
                    <a:pt x="30" y="28"/>
                    <a:pt x="31" y="26"/>
                  </a:cubicBezTo>
                  <a:cubicBezTo>
                    <a:pt x="32" y="24"/>
                    <a:pt x="31" y="21"/>
                    <a:pt x="29" y="20"/>
                  </a:cubicBezTo>
                  <a:cubicBezTo>
                    <a:pt x="11" y="2"/>
                    <a:pt x="11" y="2"/>
                    <a:pt x="11" y="2"/>
                  </a:cubicBezTo>
                  <a:cubicBezTo>
                    <a:pt x="10" y="0"/>
                    <a:pt x="9" y="0"/>
                    <a:pt x="7" y="0"/>
                  </a:cubicBezTo>
                  <a:cubicBezTo>
                    <a:pt x="5" y="0"/>
                    <a:pt x="2" y="2"/>
                    <a:pt x="1" y="4"/>
                  </a:cubicBezTo>
                  <a:cubicBezTo>
                    <a:pt x="0" y="6"/>
                    <a:pt x="1" y="9"/>
                    <a:pt x="3" y="10"/>
                  </a:cubicBez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34">
              <a:extLst>
                <a:ext uri="{FF2B5EF4-FFF2-40B4-BE49-F238E27FC236}">
                  <a16:creationId xmlns:a16="http://schemas.microsoft.com/office/drawing/2014/main" id="{D689183F-251A-404A-AADF-5552C84B822B}"/>
                </a:ext>
              </a:extLst>
            </p:cNvPr>
            <p:cNvSpPr>
              <a:spLocks/>
            </p:cNvSpPr>
            <p:nvPr/>
          </p:nvSpPr>
          <p:spPr bwMode="auto">
            <a:xfrm>
              <a:off x="4956176" y="2565400"/>
              <a:ext cx="244475" cy="244475"/>
            </a:xfrm>
            <a:custGeom>
              <a:avLst/>
              <a:gdLst>
                <a:gd name="T0" fmla="*/ 64 w 65"/>
                <a:gd name="T1" fmla="*/ 58 h 65"/>
                <a:gd name="T2" fmla="*/ 26 w 65"/>
                <a:gd name="T3" fmla="*/ 21 h 65"/>
                <a:gd name="T4" fmla="*/ 30 w 65"/>
                <a:gd name="T5" fmla="*/ 17 h 65"/>
                <a:gd name="T6" fmla="*/ 30 w 65"/>
                <a:gd name="T7" fmla="*/ 14 h 65"/>
                <a:gd name="T8" fmla="*/ 16 w 65"/>
                <a:gd name="T9" fmla="*/ 0 h 65"/>
                <a:gd name="T10" fmla="*/ 13 w 65"/>
                <a:gd name="T11" fmla="*/ 0 h 65"/>
                <a:gd name="T12" fmla="*/ 0 w 65"/>
                <a:gd name="T13" fmla="*/ 13 h 65"/>
                <a:gd name="T14" fmla="*/ 0 w 65"/>
                <a:gd name="T15" fmla="*/ 16 h 65"/>
                <a:gd name="T16" fmla="*/ 14 w 65"/>
                <a:gd name="T17" fmla="*/ 30 h 65"/>
                <a:gd name="T18" fmla="*/ 16 w 65"/>
                <a:gd name="T19" fmla="*/ 30 h 65"/>
                <a:gd name="T20" fmla="*/ 17 w 65"/>
                <a:gd name="T21" fmla="*/ 30 h 65"/>
                <a:gd name="T22" fmla="*/ 21 w 65"/>
                <a:gd name="T23" fmla="*/ 26 h 65"/>
                <a:gd name="T24" fmla="*/ 58 w 65"/>
                <a:gd name="T25" fmla="*/ 64 h 65"/>
                <a:gd name="T26" fmla="*/ 61 w 65"/>
                <a:gd name="T27" fmla="*/ 65 h 65"/>
                <a:gd name="T28" fmla="*/ 64 w 65"/>
                <a:gd name="T29" fmla="*/ 64 h 65"/>
                <a:gd name="T30" fmla="*/ 64 w 65"/>
                <a:gd name="T31"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65">
                  <a:moveTo>
                    <a:pt x="64" y="58"/>
                  </a:moveTo>
                  <a:cubicBezTo>
                    <a:pt x="26" y="21"/>
                    <a:pt x="26" y="21"/>
                    <a:pt x="26" y="21"/>
                  </a:cubicBezTo>
                  <a:cubicBezTo>
                    <a:pt x="30" y="17"/>
                    <a:pt x="30" y="17"/>
                    <a:pt x="30" y="17"/>
                  </a:cubicBezTo>
                  <a:cubicBezTo>
                    <a:pt x="30" y="16"/>
                    <a:pt x="30" y="15"/>
                    <a:pt x="30" y="14"/>
                  </a:cubicBezTo>
                  <a:cubicBezTo>
                    <a:pt x="16" y="0"/>
                    <a:pt x="16" y="0"/>
                    <a:pt x="16" y="0"/>
                  </a:cubicBezTo>
                  <a:cubicBezTo>
                    <a:pt x="15" y="0"/>
                    <a:pt x="13" y="0"/>
                    <a:pt x="13" y="0"/>
                  </a:cubicBezTo>
                  <a:cubicBezTo>
                    <a:pt x="0" y="13"/>
                    <a:pt x="0" y="13"/>
                    <a:pt x="0" y="13"/>
                  </a:cubicBezTo>
                  <a:cubicBezTo>
                    <a:pt x="0" y="14"/>
                    <a:pt x="0" y="15"/>
                    <a:pt x="0" y="16"/>
                  </a:cubicBezTo>
                  <a:cubicBezTo>
                    <a:pt x="14" y="30"/>
                    <a:pt x="14" y="30"/>
                    <a:pt x="14" y="30"/>
                  </a:cubicBezTo>
                  <a:cubicBezTo>
                    <a:pt x="15" y="30"/>
                    <a:pt x="15" y="30"/>
                    <a:pt x="16" y="30"/>
                  </a:cubicBezTo>
                  <a:cubicBezTo>
                    <a:pt x="16" y="30"/>
                    <a:pt x="17" y="30"/>
                    <a:pt x="17" y="30"/>
                  </a:cubicBezTo>
                  <a:cubicBezTo>
                    <a:pt x="21" y="26"/>
                    <a:pt x="21" y="26"/>
                    <a:pt x="21" y="26"/>
                  </a:cubicBezTo>
                  <a:cubicBezTo>
                    <a:pt x="58" y="64"/>
                    <a:pt x="58" y="64"/>
                    <a:pt x="58" y="64"/>
                  </a:cubicBezTo>
                  <a:cubicBezTo>
                    <a:pt x="59" y="65"/>
                    <a:pt x="60" y="65"/>
                    <a:pt x="61" y="65"/>
                  </a:cubicBezTo>
                  <a:cubicBezTo>
                    <a:pt x="62" y="65"/>
                    <a:pt x="63" y="65"/>
                    <a:pt x="64" y="64"/>
                  </a:cubicBezTo>
                  <a:cubicBezTo>
                    <a:pt x="65" y="62"/>
                    <a:pt x="65" y="60"/>
                    <a:pt x="64"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9" name="Group 68">
            <a:extLst>
              <a:ext uri="{FF2B5EF4-FFF2-40B4-BE49-F238E27FC236}">
                <a16:creationId xmlns:a16="http://schemas.microsoft.com/office/drawing/2014/main" id="{F0FC3C7E-B238-43CD-AF5F-6907E7E07C2C}"/>
              </a:ext>
            </a:extLst>
          </p:cNvPr>
          <p:cNvGrpSpPr/>
          <p:nvPr/>
        </p:nvGrpSpPr>
        <p:grpSpPr>
          <a:xfrm>
            <a:off x="5880000" y="2819550"/>
            <a:ext cx="432000" cy="432000"/>
            <a:chOff x="6997700" y="3970338"/>
            <a:chExt cx="360363" cy="361950"/>
          </a:xfrm>
          <a:solidFill>
            <a:srgbClr val="72BFC5"/>
          </a:solidFill>
        </p:grpSpPr>
        <p:sp>
          <p:nvSpPr>
            <p:cNvPr id="70" name="Freeform 132">
              <a:extLst>
                <a:ext uri="{FF2B5EF4-FFF2-40B4-BE49-F238E27FC236}">
                  <a16:creationId xmlns:a16="http://schemas.microsoft.com/office/drawing/2014/main" id="{EB2ED975-4221-4AAC-95C1-621F83DA2AB2}"/>
                </a:ext>
              </a:extLst>
            </p:cNvPr>
            <p:cNvSpPr>
              <a:spLocks noEditPoints="1"/>
            </p:cNvSpPr>
            <p:nvPr/>
          </p:nvSpPr>
          <p:spPr bwMode="auto">
            <a:xfrm>
              <a:off x="6997700" y="3970338"/>
              <a:ext cx="255588" cy="331788"/>
            </a:xfrm>
            <a:custGeom>
              <a:avLst/>
              <a:gdLst>
                <a:gd name="T0" fmla="*/ 48 w 68"/>
                <a:gd name="T1" fmla="*/ 69 h 88"/>
                <a:gd name="T2" fmla="*/ 68 w 68"/>
                <a:gd name="T3" fmla="*/ 48 h 88"/>
                <a:gd name="T4" fmla="*/ 68 w 68"/>
                <a:gd name="T5" fmla="*/ 22 h 88"/>
                <a:gd name="T6" fmla="*/ 67 w 68"/>
                <a:gd name="T7" fmla="*/ 21 h 88"/>
                <a:gd name="T8" fmla="*/ 47 w 68"/>
                <a:gd name="T9" fmla="*/ 1 h 88"/>
                <a:gd name="T10" fmla="*/ 46 w 68"/>
                <a:gd name="T11" fmla="*/ 0 h 88"/>
                <a:gd name="T12" fmla="*/ 2 w 68"/>
                <a:gd name="T13" fmla="*/ 0 h 88"/>
                <a:gd name="T14" fmla="*/ 0 w 68"/>
                <a:gd name="T15" fmla="*/ 2 h 88"/>
                <a:gd name="T16" fmla="*/ 0 w 68"/>
                <a:gd name="T17" fmla="*/ 86 h 88"/>
                <a:gd name="T18" fmla="*/ 2 w 68"/>
                <a:gd name="T19" fmla="*/ 88 h 88"/>
                <a:gd name="T20" fmla="*/ 60 w 68"/>
                <a:gd name="T21" fmla="*/ 88 h 88"/>
                <a:gd name="T22" fmla="*/ 48 w 68"/>
                <a:gd name="T23" fmla="*/ 69 h 88"/>
                <a:gd name="T24" fmla="*/ 46 w 68"/>
                <a:gd name="T25" fmla="*/ 2 h 88"/>
                <a:gd name="T26" fmla="*/ 66 w 68"/>
                <a:gd name="T27" fmla="*/ 22 h 88"/>
                <a:gd name="T28" fmla="*/ 46 w 68"/>
                <a:gd name="T29" fmla="*/ 22 h 88"/>
                <a:gd name="T30" fmla="*/ 46 w 68"/>
                <a:gd name="T31" fmla="*/ 2 h 88"/>
                <a:gd name="T32" fmla="*/ 14 w 68"/>
                <a:gd name="T33" fmla="*/ 24 h 88"/>
                <a:gd name="T34" fmla="*/ 32 w 68"/>
                <a:gd name="T35" fmla="*/ 24 h 88"/>
                <a:gd name="T36" fmla="*/ 34 w 68"/>
                <a:gd name="T37" fmla="*/ 26 h 88"/>
                <a:gd name="T38" fmla="*/ 32 w 68"/>
                <a:gd name="T39" fmla="*/ 28 h 88"/>
                <a:gd name="T40" fmla="*/ 14 w 68"/>
                <a:gd name="T41" fmla="*/ 28 h 88"/>
                <a:gd name="T42" fmla="*/ 12 w 68"/>
                <a:gd name="T43" fmla="*/ 26 h 88"/>
                <a:gd name="T44" fmla="*/ 14 w 68"/>
                <a:gd name="T45" fmla="*/ 24 h 88"/>
                <a:gd name="T46" fmla="*/ 34 w 68"/>
                <a:gd name="T47" fmla="*/ 64 h 88"/>
                <a:gd name="T48" fmla="*/ 14 w 68"/>
                <a:gd name="T49" fmla="*/ 64 h 88"/>
                <a:gd name="T50" fmla="*/ 12 w 68"/>
                <a:gd name="T51" fmla="*/ 62 h 88"/>
                <a:gd name="T52" fmla="*/ 14 w 68"/>
                <a:gd name="T53" fmla="*/ 60 h 88"/>
                <a:gd name="T54" fmla="*/ 34 w 68"/>
                <a:gd name="T55" fmla="*/ 60 h 88"/>
                <a:gd name="T56" fmla="*/ 36 w 68"/>
                <a:gd name="T57" fmla="*/ 62 h 88"/>
                <a:gd name="T58" fmla="*/ 34 w 68"/>
                <a:gd name="T59" fmla="*/ 64 h 88"/>
                <a:gd name="T60" fmla="*/ 38 w 68"/>
                <a:gd name="T61" fmla="*/ 52 h 88"/>
                <a:gd name="T62" fmla="*/ 14 w 68"/>
                <a:gd name="T63" fmla="*/ 52 h 88"/>
                <a:gd name="T64" fmla="*/ 12 w 68"/>
                <a:gd name="T65" fmla="*/ 50 h 88"/>
                <a:gd name="T66" fmla="*/ 14 w 68"/>
                <a:gd name="T67" fmla="*/ 48 h 88"/>
                <a:gd name="T68" fmla="*/ 38 w 68"/>
                <a:gd name="T69" fmla="*/ 48 h 88"/>
                <a:gd name="T70" fmla="*/ 40 w 68"/>
                <a:gd name="T71" fmla="*/ 50 h 88"/>
                <a:gd name="T72" fmla="*/ 38 w 68"/>
                <a:gd name="T73" fmla="*/ 52 h 88"/>
                <a:gd name="T74" fmla="*/ 46 w 68"/>
                <a:gd name="T75" fmla="*/ 40 h 88"/>
                <a:gd name="T76" fmla="*/ 14 w 68"/>
                <a:gd name="T77" fmla="*/ 40 h 88"/>
                <a:gd name="T78" fmla="*/ 12 w 68"/>
                <a:gd name="T79" fmla="*/ 38 h 88"/>
                <a:gd name="T80" fmla="*/ 14 w 68"/>
                <a:gd name="T81" fmla="*/ 36 h 88"/>
                <a:gd name="T82" fmla="*/ 46 w 68"/>
                <a:gd name="T83" fmla="*/ 36 h 88"/>
                <a:gd name="T84" fmla="*/ 48 w 68"/>
                <a:gd name="T85" fmla="*/ 38 h 88"/>
                <a:gd name="T86" fmla="*/ 46 w 68"/>
                <a:gd name="T87"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88">
                  <a:moveTo>
                    <a:pt x="48" y="69"/>
                  </a:moveTo>
                  <a:cubicBezTo>
                    <a:pt x="48" y="58"/>
                    <a:pt x="57" y="49"/>
                    <a:pt x="68" y="48"/>
                  </a:cubicBezTo>
                  <a:cubicBezTo>
                    <a:pt x="68" y="22"/>
                    <a:pt x="68" y="22"/>
                    <a:pt x="68" y="22"/>
                  </a:cubicBezTo>
                  <a:cubicBezTo>
                    <a:pt x="68" y="21"/>
                    <a:pt x="68" y="21"/>
                    <a:pt x="67" y="21"/>
                  </a:cubicBezTo>
                  <a:cubicBezTo>
                    <a:pt x="47" y="1"/>
                    <a:pt x="47" y="1"/>
                    <a:pt x="47" y="1"/>
                  </a:cubicBezTo>
                  <a:cubicBezTo>
                    <a:pt x="47" y="0"/>
                    <a:pt x="47" y="0"/>
                    <a:pt x="46" y="0"/>
                  </a:cubicBezTo>
                  <a:cubicBezTo>
                    <a:pt x="2" y="0"/>
                    <a:pt x="2" y="0"/>
                    <a:pt x="2" y="0"/>
                  </a:cubicBezTo>
                  <a:cubicBezTo>
                    <a:pt x="1" y="0"/>
                    <a:pt x="0" y="1"/>
                    <a:pt x="0" y="2"/>
                  </a:cubicBezTo>
                  <a:cubicBezTo>
                    <a:pt x="0" y="86"/>
                    <a:pt x="0" y="86"/>
                    <a:pt x="0" y="86"/>
                  </a:cubicBezTo>
                  <a:cubicBezTo>
                    <a:pt x="0" y="87"/>
                    <a:pt x="1" y="88"/>
                    <a:pt x="2" y="88"/>
                  </a:cubicBezTo>
                  <a:cubicBezTo>
                    <a:pt x="60" y="88"/>
                    <a:pt x="60" y="88"/>
                    <a:pt x="60" y="88"/>
                  </a:cubicBezTo>
                  <a:cubicBezTo>
                    <a:pt x="53" y="84"/>
                    <a:pt x="48" y="77"/>
                    <a:pt x="48" y="69"/>
                  </a:cubicBezTo>
                  <a:close/>
                  <a:moveTo>
                    <a:pt x="46" y="2"/>
                  </a:moveTo>
                  <a:cubicBezTo>
                    <a:pt x="66" y="22"/>
                    <a:pt x="66" y="22"/>
                    <a:pt x="66" y="22"/>
                  </a:cubicBezTo>
                  <a:cubicBezTo>
                    <a:pt x="46" y="22"/>
                    <a:pt x="46" y="22"/>
                    <a:pt x="46" y="22"/>
                  </a:cubicBezTo>
                  <a:lnTo>
                    <a:pt x="46" y="2"/>
                  </a:lnTo>
                  <a:close/>
                  <a:moveTo>
                    <a:pt x="14" y="24"/>
                  </a:moveTo>
                  <a:cubicBezTo>
                    <a:pt x="32" y="24"/>
                    <a:pt x="32" y="24"/>
                    <a:pt x="32" y="24"/>
                  </a:cubicBezTo>
                  <a:cubicBezTo>
                    <a:pt x="33" y="24"/>
                    <a:pt x="34" y="25"/>
                    <a:pt x="34" y="26"/>
                  </a:cubicBezTo>
                  <a:cubicBezTo>
                    <a:pt x="34" y="27"/>
                    <a:pt x="33" y="28"/>
                    <a:pt x="32" y="28"/>
                  </a:cubicBezTo>
                  <a:cubicBezTo>
                    <a:pt x="14" y="28"/>
                    <a:pt x="14" y="28"/>
                    <a:pt x="14" y="28"/>
                  </a:cubicBezTo>
                  <a:cubicBezTo>
                    <a:pt x="13" y="28"/>
                    <a:pt x="12" y="27"/>
                    <a:pt x="12" y="26"/>
                  </a:cubicBezTo>
                  <a:cubicBezTo>
                    <a:pt x="12" y="25"/>
                    <a:pt x="13" y="24"/>
                    <a:pt x="14" y="24"/>
                  </a:cubicBezTo>
                  <a:close/>
                  <a:moveTo>
                    <a:pt x="34" y="64"/>
                  </a:moveTo>
                  <a:cubicBezTo>
                    <a:pt x="14" y="64"/>
                    <a:pt x="14" y="64"/>
                    <a:pt x="14" y="64"/>
                  </a:cubicBezTo>
                  <a:cubicBezTo>
                    <a:pt x="13" y="64"/>
                    <a:pt x="12" y="63"/>
                    <a:pt x="12" y="62"/>
                  </a:cubicBezTo>
                  <a:cubicBezTo>
                    <a:pt x="12" y="61"/>
                    <a:pt x="13" y="60"/>
                    <a:pt x="14" y="60"/>
                  </a:cubicBezTo>
                  <a:cubicBezTo>
                    <a:pt x="34" y="60"/>
                    <a:pt x="34" y="60"/>
                    <a:pt x="34" y="60"/>
                  </a:cubicBezTo>
                  <a:cubicBezTo>
                    <a:pt x="35" y="60"/>
                    <a:pt x="36" y="61"/>
                    <a:pt x="36" y="62"/>
                  </a:cubicBezTo>
                  <a:cubicBezTo>
                    <a:pt x="36" y="63"/>
                    <a:pt x="35" y="64"/>
                    <a:pt x="34" y="64"/>
                  </a:cubicBezTo>
                  <a:close/>
                  <a:moveTo>
                    <a:pt x="38" y="52"/>
                  </a:moveTo>
                  <a:cubicBezTo>
                    <a:pt x="14" y="52"/>
                    <a:pt x="14" y="52"/>
                    <a:pt x="14" y="52"/>
                  </a:cubicBezTo>
                  <a:cubicBezTo>
                    <a:pt x="13" y="52"/>
                    <a:pt x="12" y="51"/>
                    <a:pt x="12" y="50"/>
                  </a:cubicBezTo>
                  <a:cubicBezTo>
                    <a:pt x="12" y="49"/>
                    <a:pt x="13" y="48"/>
                    <a:pt x="14" y="48"/>
                  </a:cubicBezTo>
                  <a:cubicBezTo>
                    <a:pt x="38" y="48"/>
                    <a:pt x="38" y="48"/>
                    <a:pt x="38" y="48"/>
                  </a:cubicBezTo>
                  <a:cubicBezTo>
                    <a:pt x="39" y="48"/>
                    <a:pt x="40" y="49"/>
                    <a:pt x="40" y="50"/>
                  </a:cubicBezTo>
                  <a:cubicBezTo>
                    <a:pt x="40" y="51"/>
                    <a:pt x="39" y="52"/>
                    <a:pt x="38" y="52"/>
                  </a:cubicBezTo>
                  <a:close/>
                  <a:moveTo>
                    <a:pt x="46" y="40"/>
                  </a:moveTo>
                  <a:cubicBezTo>
                    <a:pt x="14" y="40"/>
                    <a:pt x="14" y="40"/>
                    <a:pt x="14" y="40"/>
                  </a:cubicBezTo>
                  <a:cubicBezTo>
                    <a:pt x="13" y="40"/>
                    <a:pt x="12" y="39"/>
                    <a:pt x="12" y="38"/>
                  </a:cubicBezTo>
                  <a:cubicBezTo>
                    <a:pt x="12" y="37"/>
                    <a:pt x="13" y="36"/>
                    <a:pt x="14" y="36"/>
                  </a:cubicBezTo>
                  <a:cubicBezTo>
                    <a:pt x="46" y="36"/>
                    <a:pt x="46" y="36"/>
                    <a:pt x="46" y="36"/>
                  </a:cubicBezTo>
                  <a:cubicBezTo>
                    <a:pt x="47" y="36"/>
                    <a:pt x="48" y="37"/>
                    <a:pt x="48" y="38"/>
                  </a:cubicBezTo>
                  <a:cubicBezTo>
                    <a:pt x="48" y="39"/>
                    <a:pt x="47" y="40"/>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133">
              <a:extLst>
                <a:ext uri="{FF2B5EF4-FFF2-40B4-BE49-F238E27FC236}">
                  <a16:creationId xmlns:a16="http://schemas.microsoft.com/office/drawing/2014/main" id="{D7201C0E-F4E8-4F90-8585-D9B801FB7281}"/>
                </a:ext>
              </a:extLst>
            </p:cNvPr>
            <p:cNvSpPr>
              <a:spLocks noEditPoints="1"/>
            </p:cNvSpPr>
            <p:nvPr/>
          </p:nvSpPr>
          <p:spPr bwMode="auto">
            <a:xfrm>
              <a:off x="7192963" y="4165600"/>
              <a:ext cx="165100" cy="166688"/>
            </a:xfrm>
            <a:custGeom>
              <a:avLst/>
              <a:gdLst>
                <a:gd name="T0" fmla="*/ 43 w 44"/>
                <a:gd name="T1" fmla="*/ 41 h 44"/>
                <a:gd name="T2" fmla="*/ 31 w 44"/>
                <a:gd name="T3" fmla="*/ 28 h 44"/>
                <a:gd name="T4" fmla="*/ 34 w 44"/>
                <a:gd name="T5" fmla="*/ 17 h 44"/>
                <a:gd name="T6" fmla="*/ 17 w 44"/>
                <a:gd name="T7" fmla="*/ 0 h 44"/>
                <a:gd name="T8" fmla="*/ 0 w 44"/>
                <a:gd name="T9" fmla="*/ 17 h 44"/>
                <a:gd name="T10" fmla="*/ 17 w 44"/>
                <a:gd name="T11" fmla="*/ 34 h 44"/>
                <a:gd name="T12" fmla="*/ 28 w 44"/>
                <a:gd name="T13" fmla="*/ 31 h 44"/>
                <a:gd name="T14" fmla="*/ 41 w 44"/>
                <a:gd name="T15" fmla="*/ 43 h 44"/>
                <a:gd name="T16" fmla="*/ 42 w 44"/>
                <a:gd name="T17" fmla="*/ 44 h 44"/>
                <a:gd name="T18" fmla="*/ 43 w 44"/>
                <a:gd name="T19" fmla="*/ 43 h 44"/>
                <a:gd name="T20" fmla="*/ 43 w 44"/>
                <a:gd name="T21" fmla="*/ 41 h 44"/>
                <a:gd name="T22" fmla="*/ 4 w 44"/>
                <a:gd name="T23" fmla="*/ 17 h 44"/>
                <a:gd name="T24" fmla="*/ 17 w 44"/>
                <a:gd name="T25" fmla="*/ 4 h 44"/>
                <a:gd name="T26" fmla="*/ 30 w 44"/>
                <a:gd name="T27" fmla="*/ 17 h 44"/>
                <a:gd name="T28" fmla="*/ 17 w 44"/>
                <a:gd name="T29" fmla="*/ 30 h 44"/>
                <a:gd name="T30" fmla="*/ 4 w 44"/>
                <a:gd name="T31" fmla="*/ 1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4">
                  <a:moveTo>
                    <a:pt x="43" y="41"/>
                  </a:moveTo>
                  <a:cubicBezTo>
                    <a:pt x="31" y="28"/>
                    <a:pt x="31" y="28"/>
                    <a:pt x="31" y="28"/>
                  </a:cubicBezTo>
                  <a:cubicBezTo>
                    <a:pt x="33" y="25"/>
                    <a:pt x="34" y="21"/>
                    <a:pt x="34" y="17"/>
                  </a:cubicBezTo>
                  <a:cubicBezTo>
                    <a:pt x="34" y="8"/>
                    <a:pt x="27" y="0"/>
                    <a:pt x="17" y="0"/>
                  </a:cubicBezTo>
                  <a:cubicBezTo>
                    <a:pt x="8" y="0"/>
                    <a:pt x="0" y="8"/>
                    <a:pt x="0" y="17"/>
                  </a:cubicBezTo>
                  <a:cubicBezTo>
                    <a:pt x="0" y="27"/>
                    <a:pt x="8" y="34"/>
                    <a:pt x="17" y="34"/>
                  </a:cubicBezTo>
                  <a:cubicBezTo>
                    <a:pt x="21" y="34"/>
                    <a:pt x="25" y="33"/>
                    <a:pt x="28" y="31"/>
                  </a:cubicBezTo>
                  <a:cubicBezTo>
                    <a:pt x="41" y="43"/>
                    <a:pt x="41" y="43"/>
                    <a:pt x="41" y="43"/>
                  </a:cubicBezTo>
                  <a:cubicBezTo>
                    <a:pt x="41" y="44"/>
                    <a:pt x="41" y="44"/>
                    <a:pt x="42" y="44"/>
                  </a:cubicBezTo>
                  <a:cubicBezTo>
                    <a:pt x="43" y="44"/>
                    <a:pt x="43" y="44"/>
                    <a:pt x="43" y="43"/>
                  </a:cubicBezTo>
                  <a:cubicBezTo>
                    <a:pt x="44" y="43"/>
                    <a:pt x="44" y="41"/>
                    <a:pt x="43" y="41"/>
                  </a:cubicBezTo>
                  <a:close/>
                  <a:moveTo>
                    <a:pt x="4" y="17"/>
                  </a:moveTo>
                  <a:cubicBezTo>
                    <a:pt x="4" y="10"/>
                    <a:pt x="10" y="4"/>
                    <a:pt x="17" y="4"/>
                  </a:cubicBezTo>
                  <a:cubicBezTo>
                    <a:pt x="25" y="4"/>
                    <a:pt x="30" y="10"/>
                    <a:pt x="30" y="17"/>
                  </a:cubicBezTo>
                  <a:cubicBezTo>
                    <a:pt x="30" y="25"/>
                    <a:pt x="25" y="30"/>
                    <a:pt x="17" y="30"/>
                  </a:cubicBezTo>
                  <a:cubicBezTo>
                    <a:pt x="10" y="30"/>
                    <a:pt x="4" y="25"/>
                    <a:pt x="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3" name="Group 72">
            <a:extLst>
              <a:ext uri="{FF2B5EF4-FFF2-40B4-BE49-F238E27FC236}">
                <a16:creationId xmlns:a16="http://schemas.microsoft.com/office/drawing/2014/main" id="{15058BD7-5B53-4206-8079-8C5CB052EB84}"/>
              </a:ext>
            </a:extLst>
          </p:cNvPr>
          <p:cNvGrpSpPr/>
          <p:nvPr/>
        </p:nvGrpSpPr>
        <p:grpSpPr>
          <a:xfrm>
            <a:off x="2561695" y="2819550"/>
            <a:ext cx="432000" cy="432000"/>
            <a:chOff x="3390900" y="2887663"/>
            <a:chExt cx="361951" cy="360363"/>
          </a:xfrm>
          <a:solidFill>
            <a:srgbClr val="9ED3D7"/>
          </a:solidFill>
        </p:grpSpPr>
        <p:sp>
          <p:nvSpPr>
            <p:cNvPr id="74" name="Freeform 27">
              <a:extLst>
                <a:ext uri="{FF2B5EF4-FFF2-40B4-BE49-F238E27FC236}">
                  <a16:creationId xmlns:a16="http://schemas.microsoft.com/office/drawing/2014/main" id="{1E170AEF-D3C3-4051-85D5-C0D8289BEE77}"/>
                </a:ext>
              </a:extLst>
            </p:cNvPr>
            <p:cNvSpPr>
              <a:spLocks/>
            </p:cNvSpPr>
            <p:nvPr/>
          </p:nvSpPr>
          <p:spPr bwMode="auto">
            <a:xfrm>
              <a:off x="3586163" y="2936876"/>
              <a:ext cx="166688" cy="115888"/>
            </a:xfrm>
            <a:custGeom>
              <a:avLst/>
              <a:gdLst>
                <a:gd name="T0" fmla="*/ 39 w 44"/>
                <a:gd name="T1" fmla="*/ 20 h 31"/>
                <a:gd name="T2" fmla="*/ 30 w 44"/>
                <a:gd name="T3" fmla="*/ 17 h 31"/>
                <a:gd name="T4" fmla="*/ 30 w 44"/>
                <a:gd name="T5" fmla="*/ 14 h 31"/>
                <a:gd name="T6" fmla="*/ 36 w 44"/>
                <a:gd name="T7" fmla="*/ 2 h 31"/>
                <a:gd name="T8" fmla="*/ 24 w 44"/>
                <a:gd name="T9" fmla="*/ 0 h 31"/>
                <a:gd name="T10" fmla="*/ 8 w 44"/>
                <a:gd name="T11" fmla="*/ 1 h 31"/>
                <a:gd name="T12" fmla="*/ 8 w 44"/>
                <a:gd name="T13" fmla="*/ 2 h 31"/>
                <a:gd name="T14" fmla="*/ 14 w 44"/>
                <a:gd name="T15" fmla="*/ 14 h 31"/>
                <a:gd name="T16" fmla="*/ 14 w 44"/>
                <a:gd name="T17" fmla="*/ 17 h 31"/>
                <a:gd name="T18" fmla="*/ 5 w 44"/>
                <a:gd name="T19" fmla="*/ 20 h 31"/>
                <a:gd name="T20" fmla="*/ 0 w 44"/>
                <a:gd name="T21" fmla="*/ 27 h 31"/>
                <a:gd name="T22" fmla="*/ 0 w 44"/>
                <a:gd name="T23" fmla="*/ 31 h 31"/>
                <a:gd name="T24" fmla="*/ 44 w 44"/>
                <a:gd name="T25" fmla="*/ 31 h 31"/>
                <a:gd name="T26" fmla="*/ 44 w 44"/>
                <a:gd name="T27" fmla="*/ 27 h 31"/>
                <a:gd name="T28" fmla="*/ 39 w 44"/>
                <a:gd name="T29"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39" y="20"/>
                  </a:moveTo>
                  <a:cubicBezTo>
                    <a:pt x="30" y="17"/>
                    <a:pt x="30" y="17"/>
                    <a:pt x="30" y="17"/>
                  </a:cubicBezTo>
                  <a:cubicBezTo>
                    <a:pt x="30" y="14"/>
                    <a:pt x="30" y="14"/>
                    <a:pt x="30" y="14"/>
                  </a:cubicBezTo>
                  <a:cubicBezTo>
                    <a:pt x="34" y="12"/>
                    <a:pt x="36" y="7"/>
                    <a:pt x="36" y="2"/>
                  </a:cubicBezTo>
                  <a:cubicBezTo>
                    <a:pt x="32" y="3"/>
                    <a:pt x="27" y="3"/>
                    <a:pt x="24" y="0"/>
                  </a:cubicBezTo>
                  <a:cubicBezTo>
                    <a:pt x="19" y="3"/>
                    <a:pt x="13" y="3"/>
                    <a:pt x="8" y="1"/>
                  </a:cubicBezTo>
                  <a:cubicBezTo>
                    <a:pt x="8" y="1"/>
                    <a:pt x="8" y="2"/>
                    <a:pt x="8" y="2"/>
                  </a:cubicBezTo>
                  <a:cubicBezTo>
                    <a:pt x="8" y="7"/>
                    <a:pt x="10" y="12"/>
                    <a:pt x="14" y="14"/>
                  </a:cubicBezTo>
                  <a:cubicBezTo>
                    <a:pt x="14" y="17"/>
                    <a:pt x="14" y="17"/>
                    <a:pt x="14" y="17"/>
                  </a:cubicBezTo>
                  <a:cubicBezTo>
                    <a:pt x="5" y="20"/>
                    <a:pt x="5" y="20"/>
                    <a:pt x="5" y="20"/>
                  </a:cubicBezTo>
                  <a:cubicBezTo>
                    <a:pt x="2" y="21"/>
                    <a:pt x="0" y="24"/>
                    <a:pt x="0" y="27"/>
                  </a:cubicBezTo>
                  <a:cubicBezTo>
                    <a:pt x="0" y="31"/>
                    <a:pt x="0" y="31"/>
                    <a:pt x="0" y="31"/>
                  </a:cubicBezTo>
                  <a:cubicBezTo>
                    <a:pt x="44" y="31"/>
                    <a:pt x="44" y="31"/>
                    <a:pt x="44" y="31"/>
                  </a:cubicBezTo>
                  <a:cubicBezTo>
                    <a:pt x="44" y="27"/>
                    <a:pt x="44" y="27"/>
                    <a:pt x="44" y="27"/>
                  </a:cubicBezTo>
                  <a:cubicBezTo>
                    <a:pt x="44" y="24"/>
                    <a:pt x="42" y="21"/>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28">
              <a:extLst>
                <a:ext uri="{FF2B5EF4-FFF2-40B4-BE49-F238E27FC236}">
                  <a16:creationId xmlns:a16="http://schemas.microsoft.com/office/drawing/2014/main" id="{27D12FD8-5FEF-42CB-B51B-D51C4E6412B6}"/>
                </a:ext>
              </a:extLst>
            </p:cNvPr>
            <p:cNvSpPr>
              <a:spLocks/>
            </p:cNvSpPr>
            <p:nvPr/>
          </p:nvSpPr>
          <p:spPr bwMode="auto">
            <a:xfrm>
              <a:off x="3621088" y="2887663"/>
              <a:ext cx="96838" cy="44450"/>
            </a:xfrm>
            <a:custGeom>
              <a:avLst/>
              <a:gdLst>
                <a:gd name="T0" fmla="*/ 14 w 26"/>
                <a:gd name="T1" fmla="*/ 9 h 12"/>
                <a:gd name="T2" fmla="*/ 15 w 26"/>
                <a:gd name="T3" fmla="*/ 9 h 12"/>
                <a:gd name="T4" fmla="*/ 17 w 26"/>
                <a:gd name="T5" fmla="*/ 10 h 12"/>
                <a:gd name="T6" fmla="*/ 26 w 26"/>
                <a:gd name="T7" fmla="*/ 11 h 12"/>
                <a:gd name="T8" fmla="*/ 13 w 26"/>
                <a:gd name="T9" fmla="*/ 0 h 12"/>
                <a:gd name="T10" fmla="*/ 0 w 26"/>
                <a:gd name="T11" fmla="*/ 10 h 12"/>
                <a:gd name="T12" fmla="*/ 14 w 26"/>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14" y="9"/>
                  </a:moveTo>
                  <a:cubicBezTo>
                    <a:pt x="14" y="9"/>
                    <a:pt x="15" y="9"/>
                    <a:pt x="15" y="9"/>
                  </a:cubicBezTo>
                  <a:cubicBezTo>
                    <a:pt x="16" y="9"/>
                    <a:pt x="16" y="9"/>
                    <a:pt x="17" y="10"/>
                  </a:cubicBezTo>
                  <a:cubicBezTo>
                    <a:pt x="18" y="12"/>
                    <a:pt x="24" y="12"/>
                    <a:pt x="26" y="11"/>
                  </a:cubicBezTo>
                  <a:cubicBezTo>
                    <a:pt x="25" y="5"/>
                    <a:pt x="19" y="0"/>
                    <a:pt x="13" y="0"/>
                  </a:cubicBezTo>
                  <a:cubicBezTo>
                    <a:pt x="7" y="0"/>
                    <a:pt x="2" y="4"/>
                    <a:pt x="0" y="10"/>
                  </a:cubicBezTo>
                  <a:cubicBezTo>
                    <a:pt x="4" y="12"/>
                    <a:pt x="11" y="12"/>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29">
              <a:extLst>
                <a:ext uri="{FF2B5EF4-FFF2-40B4-BE49-F238E27FC236}">
                  <a16:creationId xmlns:a16="http://schemas.microsoft.com/office/drawing/2014/main" id="{E29A2692-C521-449C-9047-1142E80DC9C6}"/>
                </a:ext>
              </a:extLst>
            </p:cNvPr>
            <p:cNvSpPr>
              <a:spLocks/>
            </p:cNvSpPr>
            <p:nvPr/>
          </p:nvSpPr>
          <p:spPr bwMode="auto">
            <a:xfrm>
              <a:off x="3522663" y="3082926"/>
              <a:ext cx="98425" cy="46038"/>
            </a:xfrm>
            <a:custGeom>
              <a:avLst/>
              <a:gdLst>
                <a:gd name="T0" fmla="*/ 0 w 26"/>
                <a:gd name="T1" fmla="*/ 10 h 12"/>
                <a:gd name="T2" fmla="*/ 14 w 26"/>
                <a:gd name="T3" fmla="*/ 9 h 12"/>
                <a:gd name="T4" fmla="*/ 15 w 26"/>
                <a:gd name="T5" fmla="*/ 9 h 12"/>
                <a:gd name="T6" fmla="*/ 17 w 26"/>
                <a:gd name="T7" fmla="*/ 10 h 12"/>
                <a:gd name="T8" fmla="*/ 26 w 26"/>
                <a:gd name="T9" fmla="*/ 11 h 12"/>
                <a:gd name="T10" fmla="*/ 13 w 26"/>
                <a:gd name="T11" fmla="*/ 0 h 12"/>
                <a:gd name="T12" fmla="*/ 0 w 26"/>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0" y="10"/>
                  </a:moveTo>
                  <a:cubicBezTo>
                    <a:pt x="4" y="12"/>
                    <a:pt x="11" y="12"/>
                    <a:pt x="14" y="9"/>
                  </a:cubicBezTo>
                  <a:cubicBezTo>
                    <a:pt x="14" y="9"/>
                    <a:pt x="15" y="9"/>
                    <a:pt x="15" y="9"/>
                  </a:cubicBezTo>
                  <a:cubicBezTo>
                    <a:pt x="16" y="9"/>
                    <a:pt x="16" y="9"/>
                    <a:pt x="17" y="10"/>
                  </a:cubicBezTo>
                  <a:cubicBezTo>
                    <a:pt x="18" y="12"/>
                    <a:pt x="24" y="12"/>
                    <a:pt x="26" y="11"/>
                  </a:cubicBezTo>
                  <a:cubicBezTo>
                    <a:pt x="25" y="5"/>
                    <a:pt x="19" y="0"/>
                    <a:pt x="13" y="0"/>
                  </a:cubicBezTo>
                  <a:cubicBezTo>
                    <a:pt x="7" y="0"/>
                    <a:pt x="2" y="4"/>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30">
              <a:extLst>
                <a:ext uri="{FF2B5EF4-FFF2-40B4-BE49-F238E27FC236}">
                  <a16:creationId xmlns:a16="http://schemas.microsoft.com/office/drawing/2014/main" id="{A49240E6-6CEE-40D2-9D24-DA6CABF9F6AB}"/>
                </a:ext>
              </a:extLst>
            </p:cNvPr>
            <p:cNvSpPr>
              <a:spLocks/>
            </p:cNvSpPr>
            <p:nvPr/>
          </p:nvSpPr>
          <p:spPr bwMode="auto">
            <a:xfrm>
              <a:off x="3489325" y="3132138"/>
              <a:ext cx="165100" cy="115888"/>
            </a:xfrm>
            <a:custGeom>
              <a:avLst/>
              <a:gdLst>
                <a:gd name="T0" fmla="*/ 39 w 44"/>
                <a:gd name="T1" fmla="*/ 20 h 31"/>
                <a:gd name="T2" fmla="*/ 30 w 44"/>
                <a:gd name="T3" fmla="*/ 17 h 31"/>
                <a:gd name="T4" fmla="*/ 30 w 44"/>
                <a:gd name="T5" fmla="*/ 14 h 31"/>
                <a:gd name="T6" fmla="*/ 36 w 44"/>
                <a:gd name="T7" fmla="*/ 2 h 31"/>
                <a:gd name="T8" fmla="*/ 24 w 44"/>
                <a:gd name="T9" fmla="*/ 0 h 31"/>
                <a:gd name="T10" fmla="*/ 8 w 44"/>
                <a:gd name="T11" fmla="*/ 1 h 31"/>
                <a:gd name="T12" fmla="*/ 8 w 44"/>
                <a:gd name="T13" fmla="*/ 2 h 31"/>
                <a:gd name="T14" fmla="*/ 14 w 44"/>
                <a:gd name="T15" fmla="*/ 14 h 31"/>
                <a:gd name="T16" fmla="*/ 14 w 44"/>
                <a:gd name="T17" fmla="*/ 17 h 31"/>
                <a:gd name="T18" fmla="*/ 5 w 44"/>
                <a:gd name="T19" fmla="*/ 20 h 31"/>
                <a:gd name="T20" fmla="*/ 0 w 44"/>
                <a:gd name="T21" fmla="*/ 27 h 31"/>
                <a:gd name="T22" fmla="*/ 0 w 44"/>
                <a:gd name="T23" fmla="*/ 31 h 31"/>
                <a:gd name="T24" fmla="*/ 44 w 44"/>
                <a:gd name="T25" fmla="*/ 31 h 31"/>
                <a:gd name="T26" fmla="*/ 44 w 44"/>
                <a:gd name="T27" fmla="*/ 27 h 31"/>
                <a:gd name="T28" fmla="*/ 39 w 44"/>
                <a:gd name="T29"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39" y="20"/>
                  </a:moveTo>
                  <a:cubicBezTo>
                    <a:pt x="30" y="17"/>
                    <a:pt x="30" y="17"/>
                    <a:pt x="30" y="17"/>
                  </a:cubicBezTo>
                  <a:cubicBezTo>
                    <a:pt x="30" y="14"/>
                    <a:pt x="30" y="14"/>
                    <a:pt x="30" y="14"/>
                  </a:cubicBezTo>
                  <a:cubicBezTo>
                    <a:pt x="34" y="12"/>
                    <a:pt x="36" y="7"/>
                    <a:pt x="36" y="2"/>
                  </a:cubicBezTo>
                  <a:cubicBezTo>
                    <a:pt x="32" y="3"/>
                    <a:pt x="27" y="3"/>
                    <a:pt x="24" y="0"/>
                  </a:cubicBezTo>
                  <a:cubicBezTo>
                    <a:pt x="19" y="3"/>
                    <a:pt x="13" y="3"/>
                    <a:pt x="8" y="1"/>
                  </a:cubicBezTo>
                  <a:cubicBezTo>
                    <a:pt x="8" y="1"/>
                    <a:pt x="8" y="2"/>
                    <a:pt x="8" y="2"/>
                  </a:cubicBezTo>
                  <a:cubicBezTo>
                    <a:pt x="8" y="7"/>
                    <a:pt x="10" y="12"/>
                    <a:pt x="14" y="14"/>
                  </a:cubicBezTo>
                  <a:cubicBezTo>
                    <a:pt x="14" y="17"/>
                    <a:pt x="14" y="17"/>
                    <a:pt x="14" y="17"/>
                  </a:cubicBezTo>
                  <a:cubicBezTo>
                    <a:pt x="5" y="20"/>
                    <a:pt x="5" y="20"/>
                    <a:pt x="5" y="20"/>
                  </a:cubicBezTo>
                  <a:cubicBezTo>
                    <a:pt x="2" y="21"/>
                    <a:pt x="0" y="24"/>
                    <a:pt x="0" y="27"/>
                  </a:cubicBezTo>
                  <a:cubicBezTo>
                    <a:pt x="0" y="31"/>
                    <a:pt x="0" y="31"/>
                    <a:pt x="0" y="31"/>
                  </a:cubicBezTo>
                  <a:cubicBezTo>
                    <a:pt x="44" y="31"/>
                    <a:pt x="44" y="31"/>
                    <a:pt x="44" y="31"/>
                  </a:cubicBezTo>
                  <a:cubicBezTo>
                    <a:pt x="44" y="27"/>
                    <a:pt x="44" y="27"/>
                    <a:pt x="44" y="27"/>
                  </a:cubicBezTo>
                  <a:cubicBezTo>
                    <a:pt x="44" y="24"/>
                    <a:pt x="42" y="21"/>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31">
              <a:extLst>
                <a:ext uri="{FF2B5EF4-FFF2-40B4-BE49-F238E27FC236}">
                  <a16:creationId xmlns:a16="http://schemas.microsoft.com/office/drawing/2014/main" id="{09F8E789-83E8-42ED-9F15-920D40549BB2}"/>
                </a:ext>
              </a:extLst>
            </p:cNvPr>
            <p:cNvSpPr>
              <a:spLocks/>
            </p:cNvSpPr>
            <p:nvPr/>
          </p:nvSpPr>
          <p:spPr bwMode="auto">
            <a:xfrm>
              <a:off x="3390900" y="2936876"/>
              <a:ext cx="166688" cy="115888"/>
            </a:xfrm>
            <a:custGeom>
              <a:avLst/>
              <a:gdLst>
                <a:gd name="T0" fmla="*/ 44 w 44"/>
                <a:gd name="T1" fmla="*/ 27 h 31"/>
                <a:gd name="T2" fmla="*/ 39 w 44"/>
                <a:gd name="T3" fmla="*/ 20 h 31"/>
                <a:gd name="T4" fmla="*/ 30 w 44"/>
                <a:gd name="T5" fmla="*/ 17 h 31"/>
                <a:gd name="T6" fmla="*/ 30 w 44"/>
                <a:gd name="T7" fmla="*/ 14 h 31"/>
                <a:gd name="T8" fmla="*/ 36 w 44"/>
                <a:gd name="T9" fmla="*/ 2 h 31"/>
                <a:gd name="T10" fmla="*/ 24 w 44"/>
                <a:gd name="T11" fmla="*/ 0 h 31"/>
                <a:gd name="T12" fmla="*/ 8 w 44"/>
                <a:gd name="T13" fmla="*/ 1 h 31"/>
                <a:gd name="T14" fmla="*/ 8 w 44"/>
                <a:gd name="T15" fmla="*/ 2 h 31"/>
                <a:gd name="T16" fmla="*/ 14 w 44"/>
                <a:gd name="T17" fmla="*/ 14 h 31"/>
                <a:gd name="T18" fmla="*/ 14 w 44"/>
                <a:gd name="T19" fmla="*/ 17 h 31"/>
                <a:gd name="T20" fmla="*/ 5 w 44"/>
                <a:gd name="T21" fmla="*/ 20 h 31"/>
                <a:gd name="T22" fmla="*/ 0 w 44"/>
                <a:gd name="T23" fmla="*/ 27 h 31"/>
                <a:gd name="T24" fmla="*/ 0 w 44"/>
                <a:gd name="T25" fmla="*/ 31 h 31"/>
                <a:gd name="T26" fmla="*/ 44 w 44"/>
                <a:gd name="T27" fmla="*/ 31 h 31"/>
                <a:gd name="T28" fmla="*/ 44 w 44"/>
                <a:gd name="T29"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44" y="27"/>
                  </a:moveTo>
                  <a:cubicBezTo>
                    <a:pt x="44" y="24"/>
                    <a:pt x="42" y="21"/>
                    <a:pt x="39" y="20"/>
                  </a:cubicBezTo>
                  <a:cubicBezTo>
                    <a:pt x="30" y="17"/>
                    <a:pt x="30" y="17"/>
                    <a:pt x="30" y="17"/>
                  </a:cubicBezTo>
                  <a:cubicBezTo>
                    <a:pt x="30" y="14"/>
                    <a:pt x="30" y="14"/>
                    <a:pt x="30" y="14"/>
                  </a:cubicBezTo>
                  <a:cubicBezTo>
                    <a:pt x="34" y="12"/>
                    <a:pt x="36" y="7"/>
                    <a:pt x="36" y="2"/>
                  </a:cubicBezTo>
                  <a:cubicBezTo>
                    <a:pt x="32" y="3"/>
                    <a:pt x="27" y="3"/>
                    <a:pt x="24" y="0"/>
                  </a:cubicBezTo>
                  <a:cubicBezTo>
                    <a:pt x="19" y="3"/>
                    <a:pt x="13" y="3"/>
                    <a:pt x="8" y="1"/>
                  </a:cubicBezTo>
                  <a:cubicBezTo>
                    <a:pt x="8" y="1"/>
                    <a:pt x="8" y="2"/>
                    <a:pt x="8" y="2"/>
                  </a:cubicBezTo>
                  <a:cubicBezTo>
                    <a:pt x="8" y="7"/>
                    <a:pt x="10" y="12"/>
                    <a:pt x="14" y="14"/>
                  </a:cubicBezTo>
                  <a:cubicBezTo>
                    <a:pt x="14" y="17"/>
                    <a:pt x="14" y="17"/>
                    <a:pt x="14" y="17"/>
                  </a:cubicBezTo>
                  <a:cubicBezTo>
                    <a:pt x="5" y="20"/>
                    <a:pt x="5" y="20"/>
                    <a:pt x="5" y="20"/>
                  </a:cubicBezTo>
                  <a:cubicBezTo>
                    <a:pt x="2" y="21"/>
                    <a:pt x="0" y="24"/>
                    <a:pt x="0" y="27"/>
                  </a:cubicBezTo>
                  <a:cubicBezTo>
                    <a:pt x="0" y="31"/>
                    <a:pt x="0" y="31"/>
                    <a:pt x="0" y="31"/>
                  </a:cubicBezTo>
                  <a:cubicBezTo>
                    <a:pt x="44" y="31"/>
                    <a:pt x="44" y="31"/>
                    <a:pt x="44" y="31"/>
                  </a:cubicBezTo>
                  <a:lnTo>
                    <a:pt x="4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32">
              <a:extLst>
                <a:ext uri="{FF2B5EF4-FFF2-40B4-BE49-F238E27FC236}">
                  <a16:creationId xmlns:a16="http://schemas.microsoft.com/office/drawing/2014/main" id="{7D6BD2E4-DA4B-4836-B8D2-BDEACD54B7B4}"/>
                </a:ext>
              </a:extLst>
            </p:cNvPr>
            <p:cNvSpPr>
              <a:spLocks/>
            </p:cNvSpPr>
            <p:nvPr/>
          </p:nvSpPr>
          <p:spPr bwMode="auto">
            <a:xfrm>
              <a:off x="3425825" y="2887663"/>
              <a:ext cx="96838" cy="44450"/>
            </a:xfrm>
            <a:custGeom>
              <a:avLst/>
              <a:gdLst>
                <a:gd name="T0" fmla="*/ 14 w 26"/>
                <a:gd name="T1" fmla="*/ 9 h 12"/>
                <a:gd name="T2" fmla="*/ 15 w 26"/>
                <a:gd name="T3" fmla="*/ 9 h 12"/>
                <a:gd name="T4" fmla="*/ 17 w 26"/>
                <a:gd name="T5" fmla="*/ 10 h 12"/>
                <a:gd name="T6" fmla="*/ 26 w 26"/>
                <a:gd name="T7" fmla="*/ 11 h 12"/>
                <a:gd name="T8" fmla="*/ 13 w 26"/>
                <a:gd name="T9" fmla="*/ 0 h 12"/>
                <a:gd name="T10" fmla="*/ 0 w 26"/>
                <a:gd name="T11" fmla="*/ 10 h 12"/>
                <a:gd name="T12" fmla="*/ 14 w 26"/>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14" y="9"/>
                  </a:moveTo>
                  <a:cubicBezTo>
                    <a:pt x="14" y="9"/>
                    <a:pt x="15" y="9"/>
                    <a:pt x="15" y="9"/>
                  </a:cubicBezTo>
                  <a:cubicBezTo>
                    <a:pt x="16" y="9"/>
                    <a:pt x="16" y="9"/>
                    <a:pt x="17" y="10"/>
                  </a:cubicBezTo>
                  <a:cubicBezTo>
                    <a:pt x="18" y="12"/>
                    <a:pt x="24" y="12"/>
                    <a:pt x="26" y="11"/>
                  </a:cubicBezTo>
                  <a:cubicBezTo>
                    <a:pt x="25" y="5"/>
                    <a:pt x="19" y="0"/>
                    <a:pt x="13" y="0"/>
                  </a:cubicBezTo>
                  <a:cubicBezTo>
                    <a:pt x="7" y="0"/>
                    <a:pt x="2" y="4"/>
                    <a:pt x="0" y="10"/>
                  </a:cubicBezTo>
                  <a:cubicBezTo>
                    <a:pt x="4" y="12"/>
                    <a:pt x="11" y="12"/>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33">
              <a:extLst>
                <a:ext uri="{FF2B5EF4-FFF2-40B4-BE49-F238E27FC236}">
                  <a16:creationId xmlns:a16="http://schemas.microsoft.com/office/drawing/2014/main" id="{575BD676-77D5-4260-A062-A098336DD4A5}"/>
                </a:ext>
              </a:extLst>
            </p:cNvPr>
            <p:cNvSpPr>
              <a:spLocks/>
            </p:cNvSpPr>
            <p:nvPr/>
          </p:nvSpPr>
          <p:spPr bwMode="auto">
            <a:xfrm>
              <a:off x="3444875" y="3068638"/>
              <a:ext cx="52388" cy="52388"/>
            </a:xfrm>
            <a:custGeom>
              <a:avLst/>
              <a:gdLst>
                <a:gd name="T0" fmla="*/ 13 w 14"/>
                <a:gd name="T1" fmla="*/ 13 h 14"/>
                <a:gd name="T2" fmla="*/ 13 w 14"/>
                <a:gd name="T3" fmla="*/ 11 h 14"/>
                <a:gd name="T4" fmla="*/ 3 w 14"/>
                <a:gd name="T5" fmla="*/ 1 h 14"/>
                <a:gd name="T6" fmla="*/ 1 w 14"/>
                <a:gd name="T7" fmla="*/ 1 h 14"/>
                <a:gd name="T8" fmla="*/ 1 w 14"/>
                <a:gd name="T9" fmla="*/ 3 h 14"/>
                <a:gd name="T10" fmla="*/ 11 w 14"/>
                <a:gd name="T11" fmla="*/ 13 h 14"/>
                <a:gd name="T12" fmla="*/ 12 w 14"/>
                <a:gd name="T13" fmla="*/ 14 h 14"/>
                <a:gd name="T14" fmla="*/ 13 w 14"/>
                <a:gd name="T15" fmla="*/ 13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3" y="13"/>
                  </a:moveTo>
                  <a:cubicBezTo>
                    <a:pt x="14" y="13"/>
                    <a:pt x="14" y="11"/>
                    <a:pt x="13" y="11"/>
                  </a:cubicBezTo>
                  <a:cubicBezTo>
                    <a:pt x="3" y="1"/>
                    <a:pt x="3" y="1"/>
                    <a:pt x="3" y="1"/>
                  </a:cubicBezTo>
                  <a:cubicBezTo>
                    <a:pt x="3" y="0"/>
                    <a:pt x="1" y="0"/>
                    <a:pt x="1" y="1"/>
                  </a:cubicBezTo>
                  <a:cubicBezTo>
                    <a:pt x="0" y="1"/>
                    <a:pt x="0" y="3"/>
                    <a:pt x="1" y="3"/>
                  </a:cubicBezTo>
                  <a:cubicBezTo>
                    <a:pt x="11" y="13"/>
                    <a:pt x="11" y="13"/>
                    <a:pt x="11" y="13"/>
                  </a:cubicBezTo>
                  <a:cubicBezTo>
                    <a:pt x="11" y="14"/>
                    <a:pt x="11" y="14"/>
                    <a:pt x="12" y="14"/>
                  </a:cubicBezTo>
                  <a:cubicBezTo>
                    <a:pt x="13" y="14"/>
                    <a:pt x="13" y="14"/>
                    <a:pt x="1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34">
              <a:extLst>
                <a:ext uri="{FF2B5EF4-FFF2-40B4-BE49-F238E27FC236}">
                  <a16:creationId xmlns:a16="http://schemas.microsoft.com/office/drawing/2014/main" id="{2B0A7D26-BC37-41A7-81E0-111B444ACE1B}"/>
                </a:ext>
              </a:extLst>
            </p:cNvPr>
            <p:cNvSpPr>
              <a:spLocks/>
            </p:cNvSpPr>
            <p:nvPr/>
          </p:nvSpPr>
          <p:spPr bwMode="auto">
            <a:xfrm>
              <a:off x="3646488" y="3068638"/>
              <a:ext cx="52388" cy="52388"/>
            </a:xfrm>
            <a:custGeom>
              <a:avLst/>
              <a:gdLst>
                <a:gd name="T0" fmla="*/ 11 w 14"/>
                <a:gd name="T1" fmla="*/ 1 h 14"/>
                <a:gd name="T2" fmla="*/ 1 w 14"/>
                <a:gd name="T3" fmla="*/ 11 h 14"/>
                <a:gd name="T4" fmla="*/ 1 w 14"/>
                <a:gd name="T5" fmla="*/ 13 h 14"/>
                <a:gd name="T6" fmla="*/ 2 w 14"/>
                <a:gd name="T7" fmla="*/ 14 h 14"/>
                <a:gd name="T8" fmla="*/ 3 w 14"/>
                <a:gd name="T9" fmla="*/ 13 h 14"/>
                <a:gd name="T10" fmla="*/ 13 w 14"/>
                <a:gd name="T11" fmla="*/ 3 h 14"/>
                <a:gd name="T12" fmla="*/ 13 w 14"/>
                <a:gd name="T13" fmla="*/ 1 h 14"/>
                <a:gd name="T14" fmla="*/ 11 w 14"/>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1" y="1"/>
                  </a:moveTo>
                  <a:cubicBezTo>
                    <a:pt x="1" y="11"/>
                    <a:pt x="1" y="11"/>
                    <a:pt x="1" y="11"/>
                  </a:cubicBezTo>
                  <a:cubicBezTo>
                    <a:pt x="0" y="11"/>
                    <a:pt x="0" y="13"/>
                    <a:pt x="1" y="13"/>
                  </a:cubicBezTo>
                  <a:cubicBezTo>
                    <a:pt x="1" y="14"/>
                    <a:pt x="1" y="14"/>
                    <a:pt x="2" y="14"/>
                  </a:cubicBezTo>
                  <a:cubicBezTo>
                    <a:pt x="3" y="14"/>
                    <a:pt x="3" y="14"/>
                    <a:pt x="3" y="13"/>
                  </a:cubicBezTo>
                  <a:cubicBezTo>
                    <a:pt x="13" y="3"/>
                    <a:pt x="13" y="3"/>
                    <a:pt x="13" y="3"/>
                  </a:cubicBezTo>
                  <a:cubicBezTo>
                    <a:pt x="14" y="3"/>
                    <a:pt x="14" y="1"/>
                    <a:pt x="13" y="1"/>
                  </a:cubicBezTo>
                  <a:cubicBezTo>
                    <a:pt x="13" y="0"/>
                    <a:pt x="11"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7" name="Freeform 19">
            <a:extLst>
              <a:ext uri="{FF2B5EF4-FFF2-40B4-BE49-F238E27FC236}">
                <a16:creationId xmlns:a16="http://schemas.microsoft.com/office/drawing/2014/main" id="{1E355DD8-EDE4-4E41-B24F-4AA5C58079B9}"/>
              </a:ext>
            </a:extLst>
          </p:cNvPr>
          <p:cNvSpPr>
            <a:spLocks noEditPoints="1"/>
          </p:cNvSpPr>
          <p:nvPr/>
        </p:nvSpPr>
        <p:spPr bwMode="auto">
          <a:xfrm>
            <a:off x="3930524" y="4072871"/>
            <a:ext cx="361950" cy="292100"/>
          </a:xfrm>
          <a:custGeom>
            <a:avLst/>
            <a:gdLst>
              <a:gd name="T0" fmla="*/ 96 w 96"/>
              <a:gd name="T1" fmla="*/ 40 h 78"/>
              <a:gd name="T2" fmla="*/ 96 w 96"/>
              <a:gd name="T3" fmla="*/ 40 h 78"/>
              <a:gd name="T4" fmla="*/ 96 w 96"/>
              <a:gd name="T5" fmla="*/ 39 h 78"/>
              <a:gd name="T6" fmla="*/ 96 w 96"/>
              <a:gd name="T7" fmla="*/ 39 h 78"/>
              <a:gd name="T8" fmla="*/ 83 w 96"/>
              <a:gd name="T9" fmla="*/ 10 h 78"/>
              <a:gd name="T10" fmla="*/ 86 w 96"/>
              <a:gd name="T11" fmla="*/ 10 h 78"/>
              <a:gd name="T12" fmla="*/ 88 w 96"/>
              <a:gd name="T13" fmla="*/ 8 h 78"/>
              <a:gd name="T14" fmla="*/ 86 w 96"/>
              <a:gd name="T15" fmla="*/ 6 h 78"/>
              <a:gd name="T16" fmla="*/ 54 w 96"/>
              <a:gd name="T17" fmla="*/ 6 h 78"/>
              <a:gd name="T18" fmla="*/ 46 w 96"/>
              <a:gd name="T19" fmla="*/ 0 h 78"/>
              <a:gd name="T20" fmla="*/ 38 w 96"/>
              <a:gd name="T21" fmla="*/ 6 h 78"/>
              <a:gd name="T22" fmla="*/ 10 w 96"/>
              <a:gd name="T23" fmla="*/ 6 h 78"/>
              <a:gd name="T24" fmla="*/ 8 w 96"/>
              <a:gd name="T25" fmla="*/ 8 h 78"/>
              <a:gd name="T26" fmla="*/ 10 w 96"/>
              <a:gd name="T27" fmla="*/ 10 h 78"/>
              <a:gd name="T28" fmla="*/ 13 w 96"/>
              <a:gd name="T29" fmla="*/ 10 h 78"/>
              <a:gd name="T30" fmla="*/ 0 w 96"/>
              <a:gd name="T31" fmla="*/ 39 h 78"/>
              <a:gd name="T32" fmla="*/ 0 w 96"/>
              <a:gd name="T33" fmla="*/ 39 h 78"/>
              <a:gd name="T34" fmla="*/ 0 w 96"/>
              <a:gd name="T35" fmla="*/ 40 h 78"/>
              <a:gd name="T36" fmla="*/ 0 w 96"/>
              <a:gd name="T37" fmla="*/ 40 h 78"/>
              <a:gd name="T38" fmla="*/ 0 w 96"/>
              <a:gd name="T39" fmla="*/ 40 h 78"/>
              <a:gd name="T40" fmla="*/ 16 w 96"/>
              <a:gd name="T41" fmla="*/ 56 h 78"/>
              <a:gd name="T42" fmla="*/ 32 w 96"/>
              <a:gd name="T43" fmla="*/ 40 h 78"/>
              <a:gd name="T44" fmla="*/ 32 w 96"/>
              <a:gd name="T45" fmla="*/ 40 h 78"/>
              <a:gd name="T46" fmla="*/ 32 w 96"/>
              <a:gd name="T47" fmla="*/ 40 h 78"/>
              <a:gd name="T48" fmla="*/ 32 w 96"/>
              <a:gd name="T49" fmla="*/ 39 h 78"/>
              <a:gd name="T50" fmla="*/ 32 w 96"/>
              <a:gd name="T51" fmla="*/ 39 h 78"/>
              <a:gd name="T52" fmla="*/ 19 w 96"/>
              <a:gd name="T53" fmla="*/ 10 h 78"/>
              <a:gd name="T54" fmla="*/ 38 w 96"/>
              <a:gd name="T55" fmla="*/ 10 h 78"/>
              <a:gd name="T56" fmla="*/ 44 w 96"/>
              <a:gd name="T57" fmla="*/ 16 h 78"/>
              <a:gd name="T58" fmla="*/ 44 w 96"/>
              <a:gd name="T59" fmla="*/ 74 h 78"/>
              <a:gd name="T60" fmla="*/ 32 w 96"/>
              <a:gd name="T61" fmla="*/ 74 h 78"/>
              <a:gd name="T62" fmla="*/ 30 w 96"/>
              <a:gd name="T63" fmla="*/ 76 h 78"/>
              <a:gd name="T64" fmla="*/ 32 w 96"/>
              <a:gd name="T65" fmla="*/ 78 h 78"/>
              <a:gd name="T66" fmla="*/ 62 w 96"/>
              <a:gd name="T67" fmla="*/ 78 h 78"/>
              <a:gd name="T68" fmla="*/ 64 w 96"/>
              <a:gd name="T69" fmla="*/ 76 h 78"/>
              <a:gd name="T70" fmla="*/ 62 w 96"/>
              <a:gd name="T71" fmla="*/ 74 h 78"/>
              <a:gd name="T72" fmla="*/ 48 w 96"/>
              <a:gd name="T73" fmla="*/ 74 h 78"/>
              <a:gd name="T74" fmla="*/ 48 w 96"/>
              <a:gd name="T75" fmla="*/ 16 h 78"/>
              <a:gd name="T76" fmla="*/ 54 w 96"/>
              <a:gd name="T77" fmla="*/ 10 h 78"/>
              <a:gd name="T78" fmla="*/ 77 w 96"/>
              <a:gd name="T79" fmla="*/ 10 h 78"/>
              <a:gd name="T80" fmla="*/ 64 w 96"/>
              <a:gd name="T81" fmla="*/ 39 h 78"/>
              <a:gd name="T82" fmla="*/ 64 w 96"/>
              <a:gd name="T83" fmla="*/ 39 h 78"/>
              <a:gd name="T84" fmla="*/ 64 w 96"/>
              <a:gd name="T85" fmla="*/ 40 h 78"/>
              <a:gd name="T86" fmla="*/ 64 w 96"/>
              <a:gd name="T87" fmla="*/ 40 h 78"/>
              <a:gd name="T88" fmla="*/ 64 w 96"/>
              <a:gd name="T89" fmla="*/ 40 h 78"/>
              <a:gd name="T90" fmla="*/ 80 w 96"/>
              <a:gd name="T91" fmla="*/ 56 h 78"/>
              <a:gd name="T92" fmla="*/ 96 w 96"/>
              <a:gd name="T93" fmla="*/ 40 h 78"/>
              <a:gd name="T94" fmla="*/ 96 w 96"/>
              <a:gd name="T95" fmla="*/ 40 h 78"/>
              <a:gd name="T96" fmla="*/ 27 w 96"/>
              <a:gd name="T97" fmla="*/ 38 h 78"/>
              <a:gd name="T98" fmla="*/ 5 w 96"/>
              <a:gd name="T99" fmla="*/ 38 h 78"/>
              <a:gd name="T100" fmla="*/ 16 w 96"/>
              <a:gd name="T101" fmla="*/ 13 h 78"/>
              <a:gd name="T102" fmla="*/ 27 w 96"/>
              <a:gd name="T103" fmla="*/ 38 h 78"/>
              <a:gd name="T104" fmla="*/ 69 w 96"/>
              <a:gd name="T105" fmla="*/ 38 h 78"/>
              <a:gd name="T106" fmla="*/ 80 w 96"/>
              <a:gd name="T107" fmla="*/ 13 h 78"/>
              <a:gd name="T108" fmla="*/ 91 w 96"/>
              <a:gd name="T109" fmla="*/ 38 h 78"/>
              <a:gd name="T110" fmla="*/ 69 w 96"/>
              <a:gd name="T111" fmla="*/ 3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 h="78">
                <a:moveTo>
                  <a:pt x="96" y="40"/>
                </a:moveTo>
                <a:cubicBezTo>
                  <a:pt x="96" y="40"/>
                  <a:pt x="96" y="40"/>
                  <a:pt x="96" y="40"/>
                </a:cubicBezTo>
                <a:cubicBezTo>
                  <a:pt x="96" y="39"/>
                  <a:pt x="96" y="39"/>
                  <a:pt x="96" y="39"/>
                </a:cubicBezTo>
                <a:cubicBezTo>
                  <a:pt x="96" y="39"/>
                  <a:pt x="96" y="39"/>
                  <a:pt x="96" y="39"/>
                </a:cubicBezTo>
                <a:cubicBezTo>
                  <a:pt x="83" y="10"/>
                  <a:pt x="83" y="10"/>
                  <a:pt x="83" y="10"/>
                </a:cubicBezTo>
                <a:cubicBezTo>
                  <a:pt x="86" y="10"/>
                  <a:pt x="86" y="10"/>
                  <a:pt x="86" y="10"/>
                </a:cubicBezTo>
                <a:cubicBezTo>
                  <a:pt x="87" y="10"/>
                  <a:pt x="88" y="9"/>
                  <a:pt x="88" y="8"/>
                </a:cubicBezTo>
                <a:cubicBezTo>
                  <a:pt x="88" y="7"/>
                  <a:pt x="87" y="6"/>
                  <a:pt x="86" y="6"/>
                </a:cubicBezTo>
                <a:cubicBezTo>
                  <a:pt x="54" y="6"/>
                  <a:pt x="54" y="6"/>
                  <a:pt x="54" y="6"/>
                </a:cubicBezTo>
                <a:cubicBezTo>
                  <a:pt x="53" y="3"/>
                  <a:pt x="50" y="0"/>
                  <a:pt x="46" y="0"/>
                </a:cubicBezTo>
                <a:cubicBezTo>
                  <a:pt x="42" y="0"/>
                  <a:pt x="39" y="3"/>
                  <a:pt x="38" y="6"/>
                </a:cubicBezTo>
                <a:cubicBezTo>
                  <a:pt x="10" y="6"/>
                  <a:pt x="10" y="6"/>
                  <a:pt x="10" y="6"/>
                </a:cubicBezTo>
                <a:cubicBezTo>
                  <a:pt x="9" y="6"/>
                  <a:pt x="8" y="7"/>
                  <a:pt x="8" y="8"/>
                </a:cubicBezTo>
                <a:cubicBezTo>
                  <a:pt x="8" y="9"/>
                  <a:pt x="9" y="10"/>
                  <a:pt x="10" y="10"/>
                </a:cubicBezTo>
                <a:cubicBezTo>
                  <a:pt x="13" y="10"/>
                  <a:pt x="13" y="10"/>
                  <a:pt x="13" y="10"/>
                </a:cubicBezTo>
                <a:cubicBezTo>
                  <a:pt x="0" y="39"/>
                  <a:pt x="0" y="39"/>
                  <a:pt x="0" y="39"/>
                </a:cubicBezTo>
                <a:cubicBezTo>
                  <a:pt x="0" y="39"/>
                  <a:pt x="0" y="39"/>
                  <a:pt x="0" y="39"/>
                </a:cubicBezTo>
                <a:cubicBezTo>
                  <a:pt x="0" y="39"/>
                  <a:pt x="0" y="39"/>
                  <a:pt x="0" y="40"/>
                </a:cubicBezTo>
                <a:cubicBezTo>
                  <a:pt x="0" y="40"/>
                  <a:pt x="0" y="40"/>
                  <a:pt x="0" y="40"/>
                </a:cubicBezTo>
                <a:cubicBezTo>
                  <a:pt x="0" y="40"/>
                  <a:pt x="0" y="40"/>
                  <a:pt x="0" y="40"/>
                </a:cubicBezTo>
                <a:cubicBezTo>
                  <a:pt x="0" y="49"/>
                  <a:pt x="7" y="56"/>
                  <a:pt x="16" y="56"/>
                </a:cubicBezTo>
                <a:cubicBezTo>
                  <a:pt x="25" y="56"/>
                  <a:pt x="32" y="49"/>
                  <a:pt x="32" y="40"/>
                </a:cubicBezTo>
                <a:cubicBezTo>
                  <a:pt x="32" y="40"/>
                  <a:pt x="32" y="40"/>
                  <a:pt x="32" y="40"/>
                </a:cubicBezTo>
                <a:cubicBezTo>
                  <a:pt x="32" y="40"/>
                  <a:pt x="32" y="40"/>
                  <a:pt x="32" y="40"/>
                </a:cubicBezTo>
                <a:cubicBezTo>
                  <a:pt x="32" y="39"/>
                  <a:pt x="32" y="39"/>
                  <a:pt x="32" y="39"/>
                </a:cubicBezTo>
                <a:cubicBezTo>
                  <a:pt x="32" y="39"/>
                  <a:pt x="32" y="39"/>
                  <a:pt x="32" y="39"/>
                </a:cubicBezTo>
                <a:cubicBezTo>
                  <a:pt x="19" y="10"/>
                  <a:pt x="19" y="10"/>
                  <a:pt x="19" y="10"/>
                </a:cubicBezTo>
                <a:cubicBezTo>
                  <a:pt x="38" y="10"/>
                  <a:pt x="38" y="10"/>
                  <a:pt x="38" y="10"/>
                </a:cubicBezTo>
                <a:cubicBezTo>
                  <a:pt x="39" y="13"/>
                  <a:pt x="41" y="15"/>
                  <a:pt x="44" y="16"/>
                </a:cubicBezTo>
                <a:cubicBezTo>
                  <a:pt x="44" y="74"/>
                  <a:pt x="44" y="74"/>
                  <a:pt x="44" y="74"/>
                </a:cubicBezTo>
                <a:cubicBezTo>
                  <a:pt x="32" y="74"/>
                  <a:pt x="32" y="74"/>
                  <a:pt x="32" y="74"/>
                </a:cubicBezTo>
                <a:cubicBezTo>
                  <a:pt x="31" y="74"/>
                  <a:pt x="30" y="75"/>
                  <a:pt x="30" y="76"/>
                </a:cubicBezTo>
                <a:cubicBezTo>
                  <a:pt x="30" y="77"/>
                  <a:pt x="31" y="78"/>
                  <a:pt x="32" y="78"/>
                </a:cubicBezTo>
                <a:cubicBezTo>
                  <a:pt x="62" y="78"/>
                  <a:pt x="62" y="78"/>
                  <a:pt x="62" y="78"/>
                </a:cubicBezTo>
                <a:cubicBezTo>
                  <a:pt x="63" y="78"/>
                  <a:pt x="64" y="77"/>
                  <a:pt x="64" y="76"/>
                </a:cubicBezTo>
                <a:cubicBezTo>
                  <a:pt x="64" y="75"/>
                  <a:pt x="63" y="74"/>
                  <a:pt x="62" y="74"/>
                </a:cubicBezTo>
                <a:cubicBezTo>
                  <a:pt x="48" y="74"/>
                  <a:pt x="48" y="74"/>
                  <a:pt x="48" y="74"/>
                </a:cubicBezTo>
                <a:cubicBezTo>
                  <a:pt x="48" y="16"/>
                  <a:pt x="48" y="16"/>
                  <a:pt x="48" y="16"/>
                </a:cubicBezTo>
                <a:cubicBezTo>
                  <a:pt x="51" y="15"/>
                  <a:pt x="53" y="13"/>
                  <a:pt x="54" y="10"/>
                </a:cubicBezTo>
                <a:cubicBezTo>
                  <a:pt x="77" y="10"/>
                  <a:pt x="77" y="10"/>
                  <a:pt x="77" y="10"/>
                </a:cubicBezTo>
                <a:cubicBezTo>
                  <a:pt x="64" y="39"/>
                  <a:pt x="64" y="39"/>
                  <a:pt x="64" y="39"/>
                </a:cubicBezTo>
                <a:cubicBezTo>
                  <a:pt x="64" y="39"/>
                  <a:pt x="64" y="39"/>
                  <a:pt x="64" y="39"/>
                </a:cubicBezTo>
                <a:cubicBezTo>
                  <a:pt x="64" y="39"/>
                  <a:pt x="64" y="39"/>
                  <a:pt x="64" y="40"/>
                </a:cubicBezTo>
                <a:cubicBezTo>
                  <a:pt x="64" y="40"/>
                  <a:pt x="64" y="40"/>
                  <a:pt x="64" y="40"/>
                </a:cubicBezTo>
                <a:cubicBezTo>
                  <a:pt x="64" y="40"/>
                  <a:pt x="64" y="40"/>
                  <a:pt x="64" y="40"/>
                </a:cubicBezTo>
                <a:cubicBezTo>
                  <a:pt x="64" y="49"/>
                  <a:pt x="71" y="56"/>
                  <a:pt x="80" y="56"/>
                </a:cubicBezTo>
                <a:cubicBezTo>
                  <a:pt x="89" y="56"/>
                  <a:pt x="96" y="49"/>
                  <a:pt x="96" y="40"/>
                </a:cubicBezTo>
                <a:cubicBezTo>
                  <a:pt x="96" y="40"/>
                  <a:pt x="96" y="40"/>
                  <a:pt x="96" y="40"/>
                </a:cubicBezTo>
                <a:close/>
                <a:moveTo>
                  <a:pt x="27" y="38"/>
                </a:moveTo>
                <a:cubicBezTo>
                  <a:pt x="5" y="38"/>
                  <a:pt x="5" y="38"/>
                  <a:pt x="5" y="38"/>
                </a:cubicBezTo>
                <a:cubicBezTo>
                  <a:pt x="16" y="13"/>
                  <a:pt x="16" y="13"/>
                  <a:pt x="16" y="13"/>
                </a:cubicBezTo>
                <a:lnTo>
                  <a:pt x="27" y="38"/>
                </a:lnTo>
                <a:close/>
                <a:moveTo>
                  <a:pt x="69" y="38"/>
                </a:moveTo>
                <a:cubicBezTo>
                  <a:pt x="80" y="13"/>
                  <a:pt x="80" y="13"/>
                  <a:pt x="80" y="13"/>
                </a:cubicBezTo>
                <a:cubicBezTo>
                  <a:pt x="91" y="38"/>
                  <a:pt x="91" y="38"/>
                  <a:pt x="91" y="38"/>
                </a:cubicBezTo>
                <a:lnTo>
                  <a:pt x="69" y="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cxnSp>
        <p:nvCxnSpPr>
          <p:cNvPr id="98" name="Straight Connector 97">
            <a:extLst>
              <a:ext uri="{FF2B5EF4-FFF2-40B4-BE49-F238E27FC236}">
                <a16:creationId xmlns:a16="http://schemas.microsoft.com/office/drawing/2014/main" id="{3CA7D2BD-2175-4328-80FF-6AA7478A0E3F}"/>
              </a:ext>
            </a:extLst>
          </p:cNvPr>
          <p:cNvCxnSpPr>
            <a:cxnSpLocks/>
          </p:cNvCxnSpPr>
          <p:nvPr/>
        </p:nvCxnSpPr>
        <p:spPr>
          <a:xfrm>
            <a:off x="4428575" y="4060990"/>
            <a:ext cx="0" cy="3158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Arrow: Pentagon 98">
            <a:extLst>
              <a:ext uri="{FF2B5EF4-FFF2-40B4-BE49-F238E27FC236}">
                <a16:creationId xmlns:a16="http://schemas.microsoft.com/office/drawing/2014/main" id="{1E487EEC-8A0D-42D6-9E2F-1C52B07AA80F}"/>
              </a:ext>
            </a:extLst>
          </p:cNvPr>
          <p:cNvSpPr/>
          <p:nvPr/>
        </p:nvSpPr>
        <p:spPr>
          <a:xfrm>
            <a:off x="0" y="2689096"/>
            <a:ext cx="1485900" cy="82667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Arrow: Pentagon 100">
            <a:extLst>
              <a:ext uri="{FF2B5EF4-FFF2-40B4-BE49-F238E27FC236}">
                <a16:creationId xmlns:a16="http://schemas.microsoft.com/office/drawing/2014/main" id="{FCA57D38-CE9C-4B97-AE94-90F295A90C5B}"/>
              </a:ext>
            </a:extLst>
          </p:cNvPr>
          <p:cNvSpPr/>
          <p:nvPr/>
        </p:nvSpPr>
        <p:spPr>
          <a:xfrm flipH="1">
            <a:off x="10706100" y="2689096"/>
            <a:ext cx="1485900" cy="826672"/>
          </a:xfrm>
          <a:prstGeom prst="homePlate">
            <a:avLst/>
          </a:prstGeom>
          <a:solidFill>
            <a:srgbClr val="E75F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reeform 188">
            <a:extLst>
              <a:ext uri="{FF2B5EF4-FFF2-40B4-BE49-F238E27FC236}">
                <a16:creationId xmlns:a16="http://schemas.microsoft.com/office/drawing/2014/main" id="{1E888C43-3AC2-410F-93FA-7C373249DE32}"/>
              </a:ext>
            </a:extLst>
          </p:cNvPr>
          <p:cNvSpPr>
            <a:spLocks noEditPoints="1"/>
          </p:cNvSpPr>
          <p:nvPr/>
        </p:nvSpPr>
        <p:spPr bwMode="auto">
          <a:xfrm>
            <a:off x="11314113" y="2922251"/>
            <a:ext cx="269875" cy="360363"/>
          </a:xfrm>
          <a:custGeom>
            <a:avLst/>
            <a:gdLst>
              <a:gd name="T0" fmla="*/ 47 w 72"/>
              <a:gd name="T1" fmla="*/ 1 h 96"/>
              <a:gd name="T2" fmla="*/ 2 w 72"/>
              <a:gd name="T3" fmla="*/ 0 h 96"/>
              <a:gd name="T4" fmla="*/ 0 w 72"/>
              <a:gd name="T5" fmla="*/ 94 h 96"/>
              <a:gd name="T6" fmla="*/ 70 w 72"/>
              <a:gd name="T7" fmla="*/ 96 h 96"/>
              <a:gd name="T8" fmla="*/ 72 w 72"/>
              <a:gd name="T9" fmla="*/ 26 h 96"/>
              <a:gd name="T10" fmla="*/ 24 w 72"/>
              <a:gd name="T11" fmla="*/ 38 h 96"/>
              <a:gd name="T12" fmla="*/ 22 w 72"/>
              <a:gd name="T13" fmla="*/ 21 h 96"/>
              <a:gd name="T14" fmla="*/ 24 w 72"/>
              <a:gd name="T15" fmla="*/ 16 h 96"/>
              <a:gd name="T16" fmla="*/ 26 w 72"/>
              <a:gd name="T17" fmla="*/ 21 h 96"/>
              <a:gd name="T18" fmla="*/ 31 w 72"/>
              <a:gd name="T19" fmla="*/ 31 h 96"/>
              <a:gd name="T20" fmla="*/ 24 w 72"/>
              <a:gd name="T21" fmla="*/ 24 h 96"/>
              <a:gd name="T22" fmla="*/ 24 w 72"/>
              <a:gd name="T23" fmla="*/ 34 h 96"/>
              <a:gd name="T24" fmla="*/ 26 w 72"/>
              <a:gd name="T25" fmla="*/ 51 h 96"/>
              <a:gd name="T26" fmla="*/ 24 w 72"/>
              <a:gd name="T27" fmla="*/ 56 h 96"/>
              <a:gd name="T28" fmla="*/ 22 w 72"/>
              <a:gd name="T29" fmla="*/ 51 h 96"/>
              <a:gd name="T30" fmla="*/ 17 w 72"/>
              <a:gd name="T31" fmla="*/ 41 h 96"/>
              <a:gd name="T32" fmla="*/ 24 w 72"/>
              <a:gd name="T33" fmla="*/ 47 h 96"/>
              <a:gd name="T34" fmla="*/ 24 w 72"/>
              <a:gd name="T35" fmla="*/ 38 h 96"/>
              <a:gd name="T36" fmla="*/ 14 w 72"/>
              <a:gd name="T37" fmla="*/ 84 h 96"/>
              <a:gd name="T38" fmla="*/ 14 w 72"/>
              <a:gd name="T39" fmla="*/ 80 h 96"/>
              <a:gd name="T40" fmla="*/ 60 w 72"/>
              <a:gd name="T41" fmla="*/ 82 h 96"/>
              <a:gd name="T42" fmla="*/ 58 w 72"/>
              <a:gd name="T43" fmla="*/ 76 h 96"/>
              <a:gd name="T44" fmla="*/ 12 w 72"/>
              <a:gd name="T45" fmla="*/ 74 h 96"/>
              <a:gd name="T46" fmla="*/ 58 w 72"/>
              <a:gd name="T47" fmla="*/ 72 h 96"/>
              <a:gd name="T48" fmla="*/ 58 w 72"/>
              <a:gd name="T49" fmla="*/ 76 h 96"/>
              <a:gd name="T50" fmla="*/ 14 w 72"/>
              <a:gd name="T51" fmla="*/ 68 h 96"/>
              <a:gd name="T52" fmla="*/ 14 w 72"/>
              <a:gd name="T53" fmla="*/ 64 h 96"/>
              <a:gd name="T54" fmla="*/ 60 w 72"/>
              <a:gd name="T55" fmla="*/ 66 h 96"/>
              <a:gd name="T56" fmla="*/ 58 w 72"/>
              <a:gd name="T57" fmla="*/ 60 h 96"/>
              <a:gd name="T58" fmla="*/ 36 w 72"/>
              <a:gd name="T59" fmla="*/ 58 h 96"/>
              <a:gd name="T60" fmla="*/ 58 w 72"/>
              <a:gd name="T61" fmla="*/ 56 h 96"/>
              <a:gd name="T62" fmla="*/ 58 w 72"/>
              <a:gd name="T63" fmla="*/ 60 h 96"/>
              <a:gd name="T64" fmla="*/ 46 w 72"/>
              <a:gd name="T65" fmla="*/ 52 h 96"/>
              <a:gd name="T66" fmla="*/ 46 w 72"/>
              <a:gd name="T67" fmla="*/ 48 h 96"/>
              <a:gd name="T68" fmla="*/ 60 w 72"/>
              <a:gd name="T69" fmla="*/ 50 h 96"/>
              <a:gd name="T70" fmla="*/ 58 w 72"/>
              <a:gd name="T71" fmla="*/ 44 h 96"/>
              <a:gd name="T72" fmla="*/ 44 w 72"/>
              <a:gd name="T73" fmla="*/ 42 h 96"/>
              <a:gd name="T74" fmla="*/ 58 w 72"/>
              <a:gd name="T75" fmla="*/ 40 h 96"/>
              <a:gd name="T76" fmla="*/ 58 w 72"/>
              <a:gd name="T77" fmla="*/ 44 h 96"/>
              <a:gd name="T78" fmla="*/ 58 w 72"/>
              <a:gd name="T79" fmla="*/ 28 h 96"/>
              <a:gd name="T80" fmla="*/ 46 w 72"/>
              <a:gd name="T81" fmla="*/ 28 h 96"/>
              <a:gd name="T82" fmla="*/ 44 w 72"/>
              <a:gd name="T83" fmla="*/ 15 h 96"/>
              <a:gd name="T84" fmla="*/ 44 w 72"/>
              <a:gd name="T85" fmla="*/ 3 h 96"/>
              <a:gd name="T86" fmla="*/ 58 w 72"/>
              <a:gd name="T87"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96">
                <a:moveTo>
                  <a:pt x="71" y="25"/>
                </a:moveTo>
                <a:cubicBezTo>
                  <a:pt x="47" y="1"/>
                  <a:pt x="47" y="1"/>
                  <a:pt x="47" y="1"/>
                </a:cubicBezTo>
                <a:cubicBezTo>
                  <a:pt x="47" y="0"/>
                  <a:pt x="47" y="0"/>
                  <a:pt x="46" y="0"/>
                </a:cubicBezTo>
                <a:cubicBezTo>
                  <a:pt x="2" y="0"/>
                  <a:pt x="2" y="0"/>
                  <a:pt x="2" y="0"/>
                </a:cubicBezTo>
                <a:cubicBezTo>
                  <a:pt x="1" y="0"/>
                  <a:pt x="0" y="1"/>
                  <a:pt x="0" y="2"/>
                </a:cubicBezTo>
                <a:cubicBezTo>
                  <a:pt x="0" y="94"/>
                  <a:pt x="0" y="94"/>
                  <a:pt x="0" y="94"/>
                </a:cubicBezTo>
                <a:cubicBezTo>
                  <a:pt x="0" y="95"/>
                  <a:pt x="1" y="96"/>
                  <a:pt x="2" y="96"/>
                </a:cubicBezTo>
                <a:cubicBezTo>
                  <a:pt x="70" y="96"/>
                  <a:pt x="70" y="96"/>
                  <a:pt x="70" y="96"/>
                </a:cubicBezTo>
                <a:cubicBezTo>
                  <a:pt x="71" y="96"/>
                  <a:pt x="72" y="95"/>
                  <a:pt x="72" y="94"/>
                </a:cubicBezTo>
                <a:cubicBezTo>
                  <a:pt x="72" y="26"/>
                  <a:pt x="72" y="26"/>
                  <a:pt x="72" y="26"/>
                </a:cubicBezTo>
                <a:cubicBezTo>
                  <a:pt x="72" y="25"/>
                  <a:pt x="72" y="25"/>
                  <a:pt x="71" y="25"/>
                </a:cubicBezTo>
                <a:close/>
                <a:moveTo>
                  <a:pt x="24" y="38"/>
                </a:moveTo>
                <a:cubicBezTo>
                  <a:pt x="19" y="38"/>
                  <a:pt x="15" y="34"/>
                  <a:pt x="15" y="29"/>
                </a:cubicBezTo>
                <a:cubicBezTo>
                  <a:pt x="15" y="25"/>
                  <a:pt x="18" y="22"/>
                  <a:pt x="22" y="21"/>
                </a:cubicBezTo>
                <a:cubicBezTo>
                  <a:pt x="22" y="18"/>
                  <a:pt x="22" y="18"/>
                  <a:pt x="22" y="18"/>
                </a:cubicBezTo>
                <a:cubicBezTo>
                  <a:pt x="22" y="17"/>
                  <a:pt x="23" y="16"/>
                  <a:pt x="24" y="16"/>
                </a:cubicBezTo>
                <a:cubicBezTo>
                  <a:pt x="25" y="16"/>
                  <a:pt x="26" y="17"/>
                  <a:pt x="26" y="18"/>
                </a:cubicBezTo>
                <a:cubicBezTo>
                  <a:pt x="26" y="21"/>
                  <a:pt x="26" y="21"/>
                  <a:pt x="26" y="21"/>
                </a:cubicBezTo>
                <a:cubicBezTo>
                  <a:pt x="30" y="22"/>
                  <a:pt x="33" y="25"/>
                  <a:pt x="33" y="29"/>
                </a:cubicBezTo>
                <a:cubicBezTo>
                  <a:pt x="33" y="30"/>
                  <a:pt x="32" y="31"/>
                  <a:pt x="31" y="31"/>
                </a:cubicBezTo>
                <a:cubicBezTo>
                  <a:pt x="30" y="31"/>
                  <a:pt x="29" y="30"/>
                  <a:pt x="29" y="29"/>
                </a:cubicBezTo>
                <a:cubicBezTo>
                  <a:pt x="29" y="27"/>
                  <a:pt x="27" y="24"/>
                  <a:pt x="24" y="24"/>
                </a:cubicBezTo>
                <a:cubicBezTo>
                  <a:pt x="21" y="24"/>
                  <a:pt x="19" y="27"/>
                  <a:pt x="19" y="29"/>
                </a:cubicBezTo>
                <a:cubicBezTo>
                  <a:pt x="19" y="32"/>
                  <a:pt x="21" y="34"/>
                  <a:pt x="24" y="34"/>
                </a:cubicBezTo>
                <a:cubicBezTo>
                  <a:pt x="29" y="34"/>
                  <a:pt x="33" y="38"/>
                  <a:pt x="33" y="43"/>
                </a:cubicBezTo>
                <a:cubicBezTo>
                  <a:pt x="33" y="47"/>
                  <a:pt x="30" y="50"/>
                  <a:pt x="26" y="51"/>
                </a:cubicBezTo>
                <a:cubicBezTo>
                  <a:pt x="26" y="54"/>
                  <a:pt x="26" y="54"/>
                  <a:pt x="26" y="54"/>
                </a:cubicBezTo>
                <a:cubicBezTo>
                  <a:pt x="26" y="55"/>
                  <a:pt x="25" y="56"/>
                  <a:pt x="24" y="56"/>
                </a:cubicBezTo>
                <a:cubicBezTo>
                  <a:pt x="23" y="56"/>
                  <a:pt x="22" y="55"/>
                  <a:pt x="22" y="54"/>
                </a:cubicBezTo>
                <a:cubicBezTo>
                  <a:pt x="22" y="51"/>
                  <a:pt x="22" y="51"/>
                  <a:pt x="22" y="51"/>
                </a:cubicBezTo>
                <a:cubicBezTo>
                  <a:pt x="18" y="50"/>
                  <a:pt x="15" y="47"/>
                  <a:pt x="15" y="43"/>
                </a:cubicBezTo>
                <a:cubicBezTo>
                  <a:pt x="15" y="42"/>
                  <a:pt x="16" y="41"/>
                  <a:pt x="17" y="41"/>
                </a:cubicBezTo>
                <a:cubicBezTo>
                  <a:pt x="18" y="41"/>
                  <a:pt x="19" y="42"/>
                  <a:pt x="19" y="43"/>
                </a:cubicBezTo>
                <a:cubicBezTo>
                  <a:pt x="19" y="45"/>
                  <a:pt x="21" y="47"/>
                  <a:pt x="24" y="47"/>
                </a:cubicBezTo>
                <a:cubicBezTo>
                  <a:pt x="27" y="47"/>
                  <a:pt x="29" y="45"/>
                  <a:pt x="29" y="43"/>
                </a:cubicBezTo>
                <a:cubicBezTo>
                  <a:pt x="29" y="40"/>
                  <a:pt x="27" y="38"/>
                  <a:pt x="24" y="38"/>
                </a:cubicBezTo>
                <a:close/>
                <a:moveTo>
                  <a:pt x="58" y="84"/>
                </a:moveTo>
                <a:cubicBezTo>
                  <a:pt x="14" y="84"/>
                  <a:pt x="14" y="84"/>
                  <a:pt x="14" y="84"/>
                </a:cubicBezTo>
                <a:cubicBezTo>
                  <a:pt x="13" y="84"/>
                  <a:pt x="12" y="83"/>
                  <a:pt x="12" y="82"/>
                </a:cubicBezTo>
                <a:cubicBezTo>
                  <a:pt x="12" y="81"/>
                  <a:pt x="13" y="80"/>
                  <a:pt x="14" y="80"/>
                </a:cubicBezTo>
                <a:cubicBezTo>
                  <a:pt x="58" y="80"/>
                  <a:pt x="58" y="80"/>
                  <a:pt x="58" y="80"/>
                </a:cubicBezTo>
                <a:cubicBezTo>
                  <a:pt x="59" y="80"/>
                  <a:pt x="60" y="81"/>
                  <a:pt x="60" y="82"/>
                </a:cubicBezTo>
                <a:cubicBezTo>
                  <a:pt x="60" y="83"/>
                  <a:pt x="59" y="84"/>
                  <a:pt x="58" y="84"/>
                </a:cubicBezTo>
                <a:close/>
                <a:moveTo>
                  <a:pt x="58" y="76"/>
                </a:moveTo>
                <a:cubicBezTo>
                  <a:pt x="14" y="76"/>
                  <a:pt x="14" y="76"/>
                  <a:pt x="14" y="76"/>
                </a:cubicBezTo>
                <a:cubicBezTo>
                  <a:pt x="13" y="76"/>
                  <a:pt x="12" y="75"/>
                  <a:pt x="12" y="74"/>
                </a:cubicBezTo>
                <a:cubicBezTo>
                  <a:pt x="12" y="73"/>
                  <a:pt x="13" y="72"/>
                  <a:pt x="14" y="72"/>
                </a:cubicBezTo>
                <a:cubicBezTo>
                  <a:pt x="58" y="72"/>
                  <a:pt x="58" y="72"/>
                  <a:pt x="58" y="72"/>
                </a:cubicBezTo>
                <a:cubicBezTo>
                  <a:pt x="59" y="72"/>
                  <a:pt x="60" y="73"/>
                  <a:pt x="60" y="74"/>
                </a:cubicBezTo>
                <a:cubicBezTo>
                  <a:pt x="60" y="75"/>
                  <a:pt x="59" y="76"/>
                  <a:pt x="58" y="76"/>
                </a:cubicBezTo>
                <a:close/>
                <a:moveTo>
                  <a:pt x="58" y="68"/>
                </a:moveTo>
                <a:cubicBezTo>
                  <a:pt x="14" y="68"/>
                  <a:pt x="14" y="68"/>
                  <a:pt x="14" y="68"/>
                </a:cubicBezTo>
                <a:cubicBezTo>
                  <a:pt x="13" y="68"/>
                  <a:pt x="12" y="67"/>
                  <a:pt x="12" y="66"/>
                </a:cubicBezTo>
                <a:cubicBezTo>
                  <a:pt x="12" y="65"/>
                  <a:pt x="13" y="64"/>
                  <a:pt x="14" y="64"/>
                </a:cubicBezTo>
                <a:cubicBezTo>
                  <a:pt x="58" y="64"/>
                  <a:pt x="58" y="64"/>
                  <a:pt x="58" y="64"/>
                </a:cubicBezTo>
                <a:cubicBezTo>
                  <a:pt x="59" y="64"/>
                  <a:pt x="60" y="65"/>
                  <a:pt x="60" y="66"/>
                </a:cubicBezTo>
                <a:cubicBezTo>
                  <a:pt x="60" y="67"/>
                  <a:pt x="59" y="68"/>
                  <a:pt x="58" y="68"/>
                </a:cubicBezTo>
                <a:close/>
                <a:moveTo>
                  <a:pt x="58" y="60"/>
                </a:moveTo>
                <a:cubicBezTo>
                  <a:pt x="38" y="60"/>
                  <a:pt x="38" y="60"/>
                  <a:pt x="38" y="60"/>
                </a:cubicBezTo>
                <a:cubicBezTo>
                  <a:pt x="37" y="60"/>
                  <a:pt x="36" y="59"/>
                  <a:pt x="36" y="58"/>
                </a:cubicBezTo>
                <a:cubicBezTo>
                  <a:pt x="36" y="57"/>
                  <a:pt x="37" y="56"/>
                  <a:pt x="38" y="56"/>
                </a:cubicBezTo>
                <a:cubicBezTo>
                  <a:pt x="58" y="56"/>
                  <a:pt x="58" y="56"/>
                  <a:pt x="58" y="56"/>
                </a:cubicBezTo>
                <a:cubicBezTo>
                  <a:pt x="59" y="56"/>
                  <a:pt x="60" y="57"/>
                  <a:pt x="60" y="58"/>
                </a:cubicBezTo>
                <a:cubicBezTo>
                  <a:pt x="60" y="59"/>
                  <a:pt x="59" y="60"/>
                  <a:pt x="58" y="60"/>
                </a:cubicBezTo>
                <a:close/>
                <a:moveTo>
                  <a:pt x="58" y="52"/>
                </a:moveTo>
                <a:cubicBezTo>
                  <a:pt x="46" y="52"/>
                  <a:pt x="46" y="52"/>
                  <a:pt x="46" y="52"/>
                </a:cubicBezTo>
                <a:cubicBezTo>
                  <a:pt x="45" y="52"/>
                  <a:pt x="44" y="51"/>
                  <a:pt x="44" y="50"/>
                </a:cubicBezTo>
                <a:cubicBezTo>
                  <a:pt x="44" y="49"/>
                  <a:pt x="45" y="48"/>
                  <a:pt x="46" y="48"/>
                </a:cubicBezTo>
                <a:cubicBezTo>
                  <a:pt x="58" y="48"/>
                  <a:pt x="58" y="48"/>
                  <a:pt x="58" y="48"/>
                </a:cubicBezTo>
                <a:cubicBezTo>
                  <a:pt x="59" y="48"/>
                  <a:pt x="60" y="49"/>
                  <a:pt x="60" y="50"/>
                </a:cubicBezTo>
                <a:cubicBezTo>
                  <a:pt x="60" y="51"/>
                  <a:pt x="59" y="52"/>
                  <a:pt x="58" y="52"/>
                </a:cubicBezTo>
                <a:close/>
                <a:moveTo>
                  <a:pt x="58" y="44"/>
                </a:moveTo>
                <a:cubicBezTo>
                  <a:pt x="46" y="44"/>
                  <a:pt x="46" y="44"/>
                  <a:pt x="46" y="44"/>
                </a:cubicBezTo>
                <a:cubicBezTo>
                  <a:pt x="45" y="44"/>
                  <a:pt x="44" y="43"/>
                  <a:pt x="44" y="42"/>
                </a:cubicBezTo>
                <a:cubicBezTo>
                  <a:pt x="44" y="41"/>
                  <a:pt x="45" y="40"/>
                  <a:pt x="46" y="40"/>
                </a:cubicBezTo>
                <a:cubicBezTo>
                  <a:pt x="58" y="40"/>
                  <a:pt x="58" y="40"/>
                  <a:pt x="58" y="40"/>
                </a:cubicBezTo>
                <a:cubicBezTo>
                  <a:pt x="59" y="40"/>
                  <a:pt x="60" y="41"/>
                  <a:pt x="60" y="42"/>
                </a:cubicBezTo>
                <a:cubicBezTo>
                  <a:pt x="60" y="43"/>
                  <a:pt x="59" y="44"/>
                  <a:pt x="58" y="44"/>
                </a:cubicBezTo>
                <a:close/>
                <a:moveTo>
                  <a:pt x="58" y="28"/>
                </a:moveTo>
                <a:cubicBezTo>
                  <a:pt x="58" y="28"/>
                  <a:pt x="58" y="28"/>
                  <a:pt x="58" y="28"/>
                </a:cubicBezTo>
                <a:cubicBezTo>
                  <a:pt x="57" y="28"/>
                  <a:pt x="57" y="28"/>
                  <a:pt x="57" y="28"/>
                </a:cubicBezTo>
                <a:cubicBezTo>
                  <a:pt x="46" y="28"/>
                  <a:pt x="46" y="28"/>
                  <a:pt x="46" y="28"/>
                </a:cubicBezTo>
                <a:cubicBezTo>
                  <a:pt x="45" y="28"/>
                  <a:pt x="44" y="27"/>
                  <a:pt x="44" y="26"/>
                </a:cubicBezTo>
                <a:cubicBezTo>
                  <a:pt x="44" y="15"/>
                  <a:pt x="44" y="15"/>
                  <a:pt x="44" y="15"/>
                </a:cubicBezTo>
                <a:cubicBezTo>
                  <a:pt x="44" y="14"/>
                  <a:pt x="44" y="14"/>
                  <a:pt x="44" y="14"/>
                </a:cubicBezTo>
                <a:cubicBezTo>
                  <a:pt x="44" y="3"/>
                  <a:pt x="44" y="3"/>
                  <a:pt x="44" y="3"/>
                </a:cubicBezTo>
                <a:cubicBezTo>
                  <a:pt x="69" y="28"/>
                  <a:pt x="69" y="28"/>
                  <a:pt x="69" y="28"/>
                </a:cubicBezTo>
                <a:lnTo>
                  <a:pt x="58" y="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05" name="Group 104">
            <a:extLst>
              <a:ext uri="{FF2B5EF4-FFF2-40B4-BE49-F238E27FC236}">
                <a16:creationId xmlns:a16="http://schemas.microsoft.com/office/drawing/2014/main" id="{7A54FF08-EFDA-4591-B00E-D57CF190B3AD}"/>
              </a:ext>
            </a:extLst>
          </p:cNvPr>
          <p:cNvGrpSpPr/>
          <p:nvPr/>
        </p:nvGrpSpPr>
        <p:grpSpPr>
          <a:xfrm>
            <a:off x="562769" y="2930188"/>
            <a:ext cx="360363" cy="344488"/>
            <a:chOff x="4833938" y="3983038"/>
            <a:chExt cx="360363" cy="344488"/>
          </a:xfrm>
          <a:solidFill>
            <a:schemeClr val="bg1"/>
          </a:solidFill>
        </p:grpSpPr>
        <p:sp>
          <p:nvSpPr>
            <p:cNvPr id="150" name="Freeform 76">
              <a:extLst>
                <a:ext uri="{FF2B5EF4-FFF2-40B4-BE49-F238E27FC236}">
                  <a16:creationId xmlns:a16="http://schemas.microsoft.com/office/drawing/2014/main" id="{8BF48803-AE92-43FE-ACFB-33A1EDC040AA}"/>
                </a:ext>
              </a:extLst>
            </p:cNvPr>
            <p:cNvSpPr>
              <a:spLocks/>
            </p:cNvSpPr>
            <p:nvPr/>
          </p:nvSpPr>
          <p:spPr bwMode="auto">
            <a:xfrm>
              <a:off x="4833938" y="4179888"/>
              <a:ext cx="74613" cy="128588"/>
            </a:xfrm>
            <a:custGeom>
              <a:avLst/>
              <a:gdLst>
                <a:gd name="T0" fmla="*/ 18 w 20"/>
                <a:gd name="T1" fmla="*/ 0 h 34"/>
                <a:gd name="T2" fmla="*/ 2 w 20"/>
                <a:gd name="T3" fmla="*/ 0 h 34"/>
                <a:gd name="T4" fmla="*/ 0 w 20"/>
                <a:gd name="T5" fmla="*/ 2 h 34"/>
                <a:gd name="T6" fmla="*/ 0 w 20"/>
                <a:gd name="T7" fmla="*/ 32 h 34"/>
                <a:gd name="T8" fmla="*/ 2 w 20"/>
                <a:gd name="T9" fmla="*/ 34 h 34"/>
                <a:gd name="T10" fmla="*/ 18 w 20"/>
                <a:gd name="T11" fmla="*/ 34 h 34"/>
                <a:gd name="T12" fmla="*/ 20 w 20"/>
                <a:gd name="T13" fmla="*/ 32 h 34"/>
                <a:gd name="T14" fmla="*/ 20 w 20"/>
                <a:gd name="T15" fmla="*/ 2 h 34"/>
                <a:gd name="T16" fmla="*/ 18 w 2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1" name="Freeform 77">
              <a:extLst>
                <a:ext uri="{FF2B5EF4-FFF2-40B4-BE49-F238E27FC236}">
                  <a16:creationId xmlns:a16="http://schemas.microsoft.com/office/drawing/2014/main" id="{F9573AFB-D51E-453C-B05A-40FEA481C0F9}"/>
                </a:ext>
              </a:extLst>
            </p:cNvPr>
            <p:cNvSpPr>
              <a:spLocks/>
            </p:cNvSpPr>
            <p:nvPr/>
          </p:nvSpPr>
          <p:spPr bwMode="auto">
            <a:xfrm>
              <a:off x="4916488" y="4194176"/>
              <a:ext cx="277813" cy="133350"/>
            </a:xfrm>
            <a:custGeom>
              <a:avLst/>
              <a:gdLst>
                <a:gd name="T0" fmla="*/ 73 w 74"/>
                <a:gd name="T1" fmla="*/ 13 h 35"/>
                <a:gd name="T2" fmla="*/ 59 w 74"/>
                <a:gd name="T3" fmla="*/ 8 h 35"/>
                <a:gd name="T4" fmla="*/ 47 w 74"/>
                <a:gd name="T5" fmla="*/ 12 h 35"/>
                <a:gd name="T6" fmla="*/ 47 w 74"/>
                <a:gd name="T7" fmla="*/ 14 h 35"/>
                <a:gd name="T8" fmla="*/ 45 w 74"/>
                <a:gd name="T9" fmla="*/ 21 h 35"/>
                <a:gd name="T10" fmla="*/ 38 w 74"/>
                <a:gd name="T11" fmla="*/ 24 h 35"/>
                <a:gd name="T12" fmla="*/ 18 w 74"/>
                <a:gd name="T13" fmla="*/ 24 h 35"/>
                <a:gd name="T14" fmla="*/ 16 w 74"/>
                <a:gd name="T15" fmla="*/ 22 h 35"/>
                <a:gd name="T16" fmla="*/ 18 w 74"/>
                <a:gd name="T17" fmla="*/ 20 h 35"/>
                <a:gd name="T18" fmla="*/ 38 w 74"/>
                <a:gd name="T19" fmla="*/ 20 h 35"/>
                <a:gd name="T20" fmla="*/ 42 w 74"/>
                <a:gd name="T21" fmla="*/ 18 h 35"/>
                <a:gd name="T22" fmla="*/ 43 w 74"/>
                <a:gd name="T23" fmla="*/ 14 h 35"/>
                <a:gd name="T24" fmla="*/ 38 w 74"/>
                <a:gd name="T25" fmla="*/ 8 h 35"/>
                <a:gd name="T26" fmla="*/ 27 w 74"/>
                <a:gd name="T27" fmla="*/ 8 h 35"/>
                <a:gd name="T28" fmla="*/ 26 w 74"/>
                <a:gd name="T29" fmla="*/ 8 h 35"/>
                <a:gd name="T30" fmla="*/ 25 w 74"/>
                <a:gd name="T31" fmla="*/ 7 h 35"/>
                <a:gd name="T32" fmla="*/ 8 w 74"/>
                <a:gd name="T33" fmla="*/ 0 h 35"/>
                <a:gd name="T34" fmla="*/ 2 w 74"/>
                <a:gd name="T35" fmla="*/ 0 h 35"/>
                <a:gd name="T36" fmla="*/ 0 w 74"/>
                <a:gd name="T37" fmla="*/ 2 h 35"/>
                <a:gd name="T38" fmla="*/ 0 w 74"/>
                <a:gd name="T39" fmla="*/ 24 h 35"/>
                <a:gd name="T40" fmla="*/ 1 w 74"/>
                <a:gd name="T41" fmla="*/ 26 h 35"/>
                <a:gd name="T42" fmla="*/ 16 w 74"/>
                <a:gd name="T43" fmla="*/ 31 h 35"/>
                <a:gd name="T44" fmla="*/ 32 w 74"/>
                <a:gd name="T45" fmla="*/ 35 h 35"/>
                <a:gd name="T46" fmla="*/ 49 w 74"/>
                <a:gd name="T47" fmla="*/ 29 h 35"/>
                <a:gd name="T48" fmla="*/ 73 w 74"/>
                <a:gd name="T49" fmla="*/ 16 h 35"/>
                <a:gd name="T50" fmla="*/ 74 w 74"/>
                <a:gd name="T51" fmla="*/ 14 h 35"/>
                <a:gd name="T52" fmla="*/ 73 w 74"/>
                <a:gd name="T53"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35">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78">
              <a:extLst>
                <a:ext uri="{FF2B5EF4-FFF2-40B4-BE49-F238E27FC236}">
                  <a16:creationId xmlns:a16="http://schemas.microsoft.com/office/drawing/2014/main" id="{451DEF36-8B0E-421E-9637-AB2D080855E3}"/>
                </a:ext>
              </a:extLst>
            </p:cNvPr>
            <p:cNvSpPr>
              <a:spLocks noEditPoints="1"/>
            </p:cNvSpPr>
            <p:nvPr/>
          </p:nvSpPr>
          <p:spPr bwMode="auto">
            <a:xfrm>
              <a:off x="5037138" y="3983038"/>
              <a:ext cx="104775" cy="106363"/>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Freeform 79">
              <a:extLst>
                <a:ext uri="{FF2B5EF4-FFF2-40B4-BE49-F238E27FC236}">
                  <a16:creationId xmlns:a16="http://schemas.microsoft.com/office/drawing/2014/main" id="{342E7570-26B0-4FD3-B8B9-E9FC4B8C112E}"/>
                </a:ext>
              </a:extLst>
            </p:cNvPr>
            <p:cNvSpPr>
              <a:spLocks noEditPoints="1"/>
            </p:cNvSpPr>
            <p:nvPr/>
          </p:nvSpPr>
          <p:spPr bwMode="auto">
            <a:xfrm>
              <a:off x="4968875" y="4089401"/>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101792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6800D-70FE-4287-B38D-F01B93EE93BA}"/>
              </a:ext>
            </a:extLst>
          </p:cNvPr>
          <p:cNvSpPr>
            <a:spLocks noGrp="1"/>
          </p:cNvSpPr>
          <p:nvPr>
            <p:ph type="title"/>
          </p:nvPr>
        </p:nvSpPr>
        <p:spPr/>
        <p:txBody>
          <a:bodyPr/>
          <a:lstStyle/>
          <a:p>
            <a:r>
              <a:rPr lang="en-US" dirty="0"/>
              <a:t>Our Team</a:t>
            </a:r>
          </a:p>
        </p:txBody>
      </p:sp>
      <p:sp>
        <p:nvSpPr>
          <p:cNvPr id="6" name="Rectangle 5">
            <a:extLst>
              <a:ext uri="{FF2B5EF4-FFF2-40B4-BE49-F238E27FC236}">
                <a16:creationId xmlns:a16="http://schemas.microsoft.com/office/drawing/2014/main" id="{17AC7427-E852-4E0E-A7E1-F26EA1D0C843}"/>
              </a:ext>
            </a:extLst>
          </p:cNvPr>
          <p:cNvSpPr/>
          <p:nvPr/>
        </p:nvSpPr>
        <p:spPr>
          <a:xfrm>
            <a:off x="533400" y="1862138"/>
            <a:ext cx="3416300" cy="43862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0000"/>
              </a:solidFill>
            </a:endParaRPr>
          </a:p>
        </p:txBody>
      </p:sp>
      <p:sp>
        <p:nvSpPr>
          <p:cNvPr id="8" name="TextBox 7">
            <a:extLst>
              <a:ext uri="{FF2B5EF4-FFF2-40B4-BE49-F238E27FC236}">
                <a16:creationId xmlns:a16="http://schemas.microsoft.com/office/drawing/2014/main" id="{ED2216F4-0941-4ADA-8B5D-FC5EF058311A}"/>
              </a:ext>
            </a:extLst>
          </p:cNvPr>
          <p:cNvSpPr txBox="1"/>
          <p:nvPr/>
        </p:nvSpPr>
        <p:spPr>
          <a:xfrm>
            <a:off x="807202" y="4189518"/>
            <a:ext cx="2868696" cy="1508105"/>
          </a:xfrm>
          <a:prstGeom prst="rect">
            <a:avLst/>
          </a:prstGeom>
          <a:noFill/>
        </p:spPr>
        <p:txBody>
          <a:bodyPr wrap="square" lIns="0" tIns="0" rIns="0" bIns="0">
            <a:spAutoFit/>
          </a:bodyPr>
          <a:lstStyle/>
          <a:p>
            <a:r>
              <a:rPr lang="en-ID" sz="1400" b="0" i="0" dirty="0">
                <a:effectLst/>
              </a:rPr>
              <a:t>Lorem ipsum </a:t>
            </a:r>
            <a:r>
              <a:rPr lang="en-ID" sz="1400" b="0" i="0" dirty="0" err="1">
                <a:effectLst/>
              </a:rPr>
              <a:t>dolor</a:t>
            </a:r>
            <a:r>
              <a:rPr lang="en-ID" sz="1400" b="0" i="0" dirty="0">
                <a:effectLst/>
              </a:rPr>
              <a:t> sit </a:t>
            </a:r>
            <a:r>
              <a:rPr lang="en-ID" sz="1400" b="0" i="0" dirty="0" err="1">
                <a:effectLst/>
              </a:rPr>
              <a:t>amet</a:t>
            </a:r>
            <a:r>
              <a:rPr lang="en-ID" sz="1400" b="0" i="0" dirty="0">
                <a:effectLst/>
              </a:rPr>
              <a:t>, </a:t>
            </a:r>
            <a:r>
              <a:rPr lang="en-ID" sz="1400" b="0" i="0" dirty="0" err="1">
                <a:effectLst/>
              </a:rPr>
              <a:t>consectetur</a:t>
            </a:r>
            <a:r>
              <a:rPr lang="en-ID" sz="1400" b="0" i="0" dirty="0">
                <a:effectLst/>
              </a:rPr>
              <a:t> </a:t>
            </a:r>
            <a:r>
              <a:rPr lang="en-ID" sz="1400" b="0" i="0" dirty="0" err="1">
                <a:effectLst/>
              </a:rPr>
              <a:t>adipiscing</a:t>
            </a:r>
            <a:r>
              <a:rPr lang="en-ID" sz="1400" b="0" i="0" dirty="0">
                <a:effectLst/>
              </a:rPr>
              <a:t> </a:t>
            </a:r>
            <a:r>
              <a:rPr lang="en-ID" sz="1400" b="0" i="0" dirty="0" err="1">
                <a:effectLst/>
              </a:rPr>
              <a:t>elit</a:t>
            </a:r>
            <a:r>
              <a:rPr lang="en-ID" sz="1400" b="0" i="0" dirty="0">
                <a:effectLst/>
              </a:rPr>
              <a:t>, </a:t>
            </a:r>
            <a:r>
              <a:rPr lang="en-ID" sz="1400" b="0" i="0" dirty="0" err="1">
                <a:effectLst/>
              </a:rPr>
              <a:t>sed</a:t>
            </a:r>
            <a:r>
              <a:rPr lang="en-ID" sz="1400" b="0" i="0" dirty="0">
                <a:effectLst/>
              </a:rPr>
              <a:t> do </a:t>
            </a:r>
            <a:r>
              <a:rPr lang="en-ID" sz="1400" b="0" i="0" dirty="0" err="1">
                <a:effectLst/>
              </a:rPr>
              <a:t>eiusmod</a:t>
            </a:r>
            <a:r>
              <a:rPr lang="en-ID" sz="1400" b="0" i="0" dirty="0">
                <a:effectLst/>
              </a:rPr>
              <a:t> </a:t>
            </a:r>
            <a:r>
              <a:rPr lang="en-ID" sz="1400" b="0" i="0" dirty="0" err="1">
                <a:effectLst/>
              </a:rPr>
              <a:t>tempor</a:t>
            </a:r>
            <a:r>
              <a:rPr lang="en-ID" sz="1400" b="0" i="0" dirty="0">
                <a:effectLst/>
              </a:rPr>
              <a:t> </a:t>
            </a:r>
            <a:r>
              <a:rPr lang="en-ID" sz="1400" b="0" i="0" dirty="0" err="1">
                <a:effectLst/>
              </a:rPr>
              <a:t>incididunt</a:t>
            </a:r>
            <a:r>
              <a:rPr lang="en-ID" sz="1400" b="0" i="0" dirty="0">
                <a:effectLst/>
              </a:rPr>
              <a:t> </a:t>
            </a:r>
            <a:r>
              <a:rPr lang="en-ID" sz="1400" b="0" i="0" dirty="0" err="1">
                <a:effectLst/>
              </a:rPr>
              <a:t>ut</a:t>
            </a:r>
            <a:r>
              <a:rPr lang="en-ID" sz="1400" b="0" i="0" dirty="0">
                <a:effectLst/>
              </a:rPr>
              <a:t> </a:t>
            </a:r>
            <a:r>
              <a:rPr lang="en-ID" sz="1400" b="0" i="0" dirty="0" err="1">
                <a:effectLst/>
              </a:rPr>
              <a:t>labore</a:t>
            </a:r>
            <a:r>
              <a:rPr lang="en-ID" sz="1400" b="0" i="0" dirty="0">
                <a:effectLst/>
              </a:rPr>
              <a:t> et dolore magna </a:t>
            </a:r>
            <a:r>
              <a:rPr lang="en-ID" sz="1400" b="0" i="0" dirty="0" err="1">
                <a:effectLst/>
              </a:rPr>
              <a:t>aliqua</a:t>
            </a:r>
            <a:r>
              <a:rPr lang="en-ID" sz="1400" b="0" i="0" dirty="0">
                <a:effectLst/>
              </a:rPr>
              <a:t>. Ut </a:t>
            </a:r>
            <a:r>
              <a:rPr lang="en-ID" sz="1400" b="0" i="0" dirty="0" err="1">
                <a:effectLst/>
              </a:rPr>
              <a:t>enim</a:t>
            </a:r>
            <a:r>
              <a:rPr lang="en-ID" sz="1400" b="0" i="0" dirty="0">
                <a:effectLst/>
              </a:rPr>
              <a:t> ad minim </a:t>
            </a:r>
            <a:r>
              <a:rPr lang="en-ID" sz="1400" b="0" i="0" dirty="0" err="1">
                <a:effectLst/>
              </a:rPr>
              <a:t>veniam</a:t>
            </a:r>
            <a:r>
              <a:rPr lang="en-ID" sz="1400" b="0" i="0" dirty="0">
                <a:effectLst/>
              </a:rPr>
              <a:t>, </a:t>
            </a:r>
            <a:r>
              <a:rPr lang="en-ID" sz="1400" b="0" i="0" dirty="0" err="1">
                <a:effectLst/>
              </a:rPr>
              <a:t>quis</a:t>
            </a:r>
            <a:r>
              <a:rPr lang="en-ID" sz="1400" b="0" i="0" dirty="0">
                <a:effectLst/>
              </a:rPr>
              <a:t> </a:t>
            </a:r>
            <a:r>
              <a:rPr lang="en-ID" sz="1400" b="0" i="0" dirty="0" err="1">
                <a:effectLst/>
              </a:rPr>
              <a:t>nostrud</a:t>
            </a:r>
            <a:r>
              <a:rPr lang="en-ID" sz="1400" b="0" i="0" dirty="0">
                <a:effectLst/>
              </a:rPr>
              <a:t> exercitation </a:t>
            </a:r>
            <a:r>
              <a:rPr lang="en-ID" sz="1400" b="0" i="0" dirty="0" err="1">
                <a:effectLst/>
              </a:rPr>
              <a:t>ullamco</a:t>
            </a:r>
            <a:r>
              <a:rPr lang="en-ID" sz="1400" b="0" i="0" dirty="0">
                <a:effectLst/>
              </a:rPr>
              <a:t> </a:t>
            </a:r>
            <a:r>
              <a:rPr lang="en-ID" sz="1400" b="0" i="0" dirty="0" err="1">
                <a:effectLst/>
              </a:rPr>
              <a:t>laboris</a:t>
            </a:r>
            <a:r>
              <a:rPr lang="en-ID" sz="1400" b="0" i="0" dirty="0">
                <a:effectLst/>
              </a:rPr>
              <a:t> nisi </a:t>
            </a:r>
            <a:r>
              <a:rPr lang="en-ID" sz="1400" b="0" i="0" dirty="0" err="1">
                <a:effectLst/>
              </a:rPr>
              <a:t>ut</a:t>
            </a:r>
            <a:r>
              <a:rPr lang="en-ID" sz="1400" b="0" i="0" dirty="0">
                <a:effectLst/>
              </a:rPr>
              <a:t> </a:t>
            </a:r>
            <a:r>
              <a:rPr lang="en-ID" sz="1400" b="0" i="0" dirty="0" err="1">
                <a:effectLst/>
              </a:rPr>
              <a:t>aliquip</a:t>
            </a:r>
            <a:r>
              <a:rPr lang="en-ID" sz="1400" b="0" i="0" dirty="0">
                <a:effectLst/>
              </a:rPr>
              <a:t> ex </a:t>
            </a:r>
            <a:r>
              <a:rPr lang="en-ID" sz="1400" b="0" i="0" dirty="0" err="1">
                <a:effectLst/>
              </a:rPr>
              <a:t>ea</a:t>
            </a:r>
            <a:r>
              <a:rPr lang="en-ID" sz="1400" b="0" i="0" dirty="0">
                <a:effectLst/>
              </a:rPr>
              <a:t> </a:t>
            </a:r>
            <a:r>
              <a:rPr lang="en-ID" sz="1400" b="0" i="0" dirty="0" err="1">
                <a:effectLst/>
              </a:rPr>
              <a:t>commodo</a:t>
            </a:r>
            <a:r>
              <a:rPr lang="en-ID" sz="1400" b="0" i="0" dirty="0">
                <a:effectLst/>
              </a:rPr>
              <a:t> </a:t>
            </a:r>
            <a:r>
              <a:rPr lang="en-ID" sz="1400" b="0" i="0" dirty="0" err="1">
                <a:effectLst/>
              </a:rPr>
              <a:t>consequat</a:t>
            </a:r>
            <a:r>
              <a:rPr lang="en-ID" sz="1400" b="0" i="0" dirty="0">
                <a:effectLst/>
              </a:rPr>
              <a:t>.</a:t>
            </a:r>
          </a:p>
        </p:txBody>
      </p:sp>
      <p:sp>
        <p:nvSpPr>
          <p:cNvPr id="9" name="TextBox 8">
            <a:extLst>
              <a:ext uri="{FF2B5EF4-FFF2-40B4-BE49-F238E27FC236}">
                <a16:creationId xmlns:a16="http://schemas.microsoft.com/office/drawing/2014/main" id="{B2449693-C0D4-4D02-B89D-F1486B17FD44}"/>
              </a:ext>
            </a:extLst>
          </p:cNvPr>
          <p:cNvSpPr txBox="1"/>
          <p:nvPr/>
        </p:nvSpPr>
        <p:spPr>
          <a:xfrm>
            <a:off x="807202" y="3568357"/>
            <a:ext cx="2868698" cy="246221"/>
          </a:xfrm>
          <a:prstGeom prst="rect">
            <a:avLst/>
          </a:prstGeom>
          <a:noFill/>
        </p:spPr>
        <p:txBody>
          <a:bodyPr wrap="square" lIns="0" tIns="0" rIns="0" bIns="0">
            <a:spAutoFit/>
          </a:bodyPr>
          <a:lstStyle/>
          <a:p>
            <a:r>
              <a:rPr lang="en-ID" sz="1600" b="1" i="0" dirty="0">
                <a:effectLst/>
                <a:latin typeface="+mj-lt"/>
              </a:rPr>
              <a:t>Lorem </a:t>
            </a:r>
            <a:r>
              <a:rPr lang="en-ID" sz="1600" b="1" dirty="0">
                <a:latin typeface="+mj-lt"/>
              </a:rPr>
              <a:t>Ipsum </a:t>
            </a:r>
            <a:r>
              <a:rPr lang="en-ID" sz="1600" b="1" dirty="0" err="1">
                <a:latin typeface="+mj-lt"/>
              </a:rPr>
              <a:t>Dolor</a:t>
            </a:r>
            <a:endParaRPr lang="en-ID" sz="1600" b="1" dirty="0">
              <a:latin typeface="+mj-lt"/>
            </a:endParaRPr>
          </a:p>
        </p:txBody>
      </p:sp>
      <p:cxnSp>
        <p:nvCxnSpPr>
          <p:cNvPr id="10" name="Straight Connector 9">
            <a:extLst>
              <a:ext uri="{FF2B5EF4-FFF2-40B4-BE49-F238E27FC236}">
                <a16:creationId xmlns:a16="http://schemas.microsoft.com/office/drawing/2014/main" id="{C715E7B2-3112-4BDF-B232-853CCAE77C52}"/>
              </a:ext>
            </a:extLst>
          </p:cNvPr>
          <p:cNvCxnSpPr>
            <a:cxnSpLocks/>
          </p:cNvCxnSpPr>
          <p:nvPr/>
        </p:nvCxnSpPr>
        <p:spPr>
          <a:xfrm>
            <a:off x="807202" y="3996753"/>
            <a:ext cx="3142498" cy="0"/>
          </a:xfrm>
          <a:prstGeom prst="line">
            <a:avLst/>
          </a:prstGeom>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AAD3B5C2-192E-4A0D-9C04-8E82D9FCF9DF}"/>
              </a:ext>
            </a:extLst>
          </p:cNvPr>
          <p:cNvSpPr txBox="1"/>
          <p:nvPr/>
        </p:nvSpPr>
        <p:spPr>
          <a:xfrm>
            <a:off x="2422149" y="2407845"/>
            <a:ext cx="1063625" cy="830997"/>
          </a:xfrm>
          <a:prstGeom prst="rect">
            <a:avLst/>
          </a:prstGeom>
          <a:noFill/>
        </p:spPr>
        <p:txBody>
          <a:bodyPr wrap="square" lIns="0" tIns="0" rIns="0" bIns="0" anchor="b">
            <a:spAutoFit/>
          </a:bodyPr>
          <a:lstStyle/>
          <a:p>
            <a:r>
              <a:rPr lang="en-ID" b="1" i="0" dirty="0">
                <a:solidFill>
                  <a:schemeClr val="accent1"/>
                </a:solidFill>
                <a:effectLst/>
                <a:latin typeface="+mj-lt"/>
              </a:rPr>
              <a:t>Lorem </a:t>
            </a:r>
            <a:r>
              <a:rPr lang="en-ID" b="1" dirty="0">
                <a:solidFill>
                  <a:schemeClr val="accent1"/>
                </a:solidFill>
                <a:latin typeface="+mj-lt"/>
              </a:rPr>
              <a:t>Ipsum</a:t>
            </a:r>
          </a:p>
          <a:p>
            <a:r>
              <a:rPr lang="en-ID" b="1" dirty="0" err="1">
                <a:solidFill>
                  <a:schemeClr val="accent1"/>
                </a:solidFill>
                <a:latin typeface="+mj-lt"/>
              </a:rPr>
              <a:t>Dolor</a:t>
            </a:r>
            <a:r>
              <a:rPr lang="en-ID" b="1" dirty="0">
                <a:solidFill>
                  <a:schemeClr val="accent1"/>
                </a:solidFill>
                <a:latin typeface="+mj-lt"/>
              </a:rPr>
              <a:t> Sit</a:t>
            </a:r>
          </a:p>
        </p:txBody>
      </p:sp>
      <p:sp>
        <p:nvSpPr>
          <p:cNvPr id="69" name="Rectangle 68">
            <a:extLst>
              <a:ext uri="{FF2B5EF4-FFF2-40B4-BE49-F238E27FC236}">
                <a16:creationId xmlns:a16="http://schemas.microsoft.com/office/drawing/2014/main" id="{0B9F3B61-ED2B-4474-A82C-D23BC68752A3}"/>
              </a:ext>
            </a:extLst>
          </p:cNvPr>
          <p:cNvSpPr/>
          <p:nvPr/>
        </p:nvSpPr>
        <p:spPr>
          <a:xfrm>
            <a:off x="4387850" y="1862138"/>
            <a:ext cx="3416300" cy="43862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0000"/>
              </a:solidFill>
            </a:endParaRPr>
          </a:p>
        </p:txBody>
      </p:sp>
      <p:sp>
        <p:nvSpPr>
          <p:cNvPr id="71" name="TextBox 70">
            <a:extLst>
              <a:ext uri="{FF2B5EF4-FFF2-40B4-BE49-F238E27FC236}">
                <a16:creationId xmlns:a16="http://schemas.microsoft.com/office/drawing/2014/main" id="{BE680D05-106E-40BB-9628-E8253EC4ADCA}"/>
              </a:ext>
            </a:extLst>
          </p:cNvPr>
          <p:cNvSpPr txBox="1"/>
          <p:nvPr/>
        </p:nvSpPr>
        <p:spPr>
          <a:xfrm>
            <a:off x="4679142" y="4189518"/>
            <a:ext cx="2833716" cy="1508105"/>
          </a:xfrm>
          <a:prstGeom prst="rect">
            <a:avLst/>
          </a:prstGeom>
          <a:noFill/>
        </p:spPr>
        <p:txBody>
          <a:bodyPr wrap="square" lIns="0" tIns="0" rIns="0" bIns="0">
            <a:spAutoFit/>
          </a:bodyPr>
          <a:lstStyle/>
          <a:p>
            <a:r>
              <a:rPr lang="en-ID" sz="1400" b="0" i="0" dirty="0">
                <a:effectLst/>
              </a:rPr>
              <a:t>Lorem ipsum </a:t>
            </a:r>
            <a:r>
              <a:rPr lang="en-ID" sz="1400" b="0" i="0" dirty="0" err="1">
                <a:effectLst/>
              </a:rPr>
              <a:t>dolor</a:t>
            </a:r>
            <a:r>
              <a:rPr lang="en-ID" sz="1400" b="0" i="0" dirty="0">
                <a:effectLst/>
              </a:rPr>
              <a:t> sit </a:t>
            </a:r>
            <a:r>
              <a:rPr lang="en-ID" sz="1400" b="0" i="0" dirty="0" err="1">
                <a:effectLst/>
              </a:rPr>
              <a:t>amet</a:t>
            </a:r>
            <a:r>
              <a:rPr lang="en-ID" sz="1400" b="0" i="0" dirty="0">
                <a:effectLst/>
              </a:rPr>
              <a:t>, </a:t>
            </a:r>
            <a:r>
              <a:rPr lang="en-ID" sz="1400" b="0" i="0" dirty="0" err="1">
                <a:effectLst/>
              </a:rPr>
              <a:t>consectetur</a:t>
            </a:r>
            <a:r>
              <a:rPr lang="en-ID" sz="1400" b="0" i="0" dirty="0">
                <a:effectLst/>
              </a:rPr>
              <a:t> </a:t>
            </a:r>
            <a:r>
              <a:rPr lang="en-ID" sz="1400" b="0" i="0" dirty="0" err="1">
                <a:effectLst/>
              </a:rPr>
              <a:t>adipiscing</a:t>
            </a:r>
            <a:r>
              <a:rPr lang="en-ID" sz="1400" b="0" i="0" dirty="0">
                <a:effectLst/>
              </a:rPr>
              <a:t> </a:t>
            </a:r>
            <a:r>
              <a:rPr lang="en-ID" sz="1400" b="0" i="0" dirty="0" err="1">
                <a:effectLst/>
              </a:rPr>
              <a:t>elit</a:t>
            </a:r>
            <a:r>
              <a:rPr lang="en-ID" sz="1400" b="0" i="0" dirty="0">
                <a:effectLst/>
              </a:rPr>
              <a:t>, </a:t>
            </a:r>
            <a:r>
              <a:rPr lang="en-ID" sz="1400" b="0" i="0" dirty="0" err="1">
                <a:effectLst/>
              </a:rPr>
              <a:t>sed</a:t>
            </a:r>
            <a:r>
              <a:rPr lang="en-ID" sz="1400" b="0" i="0" dirty="0">
                <a:effectLst/>
              </a:rPr>
              <a:t> do </a:t>
            </a:r>
            <a:r>
              <a:rPr lang="en-ID" sz="1400" b="0" i="0" dirty="0" err="1">
                <a:effectLst/>
              </a:rPr>
              <a:t>eiusmod</a:t>
            </a:r>
            <a:r>
              <a:rPr lang="en-ID" sz="1400" b="0" i="0" dirty="0">
                <a:effectLst/>
              </a:rPr>
              <a:t> </a:t>
            </a:r>
            <a:r>
              <a:rPr lang="en-ID" sz="1400" b="0" i="0" dirty="0" err="1">
                <a:effectLst/>
              </a:rPr>
              <a:t>tempor</a:t>
            </a:r>
            <a:r>
              <a:rPr lang="en-ID" sz="1400" b="0" i="0" dirty="0">
                <a:effectLst/>
              </a:rPr>
              <a:t> </a:t>
            </a:r>
            <a:r>
              <a:rPr lang="en-ID" sz="1400" b="0" i="0" dirty="0" err="1">
                <a:effectLst/>
              </a:rPr>
              <a:t>incididunt</a:t>
            </a:r>
            <a:r>
              <a:rPr lang="en-ID" sz="1400" b="0" i="0" dirty="0">
                <a:effectLst/>
              </a:rPr>
              <a:t> </a:t>
            </a:r>
            <a:r>
              <a:rPr lang="en-ID" sz="1400" b="0" i="0" dirty="0" err="1">
                <a:effectLst/>
              </a:rPr>
              <a:t>ut</a:t>
            </a:r>
            <a:r>
              <a:rPr lang="en-ID" sz="1400" b="0" i="0" dirty="0">
                <a:effectLst/>
              </a:rPr>
              <a:t> </a:t>
            </a:r>
            <a:r>
              <a:rPr lang="en-ID" sz="1400" b="0" i="0" dirty="0" err="1">
                <a:effectLst/>
              </a:rPr>
              <a:t>labore</a:t>
            </a:r>
            <a:r>
              <a:rPr lang="en-ID" sz="1400" b="0" i="0" dirty="0">
                <a:effectLst/>
              </a:rPr>
              <a:t> et dolore magna </a:t>
            </a:r>
            <a:r>
              <a:rPr lang="en-ID" sz="1400" b="0" i="0" dirty="0" err="1">
                <a:effectLst/>
              </a:rPr>
              <a:t>aliqua</a:t>
            </a:r>
            <a:r>
              <a:rPr lang="en-ID" sz="1400" b="0" i="0" dirty="0">
                <a:effectLst/>
              </a:rPr>
              <a:t>. Ut </a:t>
            </a:r>
            <a:r>
              <a:rPr lang="en-ID" sz="1400" b="0" i="0" dirty="0" err="1">
                <a:effectLst/>
              </a:rPr>
              <a:t>enim</a:t>
            </a:r>
            <a:r>
              <a:rPr lang="en-ID" sz="1400" b="0" i="0" dirty="0">
                <a:effectLst/>
              </a:rPr>
              <a:t> ad minim </a:t>
            </a:r>
            <a:r>
              <a:rPr lang="en-ID" sz="1400" b="0" i="0" dirty="0" err="1">
                <a:effectLst/>
              </a:rPr>
              <a:t>veniam</a:t>
            </a:r>
            <a:r>
              <a:rPr lang="en-ID" sz="1400" b="0" i="0" dirty="0">
                <a:effectLst/>
              </a:rPr>
              <a:t>, </a:t>
            </a:r>
            <a:r>
              <a:rPr lang="en-ID" sz="1400" b="0" i="0" dirty="0" err="1">
                <a:effectLst/>
              </a:rPr>
              <a:t>quis</a:t>
            </a:r>
            <a:r>
              <a:rPr lang="en-ID" sz="1400" b="0" i="0" dirty="0">
                <a:effectLst/>
              </a:rPr>
              <a:t> </a:t>
            </a:r>
            <a:r>
              <a:rPr lang="en-ID" sz="1400" b="0" i="0" dirty="0" err="1">
                <a:effectLst/>
              </a:rPr>
              <a:t>nostrud</a:t>
            </a:r>
            <a:r>
              <a:rPr lang="en-ID" sz="1400" b="0" i="0" dirty="0">
                <a:effectLst/>
              </a:rPr>
              <a:t> exercitation </a:t>
            </a:r>
            <a:r>
              <a:rPr lang="en-ID" sz="1400" b="0" i="0" dirty="0" err="1">
                <a:effectLst/>
              </a:rPr>
              <a:t>ullamco</a:t>
            </a:r>
            <a:r>
              <a:rPr lang="en-ID" sz="1400" b="0" i="0" dirty="0">
                <a:effectLst/>
              </a:rPr>
              <a:t> </a:t>
            </a:r>
            <a:r>
              <a:rPr lang="en-ID" sz="1400" b="0" i="0" dirty="0" err="1">
                <a:effectLst/>
              </a:rPr>
              <a:t>laboris</a:t>
            </a:r>
            <a:r>
              <a:rPr lang="en-ID" sz="1400" b="0" i="0" dirty="0">
                <a:effectLst/>
              </a:rPr>
              <a:t> nisi </a:t>
            </a:r>
            <a:r>
              <a:rPr lang="en-ID" sz="1400" b="0" i="0" dirty="0" err="1">
                <a:effectLst/>
              </a:rPr>
              <a:t>ut</a:t>
            </a:r>
            <a:r>
              <a:rPr lang="en-ID" sz="1400" b="0" i="0" dirty="0">
                <a:effectLst/>
              </a:rPr>
              <a:t> </a:t>
            </a:r>
            <a:r>
              <a:rPr lang="en-ID" sz="1400" b="0" i="0" dirty="0" err="1">
                <a:effectLst/>
              </a:rPr>
              <a:t>aliquip</a:t>
            </a:r>
            <a:r>
              <a:rPr lang="en-ID" sz="1400" b="0" i="0" dirty="0">
                <a:effectLst/>
              </a:rPr>
              <a:t> ex </a:t>
            </a:r>
            <a:r>
              <a:rPr lang="en-ID" sz="1400" b="0" i="0" dirty="0" err="1">
                <a:effectLst/>
              </a:rPr>
              <a:t>ea</a:t>
            </a:r>
            <a:r>
              <a:rPr lang="en-ID" sz="1400" b="0" i="0" dirty="0">
                <a:effectLst/>
              </a:rPr>
              <a:t> </a:t>
            </a:r>
            <a:r>
              <a:rPr lang="en-ID" sz="1400" b="0" i="0" dirty="0" err="1">
                <a:effectLst/>
              </a:rPr>
              <a:t>commodo</a:t>
            </a:r>
            <a:r>
              <a:rPr lang="en-ID" sz="1400" b="0" i="0" dirty="0">
                <a:effectLst/>
              </a:rPr>
              <a:t> </a:t>
            </a:r>
            <a:r>
              <a:rPr lang="en-ID" sz="1400" b="0" i="0" dirty="0" err="1">
                <a:effectLst/>
              </a:rPr>
              <a:t>consequat</a:t>
            </a:r>
            <a:r>
              <a:rPr lang="en-ID" sz="1400" b="0" i="0" dirty="0">
                <a:effectLst/>
              </a:rPr>
              <a:t>.</a:t>
            </a:r>
          </a:p>
        </p:txBody>
      </p:sp>
      <p:sp>
        <p:nvSpPr>
          <p:cNvPr id="72" name="TextBox 71">
            <a:extLst>
              <a:ext uri="{FF2B5EF4-FFF2-40B4-BE49-F238E27FC236}">
                <a16:creationId xmlns:a16="http://schemas.microsoft.com/office/drawing/2014/main" id="{F01412C2-26B5-464A-8687-9DC4040FA678}"/>
              </a:ext>
            </a:extLst>
          </p:cNvPr>
          <p:cNvSpPr txBox="1"/>
          <p:nvPr/>
        </p:nvSpPr>
        <p:spPr>
          <a:xfrm>
            <a:off x="4672525" y="3568357"/>
            <a:ext cx="2846952" cy="246221"/>
          </a:xfrm>
          <a:prstGeom prst="rect">
            <a:avLst/>
          </a:prstGeom>
          <a:noFill/>
        </p:spPr>
        <p:txBody>
          <a:bodyPr wrap="square" lIns="0" tIns="0" rIns="0" bIns="0">
            <a:spAutoFit/>
          </a:bodyPr>
          <a:lstStyle/>
          <a:p>
            <a:r>
              <a:rPr lang="en-ID" sz="1600" b="1" i="0" dirty="0">
                <a:effectLst/>
                <a:latin typeface="+mj-lt"/>
              </a:rPr>
              <a:t>Lorem </a:t>
            </a:r>
            <a:r>
              <a:rPr lang="en-ID" sz="1600" b="1" dirty="0">
                <a:latin typeface="+mj-lt"/>
              </a:rPr>
              <a:t>Ipsum </a:t>
            </a:r>
            <a:r>
              <a:rPr lang="en-ID" sz="1600" b="1" dirty="0" err="1">
                <a:latin typeface="+mj-lt"/>
              </a:rPr>
              <a:t>Dolor</a:t>
            </a:r>
            <a:endParaRPr lang="en-ID" sz="1600" b="1" dirty="0">
              <a:latin typeface="+mj-lt"/>
            </a:endParaRPr>
          </a:p>
        </p:txBody>
      </p:sp>
      <p:cxnSp>
        <p:nvCxnSpPr>
          <p:cNvPr id="73" name="Straight Connector 72">
            <a:extLst>
              <a:ext uri="{FF2B5EF4-FFF2-40B4-BE49-F238E27FC236}">
                <a16:creationId xmlns:a16="http://schemas.microsoft.com/office/drawing/2014/main" id="{A6A575D8-E7D3-4E9E-962C-A538CD623546}"/>
              </a:ext>
            </a:extLst>
          </p:cNvPr>
          <p:cNvCxnSpPr>
            <a:cxnSpLocks/>
          </p:cNvCxnSpPr>
          <p:nvPr/>
        </p:nvCxnSpPr>
        <p:spPr>
          <a:xfrm>
            <a:off x="4679142" y="3996753"/>
            <a:ext cx="3125008"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8726E209-B2C5-46A0-9E48-88F2747FF385}"/>
              </a:ext>
            </a:extLst>
          </p:cNvPr>
          <p:cNvSpPr txBox="1"/>
          <p:nvPr/>
        </p:nvSpPr>
        <p:spPr>
          <a:xfrm>
            <a:off x="6276599" y="2407845"/>
            <a:ext cx="1063625" cy="830997"/>
          </a:xfrm>
          <a:prstGeom prst="rect">
            <a:avLst/>
          </a:prstGeom>
          <a:noFill/>
        </p:spPr>
        <p:txBody>
          <a:bodyPr wrap="square" lIns="0" tIns="0" rIns="0" bIns="0" anchor="b">
            <a:spAutoFit/>
          </a:bodyPr>
          <a:lstStyle/>
          <a:p>
            <a:r>
              <a:rPr lang="en-ID" b="1" i="0" dirty="0">
                <a:solidFill>
                  <a:schemeClr val="accent1"/>
                </a:solidFill>
                <a:effectLst/>
                <a:latin typeface="+mj-lt"/>
              </a:rPr>
              <a:t>Lorem </a:t>
            </a:r>
            <a:r>
              <a:rPr lang="en-ID" b="1" dirty="0">
                <a:solidFill>
                  <a:schemeClr val="accent1"/>
                </a:solidFill>
                <a:latin typeface="+mj-lt"/>
              </a:rPr>
              <a:t>Ipsum</a:t>
            </a:r>
          </a:p>
          <a:p>
            <a:r>
              <a:rPr lang="en-ID" b="1" dirty="0" err="1">
                <a:solidFill>
                  <a:schemeClr val="accent1"/>
                </a:solidFill>
                <a:latin typeface="+mj-lt"/>
              </a:rPr>
              <a:t>Dolor</a:t>
            </a:r>
            <a:r>
              <a:rPr lang="en-ID" b="1" dirty="0">
                <a:solidFill>
                  <a:schemeClr val="accent1"/>
                </a:solidFill>
                <a:latin typeface="+mj-lt"/>
              </a:rPr>
              <a:t> Sit</a:t>
            </a:r>
          </a:p>
        </p:txBody>
      </p:sp>
      <p:sp>
        <p:nvSpPr>
          <p:cNvPr id="76" name="Rectangle 75">
            <a:extLst>
              <a:ext uri="{FF2B5EF4-FFF2-40B4-BE49-F238E27FC236}">
                <a16:creationId xmlns:a16="http://schemas.microsoft.com/office/drawing/2014/main" id="{42B4AE8A-3A75-466C-95B5-C69FFB6FBCDE}"/>
              </a:ext>
            </a:extLst>
          </p:cNvPr>
          <p:cNvSpPr/>
          <p:nvPr/>
        </p:nvSpPr>
        <p:spPr>
          <a:xfrm>
            <a:off x="8242302" y="1862138"/>
            <a:ext cx="3416300" cy="43862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0000"/>
              </a:solidFill>
            </a:endParaRPr>
          </a:p>
        </p:txBody>
      </p:sp>
      <p:sp>
        <p:nvSpPr>
          <p:cNvPr id="78" name="TextBox 77">
            <a:extLst>
              <a:ext uri="{FF2B5EF4-FFF2-40B4-BE49-F238E27FC236}">
                <a16:creationId xmlns:a16="http://schemas.microsoft.com/office/drawing/2014/main" id="{E2872E7A-230E-41F4-825E-CB3816BA5A6C}"/>
              </a:ext>
            </a:extLst>
          </p:cNvPr>
          <p:cNvSpPr txBox="1"/>
          <p:nvPr/>
        </p:nvSpPr>
        <p:spPr>
          <a:xfrm>
            <a:off x="8528341" y="4189518"/>
            <a:ext cx="2844222" cy="1508105"/>
          </a:xfrm>
          <a:prstGeom prst="rect">
            <a:avLst/>
          </a:prstGeom>
          <a:noFill/>
        </p:spPr>
        <p:txBody>
          <a:bodyPr wrap="square" lIns="0" tIns="0" rIns="0" bIns="0">
            <a:spAutoFit/>
          </a:bodyPr>
          <a:lstStyle/>
          <a:p>
            <a:r>
              <a:rPr lang="en-ID" sz="1400" b="0" i="0" dirty="0">
                <a:effectLst/>
              </a:rPr>
              <a:t>Lorem ipsum </a:t>
            </a:r>
            <a:r>
              <a:rPr lang="en-ID" sz="1400" b="0" i="0" dirty="0" err="1">
                <a:effectLst/>
              </a:rPr>
              <a:t>dolor</a:t>
            </a:r>
            <a:r>
              <a:rPr lang="en-ID" sz="1400" b="0" i="0" dirty="0">
                <a:effectLst/>
              </a:rPr>
              <a:t> sit </a:t>
            </a:r>
            <a:r>
              <a:rPr lang="en-ID" sz="1400" b="0" i="0" dirty="0" err="1">
                <a:effectLst/>
              </a:rPr>
              <a:t>amet</a:t>
            </a:r>
            <a:r>
              <a:rPr lang="en-ID" sz="1400" b="0" i="0" dirty="0">
                <a:effectLst/>
              </a:rPr>
              <a:t>, </a:t>
            </a:r>
            <a:r>
              <a:rPr lang="en-ID" sz="1400" b="0" i="0" dirty="0" err="1">
                <a:effectLst/>
              </a:rPr>
              <a:t>consectetur</a:t>
            </a:r>
            <a:r>
              <a:rPr lang="en-ID" sz="1400" b="0" i="0" dirty="0">
                <a:effectLst/>
              </a:rPr>
              <a:t> </a:t>
            </a:r>
            <a:r>
              <a:rPr lang="en-ID" sz="1400" b="0" i="0" dirty="0" err="1">
                <a:effectLst/>
              </a:rPr>
              <a:t>adipiscing</a:t>
            </a:r>
            <a:r>
              <a:rPr lang="en-ID" sz="1400" b="0" i="0" dirty="0">
                <a:effectLst/>
              </a:rPr>
              <a:t> </a:t>
            </a:r>
            <a:r>
              <a:rPr lang="en-ID" sz="1400" b="0" i="0" dirty="0" err="1">
                <a:effectLst/>
              </a:rPr>
              <a:t>elit</a:t>
            </a:r>
            <a:r>
              <a:rPr lang="en-ID" sz="1400" b="0" i="0" dirty="0">
                <a:effectLst/>
              </a:rPr>
              <a:t>, </a:t>
            </a:r>
            <a:r>
              <a:rPr lang="en-ID" sz="1400" b="0" i="0" dirty="0" err="1">
                <a:effectLst/>
              </a:rPr>
              <a:t>sed</a:t>
            </a:r>
            <a:r>
              <a:rPr lang="en-ID" sz="1400" b="0" i="0" dirty="0">
                <a:effectLst/>
              </a:rPr>
              <a:t> do </a:t>
            </a:r>
            <a:r>
              <a:rPr lang="en-ID" sz="1400" b="0" i="0" dirty="0" err="1">
                <a:effectLst/>
              </a:rPr>
              <a:t>eiusmod</a:t>
            </a:r>
            <a:r>
              <a:rPr lang="en-ID" sz="1400" b="0" i="0" dirty="0">
                <a:effectLst/>
              </a:rPr>
              <a:t> </a:t>
            </a:r>
            <a:r>
              <a:rPr lang="en-ID" sz="1400" b="0" i="0" dirty="0" err="1">
                <a:effectLst/>
              </a:rPr>
              <a:t>tempor</a:t>
            </a:r>
            <a:r>
              <a:rPr lang="en-ID" sz="1400" b="0" i="0" dirty="0">
                <a:effectLst/>
              </a:rPr>
              <a:t> </a:t>
            </a:r>
            <a:r>
              <a:rPr lang="en-ID" sz="1400" b="0" i="0" dirty="0" err="1">
                <a:effectLst/>
              </a:rPr>
              <a:t>incididunt</a:t>
            </a:r>
            <a:r>
              <a:rPr lang="en-ID" sz="1400" b="0" i="0" dirty="0">
                <a:effectLst/>
              </a:rPr>
              <a:t> </a:t>
            </a:r>
            <a:r>
              <a:rPr lang="en-ID" sz="1400" b="0" i="0" dirty="0" err="1">
                <a:effectLst/>
              </a:rPr>
              <a:t>ut</a:t>
            </a:r>
            <a:r>
              <a:rPr lang="en-ID" sz="1400" b="0" i="0" dirty="0">
                <a:effectLst/>
              </a:rPr>
              <a:t> </a:t>
            </a:r>
            <a:r>
              <a:rPr lang="en-ID" sz="1400" b="0" i="0" dirty="0" err="1">
                <a:effectLst/>
              </a:rPr>
              <a:t>labore</a:t>
            </a:r>
            <a:r>
              <a:rPr lang="en-ID" sz="1400" b="0" i="0" dirty="0">
                <a:effectLst/>
              </a:rPr>
              <a:t> et dolore magna </a:t>
            </a:r>
            <a:r>
              <a:rPr lang="en-ID" sz="1400" b="0" i="0" dirty="0" err="1">
                <a:effectLst/>
              </a:rPr>
              <a:t>aliqua</a:t>
            </a:r>
            <a:r>
              <a:rPr lang="en-ID" sz="1400" b="0" i="0" dirty="0">
                <a:effectLst/>
              </a:rPr>
              <a:t>. Ut </a:t>
            </a:r>
            <a:r>
              <a:rPr lang="en-ID" sz="1400" b="0" i="0" dirty="0" err="1">
                <a:effectLst/>
              </a:rPr>
              <a:t>enim</a:t>
            </a:r>
            <a:r>
              <a:rPr lang="en-ID" sz="1400" b="0" i="0" dirty="0">
                <a:effectLst/>
              </a:rPr>
              <a:t> ad minim </a:t>
            </a:r>
            <a:r>
              <a:rPr lang="en-ID" sz="1400" b="0" i="0" dirty="0" err="1">
                <a:effectLst/>
              </a:rPr>
              <a:t>veniam</a:t>
            </a:r>
            <a:r>
              <a:rPr lang="en-ID" sz="1400" b="0" i="0" dirty="0">
                <a:effectLst/>
              </a:rPr>
              <a:t>, </a:t>
            </a:r>
            <a:r>
              <a:rPr lang="en-ID" sz="1400" b="0" i="0" dirty="0" err="1">
                <a:effectLst/>
              </a:rPr>
              <a:t>quis</a:t>
            </a:r>
            <a:r>
              <a:rPr lang="en-ID" sz="1400" b="0" i="0" dirty="0">
                <a:effectLst/>
              </a:rPr>
              <a:t> </a:t>
            </a:r>
            <a:r>
              <a:rPr lang="en-ID" sz="1400" b="0" i="0" dirty="0" err="1">
                <a:effectLst/>
              </a:rPr>
              <a:t>nostrud</a:t>
            </a:r>
            <a:r>
              <a:rPr lang="en-ID" sz="1400" b="0" i="0" dirty="0">
                <a:effectLst/>
              </a:rPr>
              <a:t> exercitation </a:t>
            </a:r>
            <a:r>
              <a:rPr lang="en-ID" sz="1400" b="0" i="0" dirty="0" err="1">
                <a:effectLst/>
              </a:rPr>
              <a:t>ullamco</a:t>
            </a:r>
            <a:r>
              <a:rPr lang="en-ID" sz="1400" b="0" i="0" dirty="0">
                <a:effectLst/>
              </a:rPr>
              <a:t> </a:t>
            </a:r>
            <a:r>
              <a:rPr lang="en-ID" sz="1400" b="0" i="0" dirty="0" err="1">
                <a:effectLst/>
              </a:rPr>
              <a:t>laboris</a:t>
            </a:r>
            <a:r>
              <a:rPr lang="en-ID" sz="1400" b="0" i="0" dirty="0">
                <a:effectLst/>
              </a:rPr>
              <a:t> nisi </a:t>
            </a:r>
            <a:r>
              <a:rPr lang="en-ID" sz="1400" b="0" i="0" dirty="0" err="1">
                <a:effectLst/>
              </a:rPr>
              <a:t>ut</a:t>
            </a:r>
            <a:r>
              <a:rPr lang="en-ID" sz="1400" b="0" i="0" dirty="0">
                <a:effectLst/>
              </a:rPr>
              <a:t> </a:t>
            </a:r>
            <a:r>
              <a:rPr lang="en-ID" sz="1400" b="0" i="0" dirty="0" err="1">
                <a:effectLst/>
              </a:rPr>
              <a:t>aliquip</a:t>
            </a:r>
            <a:r>
              <a:rPr lang="en-ID" sz="1400" b="0" i="0" dirty="0">
                <a:effectLst/>
              </a:rPr>
              <a:t> ex </a:t>
            </a:r>
            <a:r>
              <a:rPr lang="en-ID" sz="1400" b="0" i="0" dirty="0" err="1">
                <a:effectLst/>
              </a:rPr>
              <a:t>ea</a:t>
            </a:r>
            <a:r>
              <a:rPr lang="en-ID" sz="1400" b="0" i="0" dirty="0">
                <a:effectLst/>
              </a:rPr>
              <a:t> </a:t>
            </a:r>
            <a:r>
              <a:rPr lang="en-ID" sz="1400" b="0" i="0" dirty="0" err="1">
                <a:effectLst/>
              </a:rPr>
              <a:t>commodo</a:t>
            </a:r>
            <a:r>
              <a:rPr lang="en-ID" sz="1400" b="0" i="0" dirty="0">
                <a:effectLst/>
              </a:rPr>
              <a:t> </a:t>
            </a:r>
            <a:r>
              <a:rPr lang="en-ID" sz="1400" b="0" i="0" dirty="0" err="1">
                <a:effectLst/>
              </a:rPr>
              <a:t>consequat</a:t>
            </a:r>
            <a:r>
              <a:rPr lang="en-ID" sz="1400" b="0" i="0" dirty="0">
                <a:effectLst/>
              </a:rPr>
              <a:t>.</a:t>
            </a:r>
          </a:p>
        </p:txBody>
      </p:sp>
      <p:sp>
        <p:nvSpPr>
          <p:cNvPr id="79" name="TextBox 78">
            <a:extLst>
              <a:ext uri="{FF2B5EF4-FFF2-40B4-BE49-F238E27FC236}">
                <a16:creationId xmlns:a16="http://schemas.microsoft.com/office/drawing/2014/main" id="{93849A49-6628-4B6E-8AAE-9B226477377B}"/>
              </a:ext>
            </a:extLst>
          </p:cNvPr>
          <p:cNvSpPr txBox="1"/>
          <p:nvPr/>
        </p:nvSpPr>
        <p:spPr>
          <a:xfrm>
            <a:off x="8521700" y="3568357"/>
            <a:ext cx="2857506" cy="246221"/>
          </a:xfrm>
          <a:prstGeom prst="rect">
            <a:avLst/>
          </a:prstGeom>
          <a:noFill/>
        </p:spPr>
        <p:txBody>
          <a:bodyPr wrap="square" lIns="0" tIns="0" rIns="0" bIns="0">
            <a:spAutoFit/>
          </a:bodyPr>
          <a:lstStyle/>
          <a:p>
            <a:r>
              <a:rPr lang="en-ID" sz="1600" b="1" i="0" dirty="0">
                <a:effectLst/>
                <a:latin typeface="+mj-lt"/>
              </a:rPr>
              <a:t>Lorem </a:t>
            </a:r>
            <a:r>
              <a:rPr lang="en-ID" sz="1600" b="1" dirty="0">
                <a:latin typeface="+mj-lt"/>
              </a:rPr>
              <a:t>Ipsum </a:t>
            </a:r>
            <a:r>
              <a:rPr lang="en-ID" sz="1600" b="1" dirty="0" err="1">
                <a:latin typeface="+mj-lt"/>
              </a:rPr>
              <a:t>Dolor</a:t>
            </a:r>
            <a:endParaRPr lang="en-ID" sz="1600" b="1" dirty="0">
              <a:latin typeface="+mj-lt"/>
            </a:endParaRPr>
          </a:p>
        </p:txBody>
      </p:sp>
      <p:cxnSp>
        <p:nvCxnSpPr>
          <p:cNvPr id="80" name="Straight Connector 79">
            <a:extLst>
              <a:ext uri="{FF2B5EF4-FFF2-40B4-BE49-F238E27FC236}">
                <a16:creationId xmlns:a16="http://schemas.microsoft.com/office/drawing/2014/main" id="{63FE7EBC-F8EC-4E49-B9A4-2F9B4E1EB4B7}"/>
              </a:ext>
            </a:extLst>
          </p:cNvPr>
          <p:cNvCxnSpPr>
            <a:cxnSpLocks/>
          </p:cNvCxnSpPr>
          <p:nvPr/>
        </p:nvCxnSpPr>
        <p:spPr>
          <a:xfrm>
            <a:off x="8528341" y="3996753"/>
            <a:ext cx="3130261" cy="0"/>
          </a:xfrm>
          <a:prstGeom prst="line">
            <a:avLst/>
          </a:prstGeom>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EB5BD45C-6AB9-4975-998B-11936874AB15}"/>
              </a:ext>
            </a:extLst>
          </p:cNvPr>
          <p:cNvSpPr txBox="1"/>
          <p:nvPr/>
        </p:nvSpPr>
        <p:spPr>
          <a:xfrm>
            <a:off x="10131051" y="2407845"/>
            <a:ext cx="1063625" cy="830997"/>
          </a:xfrm>
          <a:prstGeom prst="rect">
            <a:avLst/>
          </a:prstGeom>
          <a:noFill/>
        </p:spPr>
        <p:txBody>
          <a:bodyPr wrap="square" lIns="0" tIns="0" rIns="0" bIns="0" anchor="b">
            <a:spAutoFit/>
          </a:bodyPr>
          <a:lstStyle/>
          <a:p>
            <a:r>
              <a:rPr lang="en-ID" b="1" i="0" dirty="0">
                <a:solidFill>
                  <a:schemeClr val="accent1"/>
                </a:solidFill>
                <a:effectLst/>
                <a:latin typeface="+mj-lt"/>
              </a:rPr>
              <a:t>Lorem </a:t>
            </a:r>
            <a:r>
              <a:rPr lang="en-ID" b="1" dirty="0">
                <a:solidFill>
                  <a:schemeClr val="accent1"/>
                </a:solidFill>
                <a:latin typeface="+mj-lt"/>
              </a:rPr>
              <a:t>Ipsum</a:t>
            </a:r>
          </a:p>
          <a:p>
            <a:r>
              <a:rPr lang="en-ID" b="1" dirty="0" err="1">
                <a:solidFill>
                  <a:schemeClr val="accent1"/>
                </a:solidFill>
                <a:latin typeface="+mj-lt"/>
              </a:rPr>
              <a:t>Dolor</a:t>
            </a:r>
            <a:r>
              <a:rPr lang="en-ID" b="1" dirty="0">
                <a:solidFill>
                  <a:schemeClr val="accent1"/>
                </a:solidFill>
                <a:latin typeface="+mj-lt"/>
              </a:rPr>
              <a:t> Sit</a:t>
            </a:r>
          </a:p>
        </p:txBody>
      </p:sp>
      <p:pic>
        <p:nvPicPr>
          <p:cNvPr id="82" name="Picture 81" descr="A person wearing a suit and tie&#10;&#10;Description automatically generated">
            <a:extLst>
              <a:ext uri="{FF2B5EF4-FFF2-40B4-BE49-F238E27FC236}">
                <a16:creationId xmlns:a16="http://schemas.microsoft.com/office/drawing/2014/main" id="{8304E840-25DD-45A7-A766-B67DD3EE335F}"/>
              </a:ext>
            </a:extLst>
          </p:cNvPr>
          <p:cNvPicPr>
            <a:picLocks noChangeAspect="1"/>
          </p:cNvPicPr>
          <p:nvPr/>
        </p:nvPicPr>
        <p:blipFill rotWithShape="1">
          <a:blip r:embed="rId3">
            <a:extLst>
              <a:ext uri="{28A0092B-C50C-407E-A947-70E740481C1C}">
                <a14:useLocalDpi xmlns:a14="http://schemas.microsoft.com/office/drawing/2010/main"/>
              </a:ext>
            </a:extLst>
          </a:blip>
          <a:srcRect l="23377" r="22530" b="59381"/>
          <a:stretch/>
        </p:blipFill>
        <p:spPr>
          <a:xfrm>
            <a:off x="807202" y="1624915"/>
            <a:ext cx="1434348" cy="1613927"/>
          </a:xfrm>
          <a:custGeom>
            <a:avLst/>
            <a:gdLst>
              <a:gd name="connsiteX0" fmla="*/ 0 w 1434348"/>
              <a:gd name="connsiteY0" fmla="*/ 0 h 1613927"/>
              <a:gd name="connsiteX1" fmla="*/ 1195285 w 1434348"/>
              <a:gd name="connsiteY1" fmla="*/ 0 h 1613927"/>
              <a:gd name="connsiteX2" fmla="*/ 1434348 w 1434348"/>
              <a:gd name="connsiteY2" fmla="*/ 239063 h 1613927"/>
              <a:gd name="connsiteX3" fmla="*/ 1434348 w 1434348"/>
              <a:gd name="connsiteY3" fmla="*/ 1613927 h 1613927"/>
              <a:gd name="connsiteX4" fmla="*/ 0 w 1434348"/>
              <a:gd name="connsiteY4" fmla="*/ 1613927 h 1613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348" h="1613927">
                <a:moveTo>
                  <a:pt x="0" y="0"/>
                </a:moveTo>
                <a:lnTo>
                  <a:pt x="1195285" y="0"/>
                </a:lnTo>
                <a:lnTo>
                  <a:pt x="1434348" y="239063"/>
                </a:lnTo>
                <a:lnTo>
                  <a:pt x="1434348" y="1613927"/>
                </a:lnTo>
                <a:lnTo>
                  <a:pt x="0" y="1613927"/>
                </a:lnTo>
                <a:close/>
              </a:path>
            </a:pathLst>
          </a:custGeom>
        </p:spPr>
      </p:pic>
      <p:pic>
        <p:nvPicPr>
          <p:cNvPr id="83" name="Picture 82" descr="A person sitting in a chair talking on a cell phone&#10;&#10;Description automatically generated">
            <a:extLst>
              <a:ext uri="{FF2B5EF4-FFF2-40B4-BE49-F238E27FC236}">
                <a16:creationId xmlns:a16="http://schemas.microsoft.com/office/drawing/2014/main" id="{CB0FEC91-0711-450C-ACE4-0F5EC6A4558A}"/>
              </a:ext>
            </a:extLst>
          </p:cNvPr>
          <p:cNvPicPr>
            <a:picLocks noChangeAspect="1"/>
          </p:cNvPicPr>
          <p:nvPr/>
        </p:nvPicPr>
        <p:blipFill rotWithShape="1">
          <a:blip r:embed="rId4">
            <a:extLst>
              <a:ext uri="{28A0092B-C50C-407E-A947-70E740481C1C}">
                <a14:useLocalDpi xmlns:a14="http://schemas.microsoft.com/office/drawing/2010/main"/>
              </a:ext>
            </a:extLst>
          </a:blip>
          <a:srcRect l="35919" t="34863" r="23723" b="34863"/>
          <a:stretch/>
        </p:blipFill>
        <p:spPr>
          <a:xfrm>
            <a:off x="4679142" y="1624916"/>
            <a:ext cx="1434348" cy="1613927"/>
          </a:xfrm>
          <a:custGeom>
            <a:avLst/>
            <a:gdLst>
              <a:gd name="connsiteX0" fmla="*/ 0 w 1434348"/>
              <a:gd name="connsiteY0" fmla="*/ 0 h 1613927"/>
              <a:gd name="connsiteX1" fmla="*/ 1195285 w 1434348"/>
              <a:gd name="connsiteY1" fmla="*/ 0 h 1613927"/>
              <a:gd name="connsiteX2" fmla="*/ 1434348 w 1434348"/>
              <a:gd name="connsiteY2" fmla="*/ 239063 h 1613927"/>
              <a:gd name="connsiteX3" fmla="*/ 1434348 w 1434348"/>
              <a:gd name="connsiteY3" fmla="*/ 1613927 h 1613927"/>
              <a:gd name="connsiteX4" fmla="*/ 0 w 1434348"/>
              <a:gd name="connsiteY4" fmla="*/ 1613927 h 1613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348" h="1613927">
                <a:moveTo>
                  <a:pt x="0" y="0"/>
                </a:moveTo>
                <a:lnTo>
                  <a:pt x="1195285" y="0"/>
                </a:lnTo>
                <a:lnTo>
                  <a:pt x="1434348" y="239063"/>
                </a:lnTo>
                <a:lnTo>
                  <a:pt x="1434348" y="1613927"/>
                </a:lnTo>
                <a:lnTo>
                  <a:pt x="0" y="1613927"/>
                </a:lnTo>
                <a:close/>
              </a:path>
            </a:pathLst>
          </a:custGeom>
        </p:spPr>
      </p:pic>
      <p:pic>
        <p:nvPicPr>
          <p:cNvPr id="84" name="Picture 83" descr="A person wearing a suit and tie standing next to a fence&#10;&#10;Description automatically generated">
            <a:extLst>
              <a:ext uri="{FF2B5EF4-FFF2-40B4-BE49-F238E27FC236}">
                <a16:creationId xmlns:a16="http://schemas.microsoft.com/office/drawing/2014/main" id="{4598680D-848B-4FCD-865A-CF1CE6A0D6AC}"/>
              </a:ext>
            </a:extLst>
          </p:cNvPr>
          <p:cNvPicPr>
            <a:picLocks noChangeAspect="1"/>
          </p:cNvPicPr>
          <p:nvPr/>
        </p:nvPicPr>
        <p:blipFill rotWithShape="1">
          <a:blip r:embed="rId5">
            <a:extLst>
              <a:ext uri="{28A0092B-C50C-407E-A947-70E740481C1C}">
                <a14:useLocalDpi xmlns:a14="http://schemas.microsoft.com/office/drawing/2010/main"/>
              </a:ext>
            </a:extLst>
          </a:blip>
          <a:srcRect l="27925" t="15336" r="28022" b="51618"/>
          <a:stretch/>
        </p:blipFill>
        <p:spPr>
          <a:xfrm>
            <a:off x="8521700" y="1624916"/>
            <a:ext cx="1434348" cy="1613927"/>
          </a:xfrm>
          <a:custGeom>
            <a:avLst/>
            <a:gdLst>
              <a:gd name="connsiteX0" fmla="*/ 0 w 1434348"/>
              <a:gd name="connsiteY0" fmla="*/ 0 h 1613927"/>
              <a:gd name="connsiteX1" fmla="*/ 1195285 w 1434348"/>
              <a:gd name="connsiteY1" fmla="*/ 0 h 1613927"/>
              <a:gd name="connsiteX2" fmla="*/ 1434348 w 1434348"/>
              <a:gd name="connsiteY2" fmla="*/ 239063 h 1613927"/>
              <a:gd name="connsiteX3" fmla="*/ 1434348 w 1434348"/>
              <a:gd name="connsiteY3" fmla="*/ 1613927 h 1613927"/>
              <a:gd name="connsiteX4" fmla="*/ 0 w 1434348"/>
              <a:gd name="connsiteY4" fmla="*/ 1613927 h 1613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348" h="1613927">
                <a:moveTo>
                  <a:pt x="0" y="0"/>
                </a:moveTo>
                <a:lnTo>
                  <a:pt x="1195285" y="0"/>
                </a:lnTo>
                <a:lnTo>
                  <a:pt x="1434348" y="239063"/>
                </a:lnTo>
                <a:lnTo>
                  <a:pt x="1434348" y="1613927"/>
                </a:lnTo>
                <a:lnTo>
                  <a:pt x="0" y="1613927"/>
                </a:lnTo>
                <a:close/>
              </a:path>
            </a:pathLst>
          </a:custGeom>
        </p:spPr>
      </p:pic>
      <p:cxnSp>
        <p:nvCxnSpPr>
          <p:cNvPr id="86" name="Straight Connector 85">
            <a:extLst>
              <a:ext uri="{FF2B5EF4-FFF2-40B4-BE49-F238E27FC236}">
                <a16:creationId xmlns:a16="http://schemas.microsoft.com/office/drawing/2014/main" id="{6A3960DE-667A-4153-9A24-5C20D67DD60A}"/>
              </a:ext>
            </a:extLst>
          </p:cNvPr>
          <p:cNvCxnSpPr>
            <a:cxnSpLocks/>
          </p:cNvCxnSpPr>
          <p:nvPr/>
        </p:nvCxnSpPr>
        <p:spPr>
          <a:xfrm>
            <a:off x="807202" y="6248400"/>
            <a:ext cx="410357"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C2E048A-7E72-427B-A6B1-DBE623CAE481}"/>
              </a:ext>
            </a:extLst>
          </p:cNvPr>
          <p:cNvCxnSpPr>
            <a:cxnSpLocks/>
          </p:cNvCxnSpPr>
          <p:nvPr/>
        </p:nvCxnSpPr>
        <p:spPr>
          <a:xfrm>
            <a:off x="4679142" y="6248400"/>
            <a:ext cx="410357"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9B608AB-7342-4249-A5F7-4E9799BC13D9}"/>
              </a:ext>
            </a:extLst>
          </p:cNvPr>
          <p:cNvCxnSpPr>
            <a:cxnSpLocks/>
          </p:cNvCxnSpPr>
          <p:nvPr/>
        </p:nvCxnSpPr>
        <p:spPr>
          <a:xfrm>
            <a:off x="8528341" y="6248400"/>
            <a:ext cx="410357" cy="0"/>
          </a:xfrm>
          <a:prstGeom prst="line">
            <a:avLst/>
          </a:prstGeom>
          <a:ln w="317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612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203F7-E89F-4162-A921-D690A1167B34}"/>
              </a:ext>
            </a:extLst>
          </p:cNvPr>
          <p:cNvSpPr>
            <a:spLocks noGrp="1"/>
          </p:cNvSpPr>
          <p:nvPr>
            <p:ph type="title"/>
          </p:nvPr>
        </p:nvSpPr>
        <p:spPr/>
        <p:txBody>
          <a:bodyPr/>
          <a:lstStyle/>
          <a:p>
            <a:r>
              <a:rPr lang="en-US" dirty="0"/>
              <a:t>Projects</a:t>
            </a:r>
          </a:p>
        </p:txBody>
      </p:sp>
      <p:sp>
        <p:nvSpPr>
          <p:cNvPr id="8" name="Rectangle 7">
            <a:extLst>
              <a:ext uri="{FF2B5EF4-FFF2-40B4-BE49-F238E27FC236}">
                <a16:creationId xmlns:a16="http://schemas.microsoft.com/office/drawing/2014/main" id="{89F9B788-0C4A-426E-8C29-0E828C73DA7E}"/>
              </a:ext>
            </a:extLst>
          </p:cNvPr>
          <p:cNvSpPr/>
          <p:nvPr/>
        </p:nvSpPr>
        <p:spPr>
          <a:xfrm>
            <a:off x="533399" y="1524000"/>
            <a:ext cx="10947740" cy="13913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0000"/>
              </a:solidFill>
            </a:endParaRPr>
          </a:p>
        </p:txBody>
      </p:sp>
      <p:sp>
        <p:nvSpPr>
          <p:cNvPr id="12" name="Rectangle 11">
            <a:extLst>
              <a:ext uri="{FF2B5EF4-FFF2-40B4-BE49-F238E27FC236}">
                <a16:creationId xmlns:a16="http://schemas.microsoft.com/office/drawing/2014/main" id="{68E1D68F-AA72-4FF3-830A-393E862878DC}"/>
              </a:ext>
            </a:extLst>
          </p:cNvPr>
          <p:cNvSpPr/>
          <p:nvPr/>
        </p:nvSpPr>
        <p:spPr>
          <a:xfrm>
            <a:off x="533400" y="1524000"/>
            <a:ext cx="3060700" cy="1391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3" name="TextBox 12">
            <a:extLst>
              <a:ext uri="{FF2B5EF4-FFF2-40B4-BE49-F238E27FC236}">
                <a16:creationId xmlns:a16="http://schemas.microsoft.com/office/drawing/2014/main" id="{94D441E5-5034-43AA-8307-BDBA615449E6}"/>
              </a:ext>
            </a:extLst>
          </p:cNvPr>
          <p:cNvSpPr txBox="1"/>
          <p:nvPr/>
        </p:nvSpPr>
        <p:spPr>
          <a:xfrm>
            <a:off x="1657350" y="2081164"/>
            <a:ext cx="1569358" cy="276999"/>
          </a:xfrm>
          <a:prstGeom prst="rect">
            <a:avLst/>
          </a:prstGeom>
          <a:noFill/>
        </p:spPr>
        <p:txBody>
          <a:bodyPr wrap="square" lIns="0" tIns="0" rIns="0" bIns="0" anchor="ctr">
            <a:spAutoFit/>
          </a:bodyPr>
          <a:lstStyle/>
          <a:p>
            <a:r>
              <a:rPr lang="en-ID" b="1" i="0" dirty="0">
                <a:solidFill>
                  <a:schemeClr val="bg1"/>
                </a:solidFill>
                <a:effectLst/>
                <a:latin typeface="+mj-lt"/>
              </a:rPr>
              <a:t>Lorem Ipsum</a:t>
            </a:r>
            <a:endParaRPr lang="en-ID" b="1" dirty="0">
              <a:solidFill>
                <a:schemeClr val="bg1"/>
              </a:solidFill>
              <a:latin typeface="+mj-lt"/>
            </a:endParaRPr>
          </a:p>
        </p:txBody>
      </p:sp>
      <p:sp>
        <p:nvSpPr>
          <p:cNvPr id="15" name="Rectangle: Single Corner Snipped 14">
            <a:extLst>
              <a:ext uri="{FF2B5EF4-FFF2-40B4-BE49-F238E27FC236}">
                <a16:creationId xmlns:a16="http://schemas.microsoft.com/office/drawing/2014/main" id="{3C114439-2DB2-4DB4-8849-388B90357BB4}"/>
              </a:ext>
            </a:extLst>
          </p:cNvPr>
          <p:cNvSpPr/>
          <p:nvPr/>
        </p:nvSpPr>
        <p:spPr>
          <a:xfrm flipH="1">
            <a:off x="10839450" y="1851364"/>
            <a:ext cx="819150" cy="736600"/>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Right Triangle 15">
            <a:extLst>
              <a:ext uri="{FF2B5EF4-FFF2-40B4-BE49-F238E27FC236}">
                <a16:creationId xmlns:a16="http://schemas.microsoft.com/office/drawing/2014/main" id="{966471FE-2F71-4F5C-A2B0-39A90C227543}"/>
              </a:ext>
            </a:extLst>
          </p:cNvPr>
          <p:cNvSpPr/>
          <p:nvPr/>
        </p:nvSpPr>
        <p:spPr>
          <a:xfrm rot="5400000">
            <a:off x="11481139" y="2587964"/>
            <a:ext cx="177461" cy="17746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7" name="TextBox 16">
            <a:extLst>
              <a:ext uri="{FF2B5EF4-FFF2-40B4-BE49-F238E27FC236}">
                <a16:creationId xmlns:a16="http://schemas.microsoft.com/office/drawing/2014/main" id="{DB548383-973F-4358-A3B7-40D3EB8B1465}"/>
              </a:ext>
            </a:extLst>
          </p:cNvPr>
          <p:cNvSpPr txBox="1"/>
          <p:nvPr/>
        </p:nvSpPr>
        <p:spPr>
          <a:xfrm>
            <a:off x="3875014" y="2051885"/>
            <a:ext cx="6659636" cy="646331"/>
          </a:xfrm>
          <a:prstGeom prst="rect">
            <a:avLst/>
          </a:prstGeom>
          <a:noFill/>
        </p:spPr>
        <p:txBody>
          <a:bodyPr wrap="square" lIns="0" tIns="0" rIns="0" bIns="0">
            <a:spAutoFit/>
          </a:bodyPr>
          <a:lstStyle/>
          <a:p>
            <a:r>
              <a:rPr lang="en-ID" sz="1400" b="0" i="0" dirty="0">
                <a:effectLst/>
              </a:rPr>
              <a:t>Lorem ipsum </a:t>
            </a:r>
            <a:r>
              <a:rPr lang="en-ID" sz="1400" b="0" i="0" dirty="0" err="1">
                <a:effectLst/>
              </a:rPr>
              <a:t>dolor</a:t>
            </a:r>
            <a:r>
              <a:rPr lang="en-ID" sz="1400" b="0" i="0" dirty="0">
                <a:effectLst/>
              </a:rPr>
              <a:t> sit </a:t>
            </a:r>
            <a:r>
              <a:rPr lang="en-ID" sz="1400" b="0" i="0" dirty="0" err="1">
                <a:effectLst/>
              </a:rPr>
              <a:t>amet</a:t>
            </a:r>
            <a:r>
              <a:rPr lang="en-ID" sz="1400" b="0" i="0" dirty="0">
                <a:effectLst/>
              </a:rPr>
              <a:t>, </a:t>
            </a:r>
            <a:r>
              <a:rPr lang="en-ID" sz="1400" b="0" i="0" dirty="0" err="1">
                <a:effectLst/>
              </a:rPr>
              <a:t>consectetur</a:t>
            </a:r>
            <a:r>
              <a:rPr lang="en-ID" sz="1400" b="0" i="0" dirty="0">
                <a:effectLst/>
              </a:rPr>
              <a:t> </a:t>
            </a:r>
            <a:r>
              <a:rPr lang="en-ID" sz="1400" b="0" i="0" dirty="0" err="1">
                <a:effectLst/>
              </a:rPr>
              <a:t>adipiscing</a:t>
            </a:r>
            <a:r>
              <a:rPr lang="en-ID" sz="1400" b="0" i="0" dirty="0">
                <a:effectLst/>
              </a:rPr>
              <a:t> </a:t>
            </a:r>
            <a:r>
              <a:rPr lang="en-ID" sz="1400" b="0" i="0" dirty="0" err="1">
                <a:effectLst/>
              </a:rPr>
              <a:t>elit</a:t>
            </a:r>
            <a:r>
              <a:rPr lang="en-ID" sz="1400" b="0" i="0" dirty="0">
                <a:effectLst/>
              </a:rPr>
              <a:t>, </a:t>
            </a:r>
            <a:r>
              <a:rPr lang="en-ID" sz="1400" b="0" i="0" dirty="0" err="1">
                <a:effectLst/>
              </a:rPr>
              <a:t>sed</a:t>
            </a:r>
            <a:r>
              <a:rPr lang="en-ID" sz="1400" b="0" i="0" dirty="0">
                <a:effectLst/>
              </a:rPr>
              <a:t> do </a:t>
            </a:r>
            <a:r>
              <a:rPr lang="en-ID" sz="1400" b="0" i="0" dirty="0" err="1">
                <a:effectLst/>
              </a:rPr>
              <a:t>eiusmod</a:t>
            </a:r>
            <a:r>
              <a:rPr lang="en-ID" sz="1400" b="0" i="0" dirty="0">
                <a:effectLst/>
              </a:rPr>
              <a:t> </a:t>
            </a:r>
            <a:r>
              <a:rPr lang="en-ID" sz="1400" b="0" i="0" dirty="0" err="1">
                <a:effectLst/>
              </a:rPr>
              <a:t>tempor</a:t>
            </a:r>
            <a:r>
              <a:rPr lang="en-ID" sz="1400" b="0" i="0" dirty="0">
                <a:effectLst/>
              </a:rPr>
              <a:t> </a:t>
            </a:r>
            <a:r>
              <a:rPr lang="en-ID" sz="1400" b="0" i="0" dirty="0" err="1">
                <a:effectLst/>
              </a:rPr>
              <a:t>incididunt</a:t>
            </a:r>
            <a:r>
              <a:rPr lang="en-ID" sz="1400" b="0" i="0" dirty="0">
                <a:effectLst/>
              </a:rPr>
              <a:t> </a:t>
            </a:r>
            <a:r>
              <a:rPr lang="en-ID" sz="1400" b="0" i="0" dirty="0" err="1">
                <a:effectLst/>
              </a:rPr>
              <a:t>ut</a:t>
            </a:r>
            <a:r>
              <a:rPr lang="en-ID" sz="1400" b="0" i="0" dirty="0">
                <a:effectLst/>
              </a:rPr>
              <a:t> </a:t>
            </a:r>
            <a:r>
              <a:rPr lang="en-ID" sz="1400" b="0" i="0" dirty="0" err="1">
                <a:effectLst/>
              </a:rPr>
              <a:t>labore</a:t>
            </a:r>
            <a:r>
              <a:rPr lang="en-ID" sz="1400" b="0" i="0" dirty="0">
                <a:effectLst/>
              </a:rPr>
              <a:t> et dolore magna </a:t>
            </a:r>
            <a:r>
              <a:rPr lang="en-ID" sz="1400" b="0" i="0" dirty="0" err="1">
                <a:effectLst/>
              </a:rPr>
              <a:t>aliqua</a:t>
            </a:r>
            <a:r>
              <a:rPr lang="en-ID" sz="1400" b="0" i="0" dirty="0">
                <a:effectLst/>
              </a:rPr>
              <a:t>. Ut </a:t>
            </a:r>
            <a:r>
              <a:rPr lang="en-ID" sz="1400" b="0" i="0" dirty="0" err="1">
                <a:effectLst/>
              </a:rPr>
              <a:t>enim</a:t>
            </a:r>
            <a:r>
              <a:rPr lang="en-ID" sz="1400" b="0" i="0" dirty="0">
                <a:effectLst/>
              </a:rPr>
              <a:t> ad minim </a:t>
            </a:r>
            <a:r>
              <a:rPr lang="en-ID" sz="1400" b="0" i="0" dirty="0" err="1">
                <a:effectLst/>
              </a:rPr>
              <a:t>veniam</a:t>
            </a:r>
            <a:r>
              <a:rPr lang="en-ID" sz="1400" b="0" i="0" dirty="0">
                <a:effectLst/>
              </a:rPr>
              <a:t>, </a:t>
            </a:r>
            <a:r>
              <a:rPr lang="en-ID" sz="1400" b="0" i="0" dirty="0" err="1">
                <a:effectLst/>
              </a:rPr>
              <a:t>quis</a:t>
            </a:r>
            <a:r>
              <a:rPr lang="en-ID" sz="1400" b="0" i="0" dirty="0">
                <a:effectLst/>
              </a:rPr>
              <a:t> </a:t>
            </a:r>
            <a:r>
              <a:rPr lang="en-ID" sz="1400" b="0" i="0" dirty="0" err="1">
                <a:effectLst/>
              </a:rPr>
              <a:t>nostrud</a:t>
            </a:r>
            <a:r>
              <a:rPr lang="en-ID" sz="1400" b="0" i="0" dirty="0">
                <a:effectLst/>
              </a:rPr>
              <a:t> exercitation </a:t>
            </a:r>
            <a:r>
              <a:rPr lang="en-ID" sz="1400" b="0" i="0" dirty="0" err="1">
                <a:effectLst/>
              </a:rPr>
              <a:t>ullamco</a:t>
            </a:r>
            <a:r>
              <a:rPr lang="en-ID" sz="1400" b="0" i="0" dirty="0">
                <a:effectLst/>
              </a:rPr>
              <a:t> </a:t>
            </a:r>
            <a:r>
              <a:rPr lang="en-ID" sz="1400" b="0" i="0" dirty="0" err="1">
                <a:effectLst/>
              </a:rPr>
              <a:t>laboris</a:t>
            </a:r>
            <a:r>
              <a:rPr lang="en-ID" sz="1400" b="0" i="0" dirty="0">
                <a:effectLst/>
              </a:rPr>
              <a:t> nisi </a:t>
            </a:r>
            <a:r>
              <a:rPr lang="en-ID" sz="1400" b="0" i="0" dirty="0" err="1">
                <a:effectLst/>
              </a:rPr>
              <a:t>ut</a:t>
            </a:r>
            <a:r>
              <a:rPr lang="en-ID" sz="1400" b="0" i="0" dirty="0">
                <a:effectLst/>
              </a:rPr>
              <a:t> </a:t>
            </a:r>
            <a:r>
              <a:rPr lang="en-ID" sz="1400" b="0" i="0" dirty="0" err="1">
                <a:effectLst/>
              </a:rPr>
              <a:t>aliquip</a:t>
            </a:r>
            <a:r>
              <a:rPr lang="en-ID" sz="1400" b="0" i="0" dirty="0">
                <a:effectLst/>
              </a:rPr>
              <a:t> ex </a:t>
            </a:r>
            <a:r>
              <a:rPr lang="en-ID" sz="1400" b="0" i="0" dirty="0" err="1">
                <a:effectLst/>
              </a:rPr>
              <a:t>ea</a:t>
            </a:r>
            <a:r>
              <a:rPr lang="en-ID" sz="1400" b="0" i="0" dirty="0">
                <a:effectLst/>
              </a:rPr>
              <a:t> </a:t>
            </a:r>
            <a:r>
              <a:rPr lang="en-ID" sz="1400" b="0" i="0" dirty="0" err="1">
                <a:effectLst/>
              </a:rPr>
              <a:t>commodo</a:t>
            </a:r>
            <a:r>
              <a:rPr lang="en-ID" sz="1400" b="0" i="0" dirty="0">
                <a:effectLst/>
              </a:rPr>
              <a:t> </a:t>
            </a:r>
            <a:r>
              <a:rPr lang="en-ID" sz="1400" b="0" i="0" dirty="0" err="1">
                <a:effectLst/>
              </a:rPr>
              <a:t>consequat</a:t>
            </a:r>
            <a:r>
              <a:rPr lang="en-ID" sz="1400" b="0" i="0" dirty="0">
                <a:effectLst/>
              </a:rPr>
              <a:t>.</a:t>
            </a:r>
          </a:p>
        </p:txBody>
      </p:sp>
      <p:sp>
        <p:nvSpPr>
          <p:cNvPr id="18" name="TextBox 17">
            <a:extLst>
              <a:ext uri="{FF2B5EF4-FFF2-40B4-BE49-F238E27FC236}">
                <a16:creationId xmlns:a16="http://schemas.microsoft.com/office/drawing/2014/main" id="{E17F9DAD-3995-4265-B365-FC9514B1455B}"/>
              </a:ext>
            </a:extLst>
          </p:cNvPr>
          <p:cNvSpPr txBox="1"/>
          <p:nvPr/>
        </p:nvSpPr>
        <p:spPr>
          <a:xfrm>
            <a:off x="3868396" y="1741112"/>
            <a:ext cx="6659635" cy="246221"/>
          </a:xfrm>
          <a:prstGeom prst="rect">
            <a:avLst/>
          </a:prstGeom>
          <a:noFill/>
        </p:spPr>
        <p:txBody>
          <a:bodyPr wrap="square" lIns="0" tIns="0" rIns="0" bIns="0">
            <a:spAutoFit/>
          </a:bodyPr>
          <a:lstStyle/>
          <a:p>
            <a:r>
              <a:rPr lang="en-ID" sz="1600" b="1" i="0" dirty="0">
                <a:effectLst/>
                <a:latin typeface="+mj-lt"/>
              </a:rPr>
              <a:t>Lorem </a:t>
            </a:r>
            <a:r>
              <a:rPr lang="en-ID" sz="1600" b="1" dirty="0">
                <a:latin typeface="+mj-lt"/>
              </a:rPr>
              <a:t>Ipsum </a:t>
            </a:r>
            <a:r>
              <a:rPr lang="en-ID" sz="1600" b="1" dirty="0" err="1">
                <a:latin typeface="+mj-lt"/>
              </a:rPr>
              <a:t>Dolor</a:t>
            </a:r>
            <a:endParaRPr lang="en-ID" sz="1600" b="1" dirty="0">
              <a:latin typeface="+mj-lt"/>
            </a:endParaRPr>
          </a:p>
        </p:txBody>
      </p:sp>
      <p:sp>
        <p:nvSpPr>
          <p:cNvPr id="21" name="TextBox 20">
            <a:extLst>
              <a:ext uri="{FF2B5EF4-FFF2-40B4-BE49-F238E27FC236}">
                <a16:creationId xmlns:a16="http://schemas.microsoft.com/office/drawing/2014/main" id="{7363AEE8-AD73-4AF6-A4DC-8E8A2AB04736}"/>
              </a:ext>
            </a:extLst>
          </p:cNvPr>
          <p:cNvSpPr txBox="1"/>
          <p:nvPr/>
        </p:nvSpPr>
        <p:spPr>
          <a:xfrm>
            <a:off x="11070941" y="2004221"/>
            <a:ext cx="356169" cy="430887"/>
          </a:xfrm>
          <a:prstGeom prst="rect">
            <a:avLst/>
          </a:prstGeom>
          <a:noFill/>
        </p:spPr>
        <p:txBody>
          <a:bodyPr wrap="square" lIns="0" tIns="0" rIns="0" bIns="0" anchor="ctr">
            <a:spAutoFit/>
          </a:bodyPr>
          <a:lstStyle/>
          <a:p>
            <a:pPr algn="ctr"/>
            <a:r>
              <a:rPr lang="en-ID" sz="2800" b="1" i="1" dirty="0">
                <a:solidFill>
                  <a:schemeClr val="bg1"/>
                </a:solidFill>
                <a:effectLst/>
                <a:latin typeface="+mj-lt"/>
              </a:rPr>
              <a:t>1</a:t>
            </a:r>
            <a:endParaRPr lang="en-ID" sz="2800" b="1" i="1" dirty="0">
              <a:solidFill>
                <a:schemeClr val="bg1"/>
              </a:solidFill>
              <a:latin typeface="+mj-lt"/>
            </a:endParaRPr>
          </a:p>
        </p:txBody>
      </p:sp>
      <p:sp>
        <p:nvSpPr>
          <p:cNvPr id="24" name="Rectangle 23">
            <a:extLst>
              <a:ext uri="{FF2B5EF4-FFF2-40B4-BE49-F238E27FC236}">
                <a16:creationId xmlns:a16="http://schemas.microsoft.com/office/drawing/2014/main" id="{FFC40441-86BA-4599-833B-87FCF13BF7FF}"/>
              </a:ext>
            </a:extLst>
          </p:cNvPr>
          <p:cNvSpPr/>
          <p:nvPr/>
        </p:nvSpPr>
        <p:spPr>
          <a:xfrm>
            <a:off x="533399" y="3190536"/>
            <a:ext cx="10947740" cy="13913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0000"/>
              </a:solidFill>
            </a:endParaRPr>
          </a:p>
        </p:txBody>
      </p:sp>
      <p:sp>
        <p:nvSpPr>
          <p:cNvPr id="25" name="Rectangle 24">
            <a:extLst>
              <a:ext uri="{FF2B5EF4-FFF2-40B4-BE49-F238E27FC236}">
                <a16:creationId xmlns:a16="http://schemas.microsoft.com/office/drawing/2014/main" id="{BA8AD623-0B67-4752-8ED6-CEAD90BDF419}"/>
              </a:ext>
            </a:extLst>
          </p:cNvPr>
          <p:cNvSpPr/>
          <p:nvPr/>
        </p:nvSpPr>
        <p:spPr>
          <a:xfrm>
            <a:off x="533400" y="3190536"/>
            <a:ext cx="3060700" cy="1391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6" name="TextBox 25">
            <a:extLst>
              <a:ext uri="{FF2B5EF4-FFF2-40B4-BE49-F238E27FC236}">
                <a16:creationId xmlns:a16="http://schemas.microsoft.com/office/drawing/2014/main" id="{E0622E66-956F-45F6-AE9E-92A4F175F02E}"/>
              </a:ext>
            </a:extLst>
          </p:cNvPr>
          <p:cNvSpPr txBox="1"/>
          <p:nvPr/>
        </p:nvSpPr>
        <p:spPr>
          <a:xfrm>
            <a:off x="1657350" y="3747700"/>
            <a:ext cx="1569358" cy="276999"/>
          </a:xfrm>
          <a:prstGeom prst="rect">
            <a:avLst/>
          </a:prstGeom>
          <a:noFill/>
        </p:spPr>
        <p:txBody>
          <a:bodyPr wrap="square" lIns="0" tIns="0" rIns="0" bIns="0" anchor="ctr">
            <a:spAutoFit/>
          </a:bodyPr>
          <a:lstStyle/>
          <a:p>
            <a:r>
              <a:rPr lang="en-ID" b="1" i="0" dirty="0">
                <a:solidFill>
                  <a:schemeClr val="bg1"/>
                </a:solidFill>
                <a:effectLst/>
                <a:latin typeface="+mj-lt"/>
              </a:rPr>
              <a:t>Lorem Ipsum</a:t>
            </a:r>
            <a:endParaRPr lang="en-ID" b="1" dirty="0">
              <a:solidFill>
                <a:schemeClr val="bg1"/>
              </a:solidFill>
              <a:latin typeface="+mj-lt"/>
            </a:endParaRPr>
          </a:p>
        </p:txBody>
      </p:sp>
      <p:sp>
        <p:nvSpPr>
          <p:cNvPr id="27" name="Rectangle: Single Corner Snipped 26">
            <a:extLst>
              <a:ext uri="{FF2B5EF4-FFF2-40B4-BE49-F238E27FC236}">
                <a16:creationId xmlns:a16="http://schemas.microsoft.com/office/drawing/2014/main" id="{D7DEA7D5-2F5A-43CD-A7FF-1F2449D3C1F7}"/>
              </a:ext>
            </a:extLst>
          </p:cNvPr>
          <p:cNvSpPr/>
          <p:nvPr/>
        </p:nvSpPr>
        <p:spPr>
          <a:xfrm flipH="1">
            <a:off x="10839450" y="3517900"/>
            <a:ext cx="819150" cy="736600"/>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Right Triangle 27">
            <a:extLst>
              <a:ext uri="{FF2B5EF4-FFF2-40B4-BE49-F238E27FC236}">
                <a16:creationId xmlns:a16="http://schemas.microsoft.com/office/drawing/2014/main" id="{CE2DFFBA-F334-4053-91FD-39361FBD216F}"/>
              </a:ext>
            </a:extLst>
          </p:cNvPr>
          <p:cNvSpPr/>
          <p:nvPr/>
        </p:nvSpPr>
        <p:spPr>
          <a:xfrm rot="5400000">
            <a:off x="11481139" y="4254500"/>
            <a:ext cx="177461" cy="17746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9" name="TextBox 28">
            <a:extLst>
              <a:ext uri="{FF2B5EF4-FFF2-40B4-BE49-F238E27FC236}">
                <a16:creationId xmlns:a16="http://schemas.microsoft.com/office/drawing/2014/main" id="{C13F4E13-A9F4-4DB2-820D-74169F8CF1C2}"/>
              </a:ext>
            </a:extLst>
          </p:cNvPr>
          <p:cNvSpPr txBox="1"/>
          <p:nvPr/>
        </p:nvSpPr>
        <p:spPr>
          <a:xfrm>
            <a:off x="3875014" y="3718421"/>
            <a:ext cx="6659636" cy="646331"/>
          </a:xfrm>
          <a:prstGeom prst="rect">
            <a:avLst/>
          </a:prstGeom>
          <a:noFill/>
        </p:spPr>
        <p:txBody>
          <a:bodyPr wrap="square" lIns="0" tIns="0" rIns="0" bIns="0">
            <a:spAutoFit/>
          </a:bodyPr>
          <a:lstStyle/>
          <a:p>
            <a:r>
              <a:rPr lang="en-ID" sz="1400" b="0" i="0" dirty="0">
                <a:effectLst/>
              </a:rPr>
              <a:t>Lorem ipsum </a:t>
            </a:r>
            <a:r>
              <a:rPr lang="en-ID" sz="1400" b="0" i="0" dirty="0" err="1">
                <a:effectLst/>
              </a:rPr>
              <a:t>dolor</a:t>
            </a:r>
            <a:r>
              <a:rPr lang="en-ID" sz="1400" b="0" i="0" dirty="0">
                <a:effectLst/>
              </a:rPr>
              <a:t> sit </a:t>
            </a:r>
            <a:r>
              <a:rPr lang="en-ID" sz="1400" b="0" i="0" dirty="0" err="1">
                <a:effectLst/>
              </a:rPr>
              <a:t>amet</a:t>
            </a:r>
            <a:r>
              <a:rPr lang="en-ID" sz="1400" b="0" i="0" dirty="0">
                <a:effectLst/>
              </a:rPr>
              <a:t>, </a:t>
            </a:r>
            <a:r>
              <a:rPr lang="en-ID" sz="1400" b="0" i="0" dirty="0" err="1">
                <a:effectLst/>
              </a:rPr>
              <a:t>consectetur</a:t>
            </a:r>
            <a:r>
              <a:rPr lang="en-ID" sz="1400" b="0" i="0" dirty="0">
                <a:effectLst/>
              </a:rPr>
              <a:t> </a:t>
            </a:r>
            <a:r>
              <a:rPr lang="en-ID" sz="1400" b="0" i="0" dirty="0" err="1">
                <a:effectLst/>
              </a:rPr>
              <a:t>adipiscing</a:t>
            </a:r>
            <a:r>
              <a:rPr lang="en-ID" sz="1400" b="0" i="0" dirty="0">
                <a:effectLst/>
              </a:rPr>
              <a:t> </a:t>
            </a:r>
            <a:r>
              <a:rPr lang="en-ID" sz="1400" b="0" i="0" dirty="0" err="1">
                <a:effectLst/>
              </a:rPr>
              <a:t>elit</a:t>
            </a:r>
            <a:r>
              <a:rPr lang="en-ID" sz="1400" b="0" i="0" dirty="0">
                <a:effectLst/>
              </a:rPr>
              <a:t>, </a:t>
            </a:r>
            <a:r>
              <a:rPr lang="en-ID" sz="1400" b="0" i="0" dirty="0" err="1">
                <a:effectLst/>
              </a:rPr>
              <a:t>sed</a:t>
            </a:r>
            <a:r>
              <a:rPr lang="en-ID" sz="1400" b="0" i="0" dirty="0">
                <a:effectLst/>
              </a:rPr>
              <a:t> do </a:t>
            </a:r>
            <a:r>
              <a:rPr lang="en-ID" sz="1400" b="0" i="0" dirty="0" err="1">
                <a:effectLst/>
              </a:rPr>
              <a:t>eiusmod</a:t>
            </a:r>
            <a:r>
              <a:rPr lang="en-ID" sz="1400" b="0" i="0" dirty="0">
                <a:effectLst/>
              </a:rPr>
              <a:t> </a:t>
            </a:r>
            <a:r>
              <a:rPr lang="en-ID" sz="1400" b="0" i="0" dirty="0" err="1">
                <a:effectLst/>
              </a:rPr>
              <a:t>tempor</a:t>
            </a:r>
            <a:r>
              <a:rPr lang="en-ID" sz="1400" b="0" i="0" dirty="0">
                <a:effectLst/>
              </a:rPr>
              <a:t> </a:t>
            </a:r>
            <a:r>
              <a:rPr lang="en-ID" sz="1400" b="0" i="0" dirty="0" err="1">
                <a:effectLst/>
              </a:rPr>
              <a:t>incididunt</a:t>
            </a:r>
            <a:r>
              <a:rPr lang="en-ID" sz="1400" b="0" i="0" dirty="0">
                <a:effectLst/>
              </a:rPr>
              <a:t> </a:t>
            </a:r>
            <a:r>
              <a:rPr lang="en-ID" sz="1400" b="0" i="0" dirty="0" err="1">
                <a:effectLst/>
              </a:rPr>
              <a:t>ut</a:t>
            </a:r>
            <a:r>
              <a:rPr lang="en-ID" sz="1400" b="0" i="0" dirty="0">
                <a:effectLst/>
              </a:rPr>
              <a:t> </a:t>
            </a:r>
            <a:r>
              <a:rPr lang="en-ID" sz="1400" b="0" i="0" dirty="0" err="1">
                <a:effectLst/>
              </a:rPr>
              <a:t>labore</a:t>
            </a:r>
            <a:r>
              <a:rPr lang="en-ID" sz="1400" b="0" i="0" dirty="0">
                <a:effectLst/>
              </a:rPr>
              <a:t> et dolore magna </a:t>
            </a:r>
            <a:r>
              <a:rPr lang="en-ID" sz="1400" b="0" i="0" dirty="0" err="1">
                <a:effectLst/>
              </a:rPr>
              <a:t>aliqua</a:t>
            </a:r>
            <a:r>
              <a:rPr lang="en-ID" sz="1400" b="0" i="0" dirty="0">
                <a:effectLst/>
              </a:rPr>
              <a:t>. Ut </a:t>
            </a:r>
            <a:r>
              <a:rPr lang="en-ID" sz="1400" b="0" i="0" dirty="0" err="1">
                <a:effectLst/>
              </a:rPr>
              <a:t>enim</a:t>
            </a:r>
            <a:r>
              <a:rPr lang="en-ID" sz="1400" b="0" i="0" dirty="0">
                <a:effectLst/>
              </a:rPr>
              <a:t> ad minim </a:t>
            </a:r>
            <a:r>
              <a:rPr lang="en-ID" sz="1400" b="0" i="0" dirty="0" err="1">
                <a:effectLst/>
              </a:rPr>
              <a:t>veniam</a:t>
            </a:r>
            <a:r>
              <a:rPr lang="en-ID" sz="1400" b="0" i="0" dirty="0">
                <a:effectLst/>
              </a:rPr>
              <a:t>, </a:t>
            </a:r>
            <a:r>
              <a:rPr lang="en-ID" sz="1400" b="0" i="0" dirty="0" err="1">
                <a:effectLst/>
              </a:rPr>
              <a:t>quis</a:t>
            </a:r>
            <a:r>
              <a:rPr lang="en-ID" sz="1400" b="0" i="0" dirty="0">
                <a:effectLst/>
              </a:rPr>
              <a:t> </a:t>
            </a:r>
            <a:r>
              <a:rPr lang="en-ID" sz="1400" b="0" i="0" dirty="0" err="1">
                <a:effectLst/>
              </a:rPr>
              <a:t>nostrud</a:t>
            </a:r>
            <a:r>
              <a:rPr lang="en-ID" sz="1400" b="0" i="0" dirty="0">
                <a:effectLst/>
              </a:rPr>
              <a:t> exercitation </a:t>
            </a:r>
            <a:r>
              <a:rPr lang="en-ID" sz="1400" b="0" i="0" dirty="0" err="1">
                <a:effectLst/>
              </a:rPr>
              <a:t>ullamco</a:t>
            </a:r>
            <a:r>
              <a:rPr lang="en-ID" sz="1400" b="0" i="0" dirty="0">
                <a:effectLst/>
              </a:rPr>
              <a:t> </a:t>
            </a:r>
            <a:r>
              <a:rPr lang="en-ID" sz="1400" b="0" i="0" dirty="0" err="1">
                <a:effectLst/>
              </a:rPr>
              <a:t>laboris</a:t>
            </a:r>
            <a:r>
              <a:rPr lang="en-ID" sz="1400" b="0" i="0" dirty="0">
                <a:effectLst/>
              </a:rPr>
              <a:t> nisi </a:t>
            </a:r>
            <a:r>
              <a:rPr lang="en-ID" sz="1400" b="0" i="0" dirty="0" err="1">
                <a:effectLst/>
              </a:rPr>
              <a:t>ut</a:t>
            </a:r>
            <a:r>
              <a:rPr lang="en-ID" sz="1400" b="0" i="0" dirty="0">
                <a:effectLst/>
              </a:rPr>
              <a:t> </a:t>
            </a:r>
            <a:r>
              <a:rPr lang="en-ID" sz="1400" b="0" i="0" dirty="0" err="1">
                <a:effectLst/>
              </a:rPr>
              <a:t>aliquip</a:t>
            </a:r>
            <a:r>
              <a:rPr lang="en-ID" sz="1400" b="0" i="0" dirty="0">
                <a:effectLst/>
              </a:rPr>
              <a:t> ex </a:t>
            </a:r>
            <a:r>
              <a:rPr lang="en-ID" sz="1400" b="0" i="0" dirty="0" err="1">
                <a:effectLst/>
              </a:rPr>
              <a:t>ea</a:t>
            </a:r>
            <a:r>
              <a:rPr lang="en-ID" sz="1400" b="0" i="0" dirty="0">
                <a:effectLst/>
              </a:rPr>
              <a:t> </a:t>
            </a:r>
            <a:r>
              <a:rPr lang="en-ID" sz="1400" b="0" i="0" dirty="0" err="1">
                <a:effectLst/>
              </a:rPr>
              <a:t>commodo</a:t>
            </a:r>
            <a:r>
              <a:rPr lang="en-ID" sz="1400" b="0" i="0" dirty="0">
                <a:effectLst/>
              </a:rPr>
              <a:t> </a:t>
            </a:r>
            <a:r>
              <a:rPr lang="en-ID" sz="1400" b="0" i="0" dirty="0" err="1">
                <a:effectLst/>
              </a:rPr>
              <a:t>consequat</a:t>
            </a:r>
            <a:r>
              <a:rPr lang="en-ID" sz="1400" b="0" i="0" dirty="0">
                <a:effectLst/>
              </a:rPr>
              <a:t>.</a:t>
            </a:r>
          </a:p>
        </p:txBody>
      </p:sp>
      <p:sp>
        <p:nvSpPr>
          <p:cNvPr id="30" name="TextBox 29">
            <a:extLst>
              <a:ext uri="{FF2B5EF4-FFF2-40B4-BE49-F238E27FC236}">
                <a16:creationId xmlns:a16="http://schemas.microsoft.com/office/drawing/2014/main" id="{B81B6DEE-08F6-4342-B6BF-9A5EF9C0408F}"/>
              </a:ext>
            </a:extLst>
          </p:cNvPr>
          <p:cNvSpPr txBox="1"/>
          <p:nvPr/>
        </p:nvSpPr>
        <p:spPr>
          <a:xfrm>
            <a:off x="3868396" y="3407648"/>
            <a:ext cx="6659635" cy="246221"/>
          </a:xfrm>
          <a:prstGeom prst="rect">
            <a:avLst/>
          </a:prstGeom>
          <a:noFill/>
        </p:spPr>
        <p:txBody>
          <a:bodyPr wrap="square" lIns="0" tIns="0" rIns="0" bIns="0">
            <a:spAutoFit/>
          </a:bodyPr>
          <a:lstStyle/>
          <a:p>
            <a:r>
              <a:rPr lang="en-ID" sz="1600" b="1" i="0" dirty="0">
                <a:effectLst/>
                <a:latin typeface="+mj-lt"/>
              </a:rPr>
              <a:t>Lorem </a:t>
            </a:r>
            <a:r>
              <a:rPr lang="en-ID" sz="1600" b="1" dirty="0">
                <a:latin typeface="+mj-lt"/>
              </a:rPr>
              <a:t>Ipsum </a:t>
            </a:r>
            <a:r>
              <a:rPr lang="en-ID" sz="1600" b="1" dirty="0" err="1">
                <a:latin typeface="+mj-lt"/>
              </a:rPr>
              <a:t>Dolor</a:t>
            </a:r>
            <a:endParaRPr lang="en-ID" sz="1600" b="1" dirty="0">
              <a:latin typeface="+mj-lt"/>
            </a:endParaRPr>
          </a:p>
        </p:txBody>
      </p:sp>
      <p:sp>
        <p:nvSpPr>
          <p:cNvPr id="31" name="TextBox 30">
            <a:extLst>
              <a:ext uri="{FF2B5EF4-FFF2-40B4-BE49-F238E27FC236}">
                <a16:creationId xmlns:a16="http://schemas.microsoft.com/office/drawing/2014/main" id="{536F158B-1F5A-4013-ADD4-F00FC54B3340}"/>
              </a:ext>
            </a:extLst>
          </p:cNvPr>
          <p:cNvSpPr txBox="1"/>
          <p:nvPr/>
        </p:nvSpPr>
        <p:spPr>
          <a:xfrm>
            <a:off x="11070941" y="3670757"/>
            <a:ext cx="356169" cy="430887"/>
          </a:xfrm>
          <a:prstGeom prst="rect">
            <a:avLst/>
          </a:prstGeom>
          <a:noFill/>
        </p:spPr>
        <p:txBody>
          <a:bodyPr wrap="square" lIns="0" tIns="0" rIns="0" bIns="0" anchor="ctr">
            <a:spAutoFit/>
          </a:bodyPr>
          <a:lstStyle/>
          <a:p>
            <a:pPr algn="ctr"/>
            <a:r>
              <a:rPr lang="en-ID" sz="2800" b="1" i="1" dirty="0">
                <a:solidFill>
                  <a:schemeClr val="bg1"/>
                </a:solidFill>
                <a:effectLst/>
                <a:latin typeface="+mj-lt"/>
              </a:rPr>
              <a:t>2</a:t>
            </a:r>
            <a:endParaRPr lang="en-ID" sz="2800" b="1" i="1" dirty="0">
              <a:solidFill>
                <a:schemeClr val="bg1"/>
              </a:solidFill>
              <a:latin typeface="+mj-lt"/>
            </a:endParaRPr>
          </a:p>
        </p:txBody>
      </p:sp>
      <p:sp>
        <p:nvSpPr>
          <p:cNvPr id="33" name="Rectangle 32">
            <a:extLst>
              <a:ext uri="{FF2B5EF4-FFF2-40B4-BE49-F238E27FC236}">
                <a16:creationId xmlns:a16="http://schemas.microsoft.com/office/drawing/2014/main" id="{DC98616F-F993-4015-B8AD-AB0B8395DD30}"/>
              </a:ext>
            </a:extLst>
          </p:cNvPr>
          <p:cNvSpPr/>
          <p:nvPr/>
        </p:nvSpPr>
        <p:spPr>
          <a:xfrm>
            <a:off x="533399" y="4857072"/>
            <a:ext cx="10947740" cy="13913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0000"/>
              </a:solidFill>
            </a:endParaRPr>
          </a:p>
        </p:txBody>
      </p:sp>
      <p:sp>
        <p:nvSpPr>
          <p:cNvPr id="34" name="Rectangle 33">
            <a:extLst>
              <a:ext uri="{FF2B5EF4-FFF2-40B4-BE49-F238E27FC236}">
                <a16:creationId xmlns:a16="http://schemas.microsoft.com/office/drawing/2014/main" id="{9053CCD7-ACA4-4B9C-9633-2A8AFDDBDF2C}"/>
              </a:ext>
            </a:extLst>
          </p:cNvPr>
          <p:cNvSpPr/>
          <p:nvPr/>
        </p:nvSpPr>
        <p:spPr>
          <a:xfrm>
            <a:off x="533400" y="4857072"/>
            <a:ext cx="3060700" cy="1391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5" name="TextBox 34">
            <a:extLst>
              <a:ext uri="{FF2B5EF4-FFF2-40B4-BE49-F238E27FC236}">
                <a16:creationId xmlns:a16="http://schemas.microsoft.com/office/drawing/2014/main" id="{E6448CC7-B7C6-437C-BD13-2FBE2FCC792B}"/>
              </a:ext>
            </a:extLst>
          </p:cNvPr>
          <p:cNvSpPr txBox="1"/>
          <p:nvPr/>
        </p:nvSpPr>
        <p:spPr>
          <a:xfrm>
            <a:off x="1657350" y="5414236"/>
            <a:ext cx="1569358" cy="276999"/>
          </a:xfrm>
          <a:prstGeom prst="rect">
            <a:avLst/>
          </a:prstGeom>
          <a:noFill/>
        </p:spPr>
        <p:txBody>
          <a:bodyPr wrap="square" lIns="0" tIns="0" rIns="0" bIns="0" anchor="ctr">
            <a:spAutoFit/>
          </a:bodyPr>
          <a:lstStyle/>
          <a:p>
            <a:r>
              <a:rPr lang="en-ID" b="1" i="0" dirty="0">
                <a:solidFill>
                  <a:schemeClr val="bg1"/>
                </a:solidFill>
                <a:effectLst/>
                <a:latin typeface="+mj-lt"/>
              </a:rPr>
              <a:t>Lorem Ipsum</a:t>
            </a:r>
            <a:endParaRPr lang="en-ID" b="1" dirty="0">
              <a:solidFill>
                <a:schemeClr val="bg1"/>
              </a:solidFill>
              <a:latin typeface="+mj-lt"/>
            </a:endParaRPr>
          </a:p>
        </p:txBody>
      </p:sp>
      <p:sp>
        <p:nvSpPr>
          <p:cNvPr id="36" name="Rectangle: Single Corner Snipped 35">
            <a:extLst>
              <a:ext uri="{FF2B5EF4-FFF2-40B4-BE49-F238E27FC236}">
                <a16:creationId xmlns:a16="http://schemas.microsoft.com/office/drawing/2014/main" id="{945D8AB4-9FA3-426D-8544-17419D19038A}"/>
              </a:ext>
            </a:extLst>
          </p:cNvPr>
          <p:cNvSpPr/>
          <p:nvPr/>
        </p:nvSpPr>
        <p:spPr>
          <a:xfrm flipH="1">
            <a:off x="10839450" y="5184436"/>
            <a:ext cx="819150" cy="736600"/>
          </a:xfrm>
          <a:prstGeom prst="snip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7" name="Right Triangle 36">
            <a:extLst>
              <a:ext uri="{FF2B5EF4-FFF2-40B4-BE49-F238E27FC236}">
                <a16:creationId xmlns:a16="http://schemas.microsoft.com/office/drawing/2014/main" id="{AA91F252-2DD4-426D-952B-9808C7936501}"/>
              </a:ext>
            </a:extLst>
          </p:cNvPr>
          <p:cNvSpPr/>
          <p:nvPr/>
        </p:nvSpPr>
        <p:spPr>
          <a:xfrm rot="5400000">
            <a:off x="11481139" y="5921036"/>
            <a:ext cx="177461" cy="17746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8" name="TextBox 37">
            <a:extLst>
              <a:ext uri="{FF2B5EF4-FFF2-40B4-BE49-F238E27FC236}">
                <a16:creationId xmlns:a16="http://schemas.microsoft.com/office/drawing/2014/main" id="{CCDBDBFC-0058-4226-9BD9-B6CF57DBADDA}"/>
              </a:ext>
            </a:extLst>
          </p:cNvPr>
          <p:cNvSpPr txBox="1"/>
          <p:nvPr/>
        </p:nvSpPr>
        <p:spPr>
          <a:xfrm>
            <a:off x="3875014" y="5384957"/>
            <a:ext cx="6659636" cy="646331"/>
          </a:xfrm>
          <a:prstGeom prst="rect">
            <a:avLst/>
          </a:prstGeom>
          <a:noFill/>
        </p:spPr>
        <p:txBody>
          <a:bodyPr wrap="square" lIns="0" tIns="0" rIns="0" bIns="0">
            <a:spAutoFit/>
          </a:bodyPr>
          <a:lstStyle/>
          <a:p>
            <a:r>
              <a:rPr lang="en-ID" sz="1400" b="0" i="0" dirty="0">
                <a:effectLst/>
              </a:rPr>
              <a:t>Lorem ipsum </a:t>
            </a:r>
            <a:r>
              <a:rPr lang="en-ID" sz="1400" b="0" i="0" dirty="0" err="1">
                <a:effectLst/>
              </a:rPr>
              <a:t>dolor</a:t>
            </a:r>
            <a:r>
              <a:rPr lang="en-ID" sz="1400" b="0" i="0" dirty="0">
                <a:effectLst/>
              </a:rPr>
              <a:t> sit </a:t>
            </a:r>
            <a:r>
              <a:rPr lang="en-ID" sz="1400" b="0" i="0" dirty="0" err="1">
                <a:effectLst/>
              </a:rPr>
              <a:t>amet</a:t>
            </a:r>
            <a:r>
              <a:rPr lang="en-ID" sz="1400" b="0" i="0" dirty="0">
                <a:effectLst/>
              </a:rPr>
              <a:t>, </a:t>
            </a:r>
            <a:r>
              <a:rPr lang="en-ID" sz="1400" b="0" i="0" dirty="0" err="1">
                <a:effectLst/>
              </a:rPr>
              <a:t>consectetur</a:t>
            </a:r>
            <a:r>
              <a:rPr lang="en-ID" sz="1400" b="0" i="0" dirty="0">
                <a:effectLst/>
              </a:rPr>
              <a:t> </a:t>
            </a:r>
            <a:r>
              <a:rPr lang="en-ID" sz="1400" b="0" i="0" dirty="0" err="1">
                <a:effectLst/>
              </a:rPr>
              <a:t>adipiscing</a:t>
            </a:r>
            <a:r>
              <a:rPr lang="en-ID" sz="1400" b="0" i="0" dirty="0">
                <a:effectLst/>
              </a:rPr>
              <a:t> </a:t>
            </a:r>
            <a:r>
              <a:rPr lang="en-ID" sz="1400" b="0" i="0" dirty="0" err="1">
                <a:effectLst/>
              </a:rPr>
              <a:t>elit</a:t>
            </a:r>
            <a:r>
              <a:rPr lang="en-ID" sz="1400" b="0" i="0" dirty="0">
                <a:effectLst/>
              </a:rPr>
              <a:t>, </a:t>
            </a:r>
            <a:r>
              <a:rPr lang="en-ID" sz="1400" b="0" i="0" dirty="0" err="1">
                <a:effectLst/>
              </a:rPr>
              <a:t>sed</a:t>
            </a:r>
            <a:r>
              <a:rPr lang="en-ID" sz="1400" b="0" i="0" dirty="0">
                <a:effectLst/>
              </a:rPr>
              <a:t> do </a:t>
            </a:r>
            <a:r>
              <a:rPr lang="en-ID" sz="1400" b="0" i="0" dirty="0" err="1">
                <a:effectLst/>
              </a:rPr>
              <a:t>eiusmod</a:t>
            </a:r>
            <a:r>
              <a:rPr lang="en-ID" sz="1400" b="0" i="0" dirty="0">
                <a:effectLst/>
              </a:rPr>
              <a:t> </a:t>
            </a:r>
            <a:r>
              <a:rPr lang="en-ID" sz="1400" b="0" i="0" dirty="0" err="1">
                <a:effectLst/>
              </a:rPr>
              <a:t>tempor</a:t>
            </a:r>
            <a:r>
              <a:rPr lang="en-ID" sz="1400" b="0" i="0" dirty="0">
                <a:effectLst/>
              </a:rPr>
              <a:t> </a:t>
            </a:r>
            <a:r>
              <a:rPr lang="en-ID" sz="1400" b="0" i="0" dirty="0" err="1">
                <a:effectLst/>
              </a:rPr>
              <a:t>incididunt</a:t>
            </a:r>
            <a:r>
              <a:rPr lang="en-ID" sz="1400" b="0" i="0" dirty="0">
                <a:effectLst/>
              </a:rPr>
              <a:t> </a:t>
            </a:r>
            <a:r>
              <a:rPr lang="en-ID" sz="1400" b="0" i="0" dirty="0" err="1">
                <a:effectLst/>
              </a:rPr>
              <a:t>ut</a:t>
            </a:r>
            <a:r>
              <a:rPr lang="en-ID" sz="1400" b="0" i="0" dirty="0">
                <a:effectLst/>
              </a:rPr>
              <a:t> </a:t>
            </a:r>
            <a:r>
              <a:rPr lang="en-ID" sz="1400" b="0" i="0" dirty="0" err="1">
                <a:effectLst/>
              </a:rPr>
              <a:t>labore</a:t>
            </a:r>
            <a:r>
              <a:rPr lang="en-ID" sz="1400" b="0" i="0" dirty="0">
                <a:effectLst/>
              </a:rPr>
              <a:t> et dolore magna </a:t>
            </a:r>
            <a:r>
              <a:rPr lang="en-ID" sz="1400" b="0" i="0" dirty="0" err="1">
                <a:effectLst/>
              </a:rPr>
              <a:t>aliqua</a:t>
            </a:r>
            <a:r>
              <a:rPr lang="en-ID" sz="1400" b="0" i="0" dirty="0">
                <a:effectLst/>
              </a:rPr>
              <a:t>. Ut </a:t>
            </a:r>
            <a:r>
              <a:rPr lang="en-ID" sz="1400" b="0" i="0" dirty="0" err="1">
                <a:effectLst/>
              </a:rPr>
              <a:t>enim</a:t>
            </a:r>
            <a:r>
              <a:rPr lang="en-ID" sz="1400" b="0" i="0" dirty="0">
                <a:effectLst/>
              </a:rPr>
              <a:t> ad minim </a:t>
            </a:r>
            <a:r>
              <a:rPr lang="en-ID" sz="1400" b="0" i="0" dirty="0" err="1">
                <a:effectLst/>
              </a:rPr>
              <a:t>veniam</a:t>
            </a:r>
            <a:r>
              <a:rPr lang="en-ID" sz="1400" b="0" i="0" dirty="0">
                <a:effectLst/>
              </a:rPr>
              <a:t>, </a:t>
            </a:r>
            <a:r>
              <a:rPr lang="en-ID" sz="1400" b="0" i="0" dirty="0" err="1">
                <a:effectLst/>
              </a:rPr>
              <a:t>quis</a:t>
            </a:r>
            <a:r>
              <a:rPr lang="en-ID" sz="1400" b="0" i="0" dirty="0">
                <a:effectLst/>
              </a:rPr>
              <a:t> </a:t>
            </a:r>
            <a:r>
              <a:rPr lang="en-ID" sz="1400" b="0" i="0" dirty="0" err="1">
                <a:effectLst/>
              </a:rPr>
              <a:t>nostrud</a:t>
            </a:r>
            <a:r>
              <a:rPr lang="en-ID" sz="1400" b="0" i="0" dirty="0">
                <a:effectLst/>
              </a:rPr>
              <a:t> exercitation </a:t>
            </a:r>
            <a:r>
              <a:rPr lang="en-ID" sz="1400" b="0" i="0" dirty="0" err="1">
                <a:effectLst/>
              </a:rPr>
              <a:t>ullamco</a:t>
            </a:r>
            <a:r>
              <a:rPr lang="en-ID" sz="1400" b="0" i="0" dirty="0">
                <a:effectLst/>
              </a:rPr>
              <a:t> </a:t>
            </a:r>
            <a:r>
              <a:rPr lang="en-ID" sz="1400" b="0" i="0" dirty="0" err="1">
                <a:effectLst/>
              </a:rPr>
              <a:t>laboris</a:t>
            </a:r>
            <a:r>
              <a:rPr lang="en-ID" sz="1400" b="0" i="0" dirty="0">
                <a:effectLst/>
              </a:rPr>
              <a:t> nisi </a:t>
            </a:r>
            <a:r>
              <a:rPr lang="en-ID" sz="1400" b="0" i="0" dirty="0" err="1">
                <a:effectLst/>
              </a:rPr>
              <a:t>ut</a:t>
            </a:r>
            <a:r>
              <a:rPr lang="en-ID" sz="1400" b="0" i="0" dirty="0">
                <a:effectLst/>
              </a:rPr>
              <a:t> </a:t>
            </a:r>
            <a:r>
              <a:rPr lang="en-ID" sz="1400" b="0" i="0" dirty="0" err="1">
                <a:effectLst/>
              </a:rPr>
              <a:t>aliquip</a:t>
            </a:r>
            <a:r>
              <a:rPr lang="en-ID" sz="1400" b="0" i="0" dirty="0">
                <a:effectLst/>
              </a:rPr>
              <a:t> ex </a:t>
            </a:r>
            <a:r>
              <a:rPr lang="en-ID" sz="1400" b="0" i="0" dirty="0" err="1">
                <a:effectLst/>
              </a:rPr>
              <a:t>ea</a:t>
            </a:r>
            <a:r>
              <a:rPr lang="en-ID" sz="1400" b="0" i="0" dirty="0">
                <a:effectLst/>
              </a:rPr>
              <a:t> </a:t>
            </a:r>
            <a:r>
              <a:rPr lang="en-ID" sz="1400" b="0" i="0" dirty="0" err="1">
                <a:effectLst/>
              </a:rPr>
              <a:t>commodo</a:t>
            </a:r>
            <a:r>
              <a:rPr lang="en-ID" sz="1400" b="0" i="0" dirty="0">
                <a:effectLst/>
              </a:rPr>
              <a:t> </a:t>
            </a:r>
            <a:r>
              <a:rPr lang="en-ID" sz="1400" b="0" i="0" dirty="0" err="1">
                <a:effectLst/>
              </a:rPr>
              <a:t>consequat</a:t>
            </a:r>
            <a:r>
              <a:rPr lang="en-ID" sz="1400" b="0" i="0" dirty="0">
                <a:effectLst/>
              </a:rPr>
              <a:t>.</a:t>
            </a:r>
          </a:p>
        </p:txBody>
      </p:sp>
      <p:sp>
        <p:nvSpPr>
          <p:cNvPr id="39" name="TextBox 38">
            <a:extLst>
              <a:ext uri="{FF2B5EF4-FFF2-40B4-BE49-F238E27FC236}">
                <a16:creationId xmlns:a16="http://schemas.microsoft.com/office/drawing/2014/main" id="{E64CE66B-1336-46C8-BD29-676BB3899DB6}"/>
              </a:ext>
            </a:extLst>
          </p:cNvPr>
          <p:cNvSpPr txBox="1"/>
          <p:nvPr/>
        </p:nvSpPr>
        <p:spPr>
          <a:xfrm>
            <a:off x="3868396" y="5074184"/>
            <a:ext cx="6659635" cy="246221"/>
          </a:xfrm>
          <a:prstGeom prst="rect">
            <a:avLst/>
          </a:prstGeom>
          <a:noFill/>
        </p:spPr>
        <p:txBody>
          <a:bodyPr wrap="square" lIns="0" tIns="0" rIns="0" bIns="0">
            <a:spAutoFit/>
          </a:bodyPr>
          <a:lstStyle/>
          <a:p>
            <a:r>
              <a:rPr lang="en-ID" sz="1600" b="1" i="0" dirty="0">
                <a:effectLst/>
                <a:latin typeface="+mj-lt"/>
              </a:rPr>
              <a:t>Lorem </a:t>
            </a:r>
            <a:r>
              <a:rPr lang="en-ID" sz="1600" b="1" dirty="0">
                <a:latin typeface="+mj-lt"/>
              </a:rPr>
              <a:t>Ipsum </a:t>
            </a:r>
            <a:r>
              <a:rPr lang="en-ID" sz="1600" b="1" dirty="0" err="1">
                <a:latin typeface="+mj-lt"/>
              </a:rPr>
              <a:t>Dolor</a:t>
            </a:r>
            <a:endParaRPr lang="en-ID" sz="1600" b="1" dirty="0">
              <a:latin typeface="+mj-lt"/>
            </a:endParaRPr>
          </a:p>
        </p:txBody>
      </p:sp>
      <p:sp>
        <p:nvSpPr>
          <p:cNvPr id="40" name="TextBox 39">
            <a:extLst>
              <a:ext uri="{FF2B5EF4-FFF2-40B4-BE49-F238E27FC236}">
                <a16:creationId xmlns:a16="http://schemas.microsoft.com/office/drawing/2014/main" id="{5FE59292-6526-4854-914A-22B5CFC4B1FF}"/>
              </a:ext>
            </a:extLst>
          </p:cNvPr>
          <p:cNvSpPr txBox="1"/>
          <p:nvPr/>
        </p:nvSpPr>
        <p:spPr>
          <a:xfrm>
            <a:off x="11070941" y="5337293"/>
            <a:ext cx="356169" cy="430887"/>
          </a:xfrm>
          <a:prstGeom prst="rect">
            <a:avLst/>
          </a:prstGeom>
          <a:noFill/>
        </p:spPr>
        <p:txBody>
          <a:bodyPr wrap="square" lIns="0" tIns="0" rIns="0" bIns="0" anchor="ctr">
            <a:spAutoFit/>
          </a:bodyPr>
          <a:lstStyle/>
          <a:p>
            <a:pPr algn="ctr"/>
            <a:r>
              <a:rPr lang="en-ID" sz="2800" b="1" i="1" dirty="0">
                <a:solidFill>
                  <a:schemeClr val="bg1"/>
                </a:solidFill>
                <a:effectLst/>
                <a:latin typeface="+mj-lt"/>
              </a:rPr>
              <a:t>3</a:t>
            </a:r>
            <a:endParaRPr lang="en-ID" sz="2800" b="1" i="1" dirty="0">
              <a:solidFill>
                <a:schemeClr val="bg1"/>
              </a:solidFill>
              <a:latin typeface="+mj-lt"/>
            </a:endParaRPr>
          </a:p>
        </p:txBody>
      </p:sp>
      <p:grpSp>
        <p:nvGrpSpPr>
          <p:cNvPr id="41" name="Group 40">
            <a:extLst>
              <a:ext uri="{FF2B5EF4-FFF2-40B4-BE49-F238E27FC236}">
                <a16:creationId xmlns:a16="http://schemas.microsoft.com/office/drawing/2014/main" id="{4AB2CBC0-A437-424B-87F7-84920287D026}"/>
              </a:ext>
            </a:extLst>
          </p:cNvPr>
          <p:cNvGrpSpPr/>
          <p:nvPr/>
        </p:nvGrpSpPr>
        <p:grpSpPr>
          <a:xfrm>
            <a:off x="876665" y="3610381"/>
            <a:ext cx="437420" cy="551638"/>
            <a:chOff x="5554663" y="1082675"/>
            <a:chExt cx="285750" cy="360363"/>
          </a:xfrm>
          <a:solidFill>
            <a:schemeClr val="bg1"/>
          </a:solidFill>
        </p:grpSpPr>
        <p:sp>
          <p:nvSpPr>
            <p:cNvPr id="42" name="Freeform 40">
              <a:extLst>
                <a:ext uri="{FF2B5EF4-FFF2-40B4-BE49-F238E27FC236}">
                  <a16:creationId xmlns:a16="http://schemas.microsoft.com/office/drawing/2014/main" id="{BA239617-FC1A-4B3F-90DA-A2B33972C933}"/>
                </a:ext>
              </a:extLst>
            </p:cNvPr>
            <p:cNvSpPr>
              <a:spLocks noEditPoints="1"/>
            </p:cNvSpPr>
            <p:nvPr/>
          </p:nvSpPr>
          <p:spPr bwMode="auto">
            <a:xfrm>
              <a:off x="5570538" y="1247775"/>
              <a:ext cx="269875" cy="195263"/>
            </a:xfrm>
            <a:custGeom>
              <a:avLst/>
              <a:gdLst>
                <a:gd name="T0" fmla="*/ 58 w 72"/>
                <a:gd name="T1" fmla="*/ 4 h 52"/>
                <a:gd name="T2" fmla="*/ 56 w 72"/>
                <a:gd name="T3" fmla="*/ 4 h 52"/>
                <a:gd name="T4" fmla="*/ 56 w 72"/>
                <a:gd name="T5" fmla="*/ 2 h 52"/>
                <a:gd name="T6" fmla="*/ 54 w 72"/>
                <a:gd name="T7" fmla="*/ 0 h 52"/>
                <a:gd name="T8" fmla="*/ 2 w 72"/>
                <a:gd name="T9" fmla="*/ 0 h 52"/>
                <a:gd name="T10" fmla="*/ 0 w 72"/>
                <a:gd name="T11" fmla="*/ 2 h 52"/>
                <a:gd name="T12" fmla="*/ 0 w 72"/>
                <a:gd name="T13" fmla="*/ 42 h 52"/>
                <a:gd name="T14" fmla="*/ 10 w 72"/>
                <a:gd name="T15" fmla="*/ 52 h 52"/>
                <a:gd name="T16" fmla="*/ 46 w 72"/>
                <a:gd name="T17" fmla="*/ 52 h 52"/>
                <a:gd name="T18" fmla="*/ 56 w 72"/>
                <a:gd name="T19" fmla="*/ 42 h 52"/>
                <a:gd name="T20" fmla="*/ 56 w 72"/>
                <a:gd name="T21" fmla="*/ 32 h 52"/>
                <a:gd name="T22" fmla="*/ 58 w 72"/>
                <a:gd name="T23" fmla="*/ 32 h 52"/>
                <a:gd name="T24" fmla="*/ 72 w 72"/>
                <a:gd name="T25" fmla="*/ 18 h 52"/>
                <a:gd name="T26" fmla="*/ 58 w 72"/>
                <a:gd name="T27" fmla="*/ 4 h 52"/>
                <a:gd name="T28" fmla="*/ 58 w 72"/>
                <a:gd name="T29" fmla="*/ 28 h 52"/>
                <a:gd name="T30" fmla="*/ 56 w 72"/>
                <a:gd name="T31" fmla="*/ 28 h 52"/>
                <a:gd name="T32" fmla="*/ 56 w 72"/>
                <a:gd name="T33" fmla="*/ 8 h 52"/>
                <a:gd name="T34" fmla="*/ 58 w 72"/>
                <a:gd name="T35" fmla="*/ 8 h 52"/>
                <a:gd name="T36" fmla="*/ 68 w 72"/>
                <a:gd name="T37" fmla="*/ 18 h 52"/>
                <a:gd name="T38" fmla="*/ 58 w 72"/>
                <a:gd name="T39" fmla="*/ 2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52">
                  <a:moveTo>
                    <a:pt x="58" y="4"/>
                  </a:moveTo>
                  <a:cubicBezTo>
                    <a:pt x="56" y="4"/>
                    <a:pt x="56" y="4"/>
                    <a:pt x="56" y="4"/>
                  </a:cubicBezTo>
                  <a:cubicBezTo>
                    <a:pt x="56" y="2"/>
                    <a:pt x="56" y="2"/>
                    <a:pt x="56" y="2"/>
                  </a:cubicBezTo>
                  <a:cubicBezTo>
                    <a:pt x="56" y="1"/>
                    <a:pt x="55" y="0"/>
                    <a:pt x="54" y="0"/>
                  </a:cubicBezTo>
                  <a:cubicBezTo>
                    <a:pt x="2" y="0"/>
                    <a:pt x="2" y="0"/>
                    <a:pt x="2" y="0"/>
                  </a:cubicBezTo>
                  <a:cubicBezTo>
                    <a:pt x="1" y="0"/>
                    <a:pt x="0" y="1"/>
                    <a:pt x="0" y="2"/>
                  </a:cubicBezTo>
                  <a:cubicBezTo>
                    <a:pt x="0" y="42"/>
                    <a:pt x="0" y="42"/>
                    <a:pt x="0" y="42"/>
                  </a:cubicBezTo>
                  <a:cubicBezTo>
                    <a:pt x="0" y="48"/>
                    <a:pt x="4" y="52"/>
                    <a:pt x="10" y="52"/>
                  </a:cubicBezTo>
                  <a:cubicBezTo>
                    <a:pt x="46" y="52"/>
                    <a:pt x="46" y="52"/>
                    <a:pt x="46" y="52"/>
                  </a:cubicBezTo>
                  <a:cubicBezTo>
                    <a:pt x="52" y="52"/>
                    <a:pt x="56" y="48"/>
                    <a:pt x="56" y="42"/>
                  </a:cubicBezTo>
                  <a:cubicBezTo>
                    <a:pt x="56" y="32"/>
                    <a:pt x="56" y="32"/>
                    <a:pt x="56" y="32"/>
                  </a:cubicBezTo>
                  <a:cubicBezTo>
                    <a:pt x="58" y="32"/>
                    <a:pt x="58" y="32"/>
                    <a:pt x="58" y="32"/>
                  </a:cubicBezTo>
                  <a:cubicBezTo>
                    <a:pt x="66" y="32"/>
                    <a:pt x="72" y="26"/>
                    <a:pt x="72" y="18"/>
                  </a:cubicBezTo>
                  <a:cubicBezTo>
                    <a:pt x="72" y="10"/>
                    <a:pt x="66" y="4"/>
                    <a:pt x="58" y="4"/>
                  </a:cubicBezTo>
                  <a:close/>
                  <a:moveTo>
                    <a:pt x="58" y="28"/>
                  </a:moveTo>
                  <a:cubicBezTo>
                    <a:pt x="56" y="28"/>
                    <a:pt x="56" y="28"/>
                    <a:pt x="56" y="28"/>
                  </a:cubicBezTo>
                  <a:cubicBezTo>
                    <a:pt x="56" y="8"/>
                    <a:pt x="56" y="8"/>
                    <a:pt x="56" y="8"/>
                  </a:cubicBezTo>
                  <a:cubicBezTo>
                    <a:pt x="58" y="8"/>
                    <a:pt x="58" y="8"/>
                    <a:pt x="58" y="8"/>
                  </a:cubicBezTo>
                  <a:cubicBezTo>
                    <a:pt x="64" y="8"/>
                    <a:pt x="68" y="12"/>
                    <a:pt x="68" y="18"/>
                  </a:cubicBezTo>
                  <a:cubicBezTo>
                    <a:pt x="68" y="24"/>
                    <a:pt x="64" y="28"/>
                    <a:pt x="5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41">
              <a:extLst>
                <a:ext uri="{FF2B5EF4-FFF2-40B4-BE49-F238E27FC236}">
                  <a16:creationId xmlns:a16="http://schemas.microsoft.com/office/drawing/2014/main" id="{C8A15C61-540A-4F43-9232-ED2B41C493F0}"/>
                </a:ext>
              </a:extLst>
            </p:cNvPr>
            <p:cNvSpPr>
              <a:spLocks noEditPoints="1"/>
            </p:cNvSpPr>
            <p:nvPr/>
          </p:nvSpPr>
          <p:spPr bwMode="auto">
            <a:xfrm>
              <a:off x="5719763" y="1082675"/>
              <a:ext cx="98425" cy="150813"/>
            </a:xfrm>
            <a:custGeom>
              <a:avLst/>
              <a:gdLst>
                <a:gd name="T0" fmla="*/ 2 w 26"/>
                <a:gd name="T1" fmla="*/ 40 h 40"/>
                <a:gd name="T2" fmla="*/ 10 w 26"/>
                <a:gd name="T3" fmla="*/ 40 h 40"/>
                <a:gd name="T4" fmla="*/ 12 w 26"/>
                <a:gd name="T5" fmla="*/ 39 h 40"/>
                <a:gd name="T6" fmla="*/ 18 w 26"/>
                <a:gd name="T7" fmla="*/ 26 h 40"/>
                <a:gd name="T8" fmla="*/ 26 w 26"/>
                <a:gd name="T9" fmla="*/ 17 h 40"/>
                <a:gd name="T10" fmla="*/ 14 w 26"/>
                <a:gd name="T11" fmla="*/ 0 h 40"/>
                <a:gd name="T12" fmla="*/ 12 w 26"/>
                <a:gd name="T13" fmla="*/ 1 h 40"/>
                <a:gd name="T14" fmla="*/ 12 w 26"/>
                <a:gd name="T15" fmla="*/ 3 h 40"/>
                <a:gd name="T16" fmla="*/ 10 w 26"/>
                <a:gd name="T17" fmla="*/ 11 h 40"/>
                <a:gd name="T18" fmla="*/ 8 w 26"/>
                <a:gd name="T19" fmla="*/ 15 h 40"/>
                <a:gd name="T20" fmla="*/ 8 w 26"/>
                <a:gd name="T21" fmla="*/ 21 h 40"/>
                <a:gd name="T22" fmla="*/ 10 w 26"/>
                <a:gd name="T23" fmla="*/ 24 h 40"/>
                <a:gd name="T24" fmla="*/ 2 w 26"/>
                <a:gd name="T25" fmla="*/ 35 h 40"/>
                <a:gd name="T26" fmla="*/ 1 w 26"/>
                <a:gd name="T27" fmla="*/ 35 h 40"/>
                <a:gd name="T28" fmla="*/ 0 w 26"/>
                <a:gd name="T29" fmla="*/ 37 h 40"/>
                <a:gd name="T30" fmla="*/ 0 w 26"/>
                <a:gd name="T31" fmla="*/ 39 h 40"/>
                <a:gd name="T32" fmla="*/ 2 w 26"/>
                <a:gd name="T33" fmla="*/ 40 h 40"/>
                <a:gd name="T34" fmla="*/ 12 w 26"/>
                <a:gd name="T35" fmla="*/ 16 h 40"/>
                <a:gd name="T36" fmla="*/ 14 w 26"/>
                <a:gd name="T37" fmla="*/ 14 h 40"/>
                <a:gd name="T38" fmla="*/ 17 w 26"/>
                <a:gd name="T39" fmla="*/ 6 h 40"/>
                <a:gd name="T40" fmla="*/ 22 w 26"/>
                <a:gd name="T41" fmla="*/ 17 h 40"/>
                <a:gd name="T42" fmla="*/ 17 w 26"/>
                <a:gd name="T43" fmla="*/ 23 h 40"/>
                <a:gd name="T44" fmla="*/ 17 w 26"/>
                <a:gd name="T45" fmla="*/ 23 h 40"/>
                <a:gd name="T46" fmla="*/ 13 w 26"/>
                <a:gd name="T47" fmla="*/ 21 h 40"/>
                <a:gd name="T48" fmla="*/ 12 w 26"/>
                <a:gd name="T49" fmla="*/ 20 h 40"/>
                <a:gd name="T50" fmla="*/ 12 w 26"/>
                <a:gd name="T5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40">
                  <a:moveTo>
                    <a:pt x="2" y="40"/>
                  </a:moveTo>
                  <a:cubicBezTo>
                    <a:pt x="10" y="40"/>
                    <a:pt x="10" y="40"/>
                    <a:pt x="10" y="40"/>
                  </a:cubicBezTo>
                  <a:cubicBezTo>
                    <a:pt x="11" y="40"/>
                    <a:pt x="11" y="40"/>
                    <a:pt x="12" y="39"/>
                  </a:cubicBezTo>
                  <a:cubicBezTo>
                    <a:pt x="18" y="26"/>
                    <a:pt x="18" y="26"/>
                    <a:pt x="18" y="26"/>
                  </a:cubicBezTo>
                  <a:cubicBezTo>
                    <a:pt x="22" y="26"/>
                    <a:pt x="25" y="22"/>
                    <a:pt x="26" y="17"/>
                  </a:cubicBezTo>
                  <a:cubicBezTo>
                    <a:pt x="26" y="11"/>
                    <a:pt x="23" y="3"/>
                    <a:pt x="14" y="0"/>
                  </a:cubicBezTo>
                  <a:cubicBezTo>
                    <a:pt x="13" y="0"/>
                    <a:pt x="12" y="0"/>
                    <a:pt x="12" y="1"/>
                  </a:cubicBezTo>
                  <a:cubicBezTo>
                    <a:pt x="11" y="2"/>
                    <a:pt x="11" y="3"/>
                    <a:pt x="12" y="3"/>
                  </a:cubicBezTo>
                  <a:cubicBezTo>
                    <a:pt x="14" y="7"/>
                    <a:pt x="13" y="8"/>
                    <a:pt x="10" y="11"/>
                  </a:cubicBezTo>
                  <a:cubicBezTo>
                    <a:pt x="10" y="12"/>
                    <a:pt x="9" y="13"/>
                    <a:pt x="8" y="15"/>
                  </a:cubicBezTo>
                  <a:cubicBezTo>
                    <a:pt x="7" y="17"/>
                    <a:pt x="7" y="19"/>
                    <a:pt x="8" y="21"/>
                  </a:cubicBezTo>
                  <a:cubicBezTo>
                    <a:pt x="9" y="22"/>
                    <a:pt x="9" y="23"/>
                    <a:pt x="10" y="24"/>
                  </a:cubicBezTo>
                  <a:cubicBezTo>
                    <a:pt x="2" y="35"/>
                    <a:pt x="2" y="35"/>
                    <a:pt x="2" y="35"/>
                  </a:cubicBezTo>
                  <a:cubicBezTo>
                    <a:pt x="2" y="35"/>
                    <a:pt x="2" y="35"/>
                    <a:pt x="1" y="35"/>
                  </a:cubicBezTo>
                  <a:cubicBezTo>
                    <a:pt x="0" y="37"/>
                    <a:pt x="0" y="37"/>
                    <a:pt x="0" y="37"/>
                  </a:cubicBezTo>
                  <a:cubicBezTo>
                    <a:pt x="0" y="37"/>
                    <a:pt x="0" y="38"/>
                    <a:pt x="0" y="39"/>
                  </a:cubicBezTo>
                  <a:cubicBezTo>
                    <a:pt x="1" y="40"/>
                    <a:pt x="1" y="40"/>
                    <a:pt x="2" y="40"/>
                  </a:cubicBezTo>
                  <a:close/>
                  <a:moveTo>
                    <a:pt x="12" y="16"/>
                  </a:moveTo>
                  <a:cubicBezTo>
                    <a:pt x="12" y="15"/>
                    <a:pt x="13" y="15"/>
                    <a:pt x="14" y="14"/>
                  </a:cubicBezTo>
                  <a:cubicBezTo>
                    <a:pt x="15" y="12"/>
                    <a:pt x="17" y="9"/>
                    <a:pt x="17" y="6"/>
                  </a:cubicBezTo>
                  <a:cubicBezTo>
                    <a:pt x="21" y="8"/>
                    <a:pt x="22" y="13"/>
                    <a:pt x="22" y="17"/>
                  </a:cubicBezTo>
                  <a:cubicBezTo>
                    <a:pt x="21" y="19"/>
                    <a:pt x="20" y="23"/>
                    <a:pt x="17" y="23"/>
                  </a:cubicBezTo>
                  <a:cubicBezTo>
                    <a:pt x="17" y="23"/>
                    <a:pt x="17" y="23"/>
                    <a:pt x="17" y="23"/>
                  </a:cubicBezTo>
                  <a:cubicBezTo>
                    <a:pt x="13" y="21"/>
                    <a:pt x="13" y="21"/>
                    <a:pt x="13" y="21"/>
                  </a:cubicBezTo>
                  <a:cubicBezTo>
                    <a:pt x="13" y="21"/>
                    <a:pt x="12" y="20"/>
                    <a:pt x="12" y="20"/>
                  </a:cubicBezTo>
                  <a:cubicBezTo>
                    <a:pt x="11" y="19"/>
                    <a:pt x="11" y="17"/>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42">
              <a:extLst>
                <a:ext uri="{FF2B5EF4-FFF2-40B4-BE49-F238E27FC236}">
                  <a16:creationId xmlns:a16="http://schemas.microsoft.com/office/drawing/2014/main" id="{39BC8677-B909-41E6-AD14-B59D0FDB26FF}"/>
                </a:ext>
              </a:extLst>
            </p:cNvPr>
            <p:cNvSpPr>
              <a:spLocks/>
            </p:cNvSpPr>
            <p:nvPr/>
          </p:nvSpPr>
          <p:spPr bwMode="auto">
            <a:xfrm>
              <a:off x="5554663" y="1143000"/>
              <a:ext cx="46038" cy="49213"/>
            </a:xfrm>
            <a:custGeom>
              <a:avLst/>
              <a:gdLst>
                <a:gd name="T0" fmla="*/ 3 w 12"/>
                <a:gd name="T1" fmla="*/ 0 h 13"/>
                <a:gd name="T2" fmla="*/ 1 w 12"/>
                <a:gd name="T3" fmla="*/ 0 h 13"/>
                <a:gd name="T4" fmla="*/ 0 w 12"/>
                <a:gd name="T5" fmla="*/ 2 h 13"/>
                <a:gd name="T6" fmla="*/ 2 w 12"/>
                <a:gd name="T7" fmla="*/ 13 h 13"/>
                <a:gd name="T8" fmla="*/ 12 w 12"/>
                <a:gd name="T9" fmla="*/ 5 h 13"/>
                <a:gd name="T10" fmla="*/ 3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3" y="0"/>
                  </a:moveTo>
                  <a:cubicBezTo>
                    <a:pt x="2" y="0"/>
                    <a:pt x="2" y="0"/>
                    <a:pt x="1" y="0"/>
                  </a:cubicBezTo>
                  <a:cubicBezTo>
                    <a:pt x="0" y="1"/>
                    <a:pt x="0" y="2"/>
                    <a:pt x="0" y="2"/>
                  </a:cubicBezTo>
                  <a:cubicBezTo>
                    <a:pt x="2" y="13"/>
                    <a:pt x="2" y="13"/>
                    <a:pt x="2" y="13"/>
                  </a:cubicBezTo>
                  <a:cubicBezTo>
                    <a:pt x="12" y="5"/>
                    <a:pt x="12" y="5"/>
                    <a:pt x="12" y="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43">
              <a:extLst>
                <a:ext uri="{FF2B5EF4-FFF2-40B4-BE49-F238E27FC236}">
                  <a16:creationId xmlns:a16="http://schemas.microsoft.com/office/drawing/2014/main" id="{562C5C7D-6F5F-4DC1-9F21-B2F24769E0C7}"/>
                </a:ext>
              </a:extLst>
            </p:cNvPr>
            <p:cNvSpPr>
              <a:spLocks/>
            </p:cNvSpPr>
            <p:nvPr/>
          </p:nvSpPr>
          <p:spPr bwMode="auto">
            <a:xfrm>
              <a:off x="5570538" y="1082675"/>
              <a:ext cx="149225" cy="150813"/>
            </a:xfrm>
            <a:custGeom>
              <a:avLst/>
              <a:gdLst>
                <a:gd name="T0" fmla="*/ 6 w 40"/>
                <a:gd name="T1" fmla="*/ 40 h 40"/>
                <a:gd name="T2" fmla="*/ 18 w 40"/>
                <a:gd name="T3" fmla="*/ 40 h 40"/>
                <a:gd name="T4" fmla="*/ 18 w 40"/>
                <a:gd name="T5" fmla="*/ 40 h 40"/>
                <a:gd name="T6" fmla="*/ 20 w 40"/>
                <a:gd name="T7" fmla="*/ 38 h 40"/>
                <a:gd name="T8" fmla="*/ 22 w 40"/>
                <a:gd name="T9" fmla="*/ 40 h 40"/>
                <a:gd name="T10" fmla="*/ 38 w 40"/>
                <a:gd name="T11" fmla="*/ 40 h 40"/>
                <a:gd name="T12" fmla="*/ 40 w 40"/>
                <a:gd name="T13" fmla="*/ 38 h 40"/>
                <a:gd name="T14" fmla="*/ 40 w 40"/>
                <a:gd name="T15" fmla="*/ 36 h 40"/>
                <a:gd name="T16" fmla="*/ 36 w 40"/>
                <a:gd name="T17" fmla="*/ 36 h 40"/>
                <a:gd name="T18" fmla="*/ 35 w 40"/>
                <a:gd name="T19" fmla="*/ 36 h 40"/>
                <a:gd name="T20" fmla="*/ 33 w 40"/>
                <a:gd name="T21" fmla="*/ 34 h 40"/>
                <a:gd name="T22" fmla="*/ 35 w 40"/>
                <a:gd name="T23" fmla="*/ 32 h 40"/>
                <a:gd name="T24" fmla="*/ 40 w 40"/>
                <a:gd name="T25" fmla="*/ 32 h 40"/>
                <a:gd name="T26" fmla="*/ 40 w 40"/>
                <a:gd name="T27" fmla="*/ 28 h 40"/>
                <a:gd name="T28" fmla="*/ 30 w 40"/>
                <a:gd name="T29" fmla="*/ 28 h 40"/>
                <a:gd name="T30" fmla="*/ 28 w 40"/>
                <a:gd name="T31" fmla="*/ 26 h 40"/>
                <a:gd name="T32" fmla="*/ 30 w 40"/>
                <a:gd name="T33" fmla="*/ 24 h 40"/>
                <a:gd name="T34" fmla="*/ 40 w 40"/>
                <a:gd name="T35" fmla="*/ 24 h 40"/>
                <a:gd name="T36" fmla="*/ 40 w 40"/>
                <a:gd name="T37" fmla="*/ 20 h 40"/>
                <a:gd name="T38" fmla="*/ 35 w 40"/>
                <a:gd name="T39" fmla="*/ 20 h 40"/>
                <a:gd name="T40" fmla="*/ 33 w 40"/>
                <a:gd name="T41" fmla="*/ 18 h 40"/>
                <a:gd name="T42" fmla="*/ 35 w 40"/>
                <a:gd name="T43" fmla="*/ 16 h 40"/>
                <a:gd name="T44" fmla="*/ 40 w 40"/>
                <a:gd name="T45" fmla="*/ 16 h 40"/>
                <a:gd name="T46" fmla="*/ 40 w 40"/>
                <a:gd name="T47" fmla="*/ 12 h 40"/>
                <a:gd name="T48" fmla="*/ 30 w 40"/>
                <a:gd name="T49" fmla="*/ 12 h 40"/>
                <a:gd name="T50" fmla="*/ 28 w 40"/>
                <a:gd name="T51" fmla="*/ 10 h 40"/>
                <a:gd name="T52" fmla="*/ 30 w 40"/>
                <a:gd name="T53" fmla="*/ 8 h 40"/>
                <a:gd name="T54" fmla="*/ 40 w 40"/>
                <a:gd name="T55" fmla="*/ 8 h 40"/>
                <a:gd name="T56" fmla="*/ 40 w 40"/>
                <a:gd name="T57" fmla="*/ 2 h 40"/>
                <a:gd name="T58" fmla="*/ 38 w 40"/>
                <a:gd name="T59" fmla="*/ 0 h 40"/>
                <a:gd name="T60" fmla="*/ 22 w 40"/>
                <a:gd name="T61" fmla="*/ 0 h 40"/>
                <a:gd name="T62" fmla="*/ 20 w 40"/>
                <a:gd name="T63" fmla="*/ 2 h 40"/>
                <a:gd name="T64" fmla="*/ 20 w 40"/>
                <a:gd name="T65" fmla="*/ 38 h 40"/>
                <a:gd name="T66" fmla="*/ 19 w 40"/>
                <a:gd name="T67" fmla="*/ 37 h 40"/>
                <a:gd name="T68" fmla="*/ 11 w 40"/>
                <a:gd name="T69" fmla="*/ 24 h 40"/>
                <a:gd name="T70" fmla="*/ 0 w 40"/>
                <a:gd name="T71" fmla="*/ 33 h 40"/>
                <a:gd name="T72" fmla="*/ 4 w 40"/>
                <a:gd name="T73" fmla="*/ 39 h 40"/>
                <a:gd name="T74" fmla="*/ 6 w 40"/>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6" y="40"/>
                  </a:moveTo>
                  <a:cubicBezTo>
                    <a:pt x="18" y="40"/>
                    <a:pt x="18" y="40"/>
                    <a:pt x="18" y="40"/>
                  </a:cubicBezTo>
                  <a:cubicBezTo>
                    <a:pt x="18" y="40"/>
                    <a:pt x="18" y="40"/>
                    <a:pt x="18" y="40"/>
                  </a:cubicBezTo>
                  <a:cubicBezTo>
                    <a:pt x="19" y="40"/>
                    <a:pt x="20" y="39"/>
                    <a:pt x="20" y="38"/>
                  </a:cubicBezTo>
                  <a:cubicBezTo>
                    <a:pt x="20" y="39"/>
                    <a:pt x="21" y="40"/>
                    <a:pt x="22" y="40"/>
                  </a:cubicBezTo>
                  <a:cubicBezTo>
                    <a:pt x="38" y="40"/>
                    <a:pt x="38" y="40"/>
                    <a:pt x="38" y="40"/>
                  </a:cubicBezTo>
                  <a:cubicBezTo>
                    <a:pt x="39" y="40"/>
                    <a:pt x="40" y="39"/>
                    <a:pt x="40" y="38"/>
                  </a:cubicBezTo>
                  <a:cubicBezTo>
                    <a:pt x="40" y="36"/>
                    <a:pt x="40" y="36"/>
                    <a:pt x="40" y="36"/>
                  </a:cubicBezTo>
                  <a:cubicBezTo>
                    <a:pt x="36" y="36"/>
                    <a:pt x="36" y="36"/>
                    <a:pt x="36" y="36"/>
                  </a:cubicBezTo>
                  <a:cubicBezTo>
                    <a:pt x="35" y="36"/>
                    <a:pt x="35" y="36"/>
                    <a:pt x="35" y="36"/>
                  </a:cubicBezTo>
                  <a:cubicBezTo>
                    <a:pt x="34" y="36"/>
                    <a:pt x="33" y="35"/>
                    <a:pt x="33" y="34"/>
                  </a:cubicBezTo>
                  <a:cubicBezTo>
                    <a:pt x="33" y="33"/>
                    <a:pt x="34" y="32"/>
                    <a:pt x="35" y="32"/>
                  </a:cubicBezTo>
                  <a:cubicBezTo>
                    <a:pt x="40" y="32"/>
                    <a:pt x="40" y="32"/>
                    <a:pt x="40" y="32"/>
                  </a:cubicBezTo>
                  <a:cubicBezTo>
                    <a:pt x="40" y="28"/>
                    <a:pt x="40" y="28"/>
                    <a:pt x="40" y="28"/>
                  </a:cubicBezTo>
                  <a:cubicBezTo>
                    <a:pt x="30" y="28"/>
                    <a:pt x="30" y="28"/>
                    <a:pt x="30" y="28"/>
                  </a:cubicBezTo>
                  <a:cubicBezTo>
                    <a:pt x="29" y="28"/>
                    <a:pt x="28" y="27"/>
                    <a:pt x="28" y="26"/>
                  </a:cubicBezTo>
                  <a:cubicBezTo>
                    <a:pt x="28" y="25"/>
                    <a:pt x="29" y="24"/>
                    <a:pt x="30" y="24"/>
                  </a:cubicBezTo>
                  <a:cubicBezTo>
                    <a:pt x="40" y="24"/>
                    <a:pt x="40" y="24"/>
                    <a:pt x="40" y="24"/>
                  </a:cubicBezTo>
                  <a:cubicBezTo>
                    <a:pt x="40" y="20"/>
                    <a:pt x="40" y="20"/>
                    <a:pt x="40" y="20"/>
                  </a:cubicBezTo>
                  <a:cubicBezTo>
                    <a:pt x="35" y="20"/>
                    <a:pt x="35" y="20"/>
                    <a:pt x="35" y="20"/>
                  </a:cubicBezTo>
                  <a:cubicBezTo>
                    <a:pt x="34" y="20"/>
                    <a:pt x="33" y="19"/>
                    <a:pt x="33" y="18"/>
                  </a:cubicBezTo>
                  <a:cubicBezTo>
                    <a:pt x="33" y="17"/>
                    <a:pt x="34" y="16"/>
                    <a:pt x="35" y="16"/>
                  </a:cubicBezTo>
                  <a:cubicBezTo>
                    <a:pt x="40" y="16"/>
                    <a:pt x="40" y="16"/>
                    <a:pt x="40" y="16"/>
                  </a:cubicBezTo>
                  <a:cubicBezTo>
                    <a:pt x="40" y="12"/>
                    <a:pt x="40" y="12"/>
                    <a:pt x="40" y="12"/>
                  </a:cubicBezTo>
                  <a:cubicBezTo>
                    <a:pt x="30" y="12"/>
                    <a:pt x="30" y="12"/>
                    <a:pt x="30" y="12"/>
                  </a:cubicBezTo>
                  <a:cubicBezTo>
                    <a:pt x="29" y="12"/>
                    <a:pt x="28" y="11"/>
                    <a:pt x="28" y="10"/>
                  </a:cubicBezTo>
                  <a:cubicBezTo>
                    <a:pt x="28" y="9"/>
                    <a:pt x="29" y="8"/>
                    <a:pt x="30" y="8"/>
                  </a:cubicBezTo>
                  <a:cubicBezTo>
                    <a:pt x="40" y="8"/>
                    <a:pt x="40" y="8"/>
                    <a:pt x="40" y="8"/>
                  </a:cubicBezTo>
                  <a:cubicBezTo>
                    <a:pt x="40" y="2"/>
                    <a:pt x="40" y="2"/>
                    <a:pt x="40" y="2"/>
                  </a:cubicBezTo>
                  <a:cubicBezTo>
                    <a:pt x="40" y="1"/>
                    <a:pt x="39" y="0"/>
                    <a:pt x="38" y="0"/>
                  </a:cubicBezTo>
                  <a:cubicBezTo>
                    <a:pt x="22" y="0"/>
                    <a:pt x="22" y="0"/>
                    <a:pt x="22" y="0"/>
                  </a:cubicBezTo>
                  <a:cubicBezTo>
                    <a:pt x="21" y="0"/>
                    <a:pt x="20" y="1"/>
                    <a:pt x="20" y="2"/>
                  </a:cubicBezTo>
                  <a:cubicBezTo>
                    <a:pt x="20" y="38"/>
                    <a:pt x="20" y="38"/>
                    <a:pt x="20" y="38"/>
                  </a:cubicBezTo>
                  <a:cubicBezTo>
                    <a:pt x="20" y="37"/>
                    <a:pt x="20" y="37"/>
                    <a:pt x="19" y="37"/>
                  </a:cubicBezTo>
                  <a:cubicBezTo>
                    <a:pt x="11" y="24"/>
                    <a:pt x="11" y="24"/>
                    <a:pt x="11" y="24"/>
                  </a:cubicBezTo>
                  <a:cubicBezTo>
                    <a:pt x="0" y="33"/>
                    <a:pt x="0" y="33"/>
                    <a:pt x="0" y="33"/>
                  </a:cubicBezTo>
                  <a:cubicBezTo>
                    <a:pt x="4" y="39"/>
                    <a:pt x="4" y="39"/>
                    <a:pt x="4" y="39"/>
                  </a:cubicBezTo>
                  <a:cubicBezTo>
                    <a:pt x="5" y="40"/>
                    <a:pt x="5" y="40"/>
                    <a:pt x="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 name="Group 45">
            <a:extLst>
              <a:ext uri="{FF2B5EF4-FFF2-40B4-BE49-F238E27FC236}">
                <a16:creationId xmlns:a16="http://schemas.microsoft.com/office/drawing/2014/main" id="{E8FE2582-E8A6-41C1-951B-864C6A36E91D}"/>
              </a:ext>
            </a:extLst>
          </p:cNvPr>
          <p:cNvGrpSpPr/>
          <p:nvPr/>
        </p:nvGrpSpPr>
        <p:grpSpPr>
          <a:xfrm>
            <a:off x="888816" y="2012144"/>
            <a:ext cx="413119" cy="415040"/>
            <a:chOff x="4113213" y="2544763"/>
            <a:chExt cx="341313" cy="342900"/>
          </a:xfrm>
          <a:solidFill>
            <a:schemeClr val="bg1"/>
          </a:solidFill>
        </p:grpSpPr>
        <p:sp>
          <p:nvSpPr>
            <p:cNvPr id="47" name="Freeform 153">
              <a:extLst>
                <a:ext uri="{FF2B5EF4-FFF2-40B4-BE49-F238E27FC236}">
                  <a16:creationId xmlns:a16="http://schemas.microsoft.com/office/drawing/2014/main" id="{EC2DE923-620D-4F10-9A4A-41F49ADC8ACE}"/>
                </a:ext>
              </a:extLst>
            </p:cNvPr>
            <p:cNvSpPr>
              <a:spLocks/>
            </p:cNvSpPr>
            <p:nvPr/>
          </p:nvSpPr>
          <p:spPr bwMode="auto">
            <a:xfrm>
              <a:off x="4244975" y="2706688"/>
              <a:ext cx="47625" cy="49213"/>
            </a:xfrm>
            <a:custGeom>
              <a:avLst/>
              <a:gdLst>
                <a:gd name="T0" fmla="*/ 0 w 30"/>
                <a:gd name="T1" fmla="*/ 31 h 31"/>
                <a:gd name="T2" fmla="*/ 30 w 30"/>
                <a:gd name="T3" fmla="*/ 17 h 31"/>
                <a:gd name="T4" fmla="*/ 14 w 30"/>
                <a:gd name="T5" fmla="*/ 0 h 31"/>
                <a:gd name="T6" fmla="*/ 0 w 30"/>
                <a:gd name="T7" fmla="*/ 31 h 31"/>
              </a:gdLst>
              <a:ahLst/>
              <a:cxnLst>
                <a:cxn ang="0">
                  <a:pos x="T0" y="T1"/>
                </a:cxn>
                <a:cxn ang="0">
                  <a:pos x="T2" y="T3"/>
                </a:cxn>
                <a:cxn ang="0">
                  <a:pos x="T4" y="T5"/>
                </a:cxn>
                <a:cxn ang="0">
                  <a:pos x="T6" y="T7"/>
                </a:cxn>
              </a:cxnLst>
              <a:rect l="0" t="0" r="r" b="b"/>
              <a:pathLst>
                <a:path w="30" h="31">
                  <a:moveTo>
                    <a:pt x="0" y="31"/>
                  </a:moveTo>
                  <a:lnTo>
                    <a:pt x="30" y="17"/>
                  </a:lnTo>
                  <a:lnTo>
                    <a:pt x="14" y="0"/>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54">
              <a:extLst>
                <a:ext uri="{FF2B5EF4-FFF2-40B4-BE49-F238E27FC236}">
                  <a16:creationId xmlns:a16="http://schemas.microsoft.com/office/drawing/2014/main" id="{6F0731CD-D7CF-46AD-90DF-E52E3D66B27B}"/>
                </a:ext>
              </a:extLst>
            </p:cNvPr>
            <p:cNvSpPr>
              <a:spLocks noEditPoints="1"/>
            </p:cNvSpPr>
            <p:nvPr/>
          </p:nvSpPr>
          <p:spPr bwMode="auto">
            <a:xfrm>
              <a:off x="4113213" y="2555875"/>
              <a:ext cx="300038" cy="331788"/>
            </a:xfrm>
            <a:custGeom>
              <a:avLst/>
              <a:gdLst>
                <a:gd name="T0" fmla="*/ 53 w 80"/>
                <a:gd name="T1" fmla="*/ 50 h 88"/>
                <a:gd name="T2" fmla="*/ 52 w 80"/>
                <a:gd name="T3" fmla="*/ 50 h 88"/>
                <a:gd name="T4" fmla="*/ 52 w 80"/>
                <a:gd name="T5" fmla="*/ 50 h 88"/>
                <a:gd name="T6" fmla="*/ 52 w 80"/>
                <a:gd name="T7" fmla="*/ 50 h 88"/>
                <a:gd name="T8" fmla="*/ 32 w 80"/>
                <a:gd name="T9" fmla="*/ 58 h 88"/>
                <a:gd name="T10" fmla="*/ 31 w 80"/>
                <a:gd name="T11" fmla="*/ 59 h 88"/>
                <a:gd name="T12" fmla="*/ 30 w 80"/>
                <a:gd name="T13" fmla="*/ 58 h 88"/>
                <a:gd name="T14" fmla="*/ 30 w 80"/>
                <a:gd name="T15" fmla="*/ 56 h 88"/>
                <a:gd name="T16" fmla="*/ 38 w 80"/>
                <a:gd name="T17" fmla="*/ 36 h 88"/>
                <a:gd name="T18" fmla="*/ 38 w 80"/>
                <a:gd name="T19" fmla="*/ 36 h 88"/>
                <a:gd name="T20" fmla="*/ 38 w 80"/>
                <a:gd name="T21" fmla="*/ 36 h 88"/>
                <a:gd name="T22" fmla="*/ 39 w 80"/>
                <a:gd name="T23" fmla="*/ 35 h 88"/>
                <a:gd name="T24" fmla="*/ 74 w 80"/>
                <a:gd name="T25" fmla="*/ 0 h 88"/>
                <a:gd name="T26" fmla="*/ 74 w 80"/>
                <a:gd name="T27" fmla="*/ 0 h 88"/>
                <a:gd name="T28" fmla="*/ 74 w 80"/>
                <a:gd name="T29" fmla="*/ 0 h 88"/>
                <a:gd name="T30" fmla="*/ 74 w 80"/>
                <a:gd name="T31" fmla="*/ 0 h 88"/>
                <a:gd name="T32" fmla="*/ 2 w 80"/>
                <a:gd name="T33" fmla="*/ 0 h 88"/>
                <a:gd name="T34" fmla="*/ 0 w 80"/>
                <a:gd name="T35" fmla="*/ 2 h 88"/>
                <a:gd name="T36" fmla="*/ 0 w 80"/>
                <a:gd name="T37" fmla="*/ 86 h 88"/>
                <a:gd name="T38" fmla="*/ 2 w 80"/>
                <a:gd name="T39" fmla="*/ 88 h 88"/>
                <a:gd name="T40" fmla="*/ 78 w 80"/>
                <a:gd name="T41" fmla="*/ 88 h 88"/>
                <a:gd name="T42" fmla="*/ 80 w 80"/>
                <a:gd name="T43" fmla="*/ 86 h 88"/>
                <a:gd name="T44" fmla="*/ 80 w 80"/>
                <a:gd name="T45" fmla="*/ 22 h 88"/>
                <a:gd name="T46" fmla="*/ 53 w 80"/>
                <a:gd name="T47" fmla="*/ 50 h 88"/>
                <a:gd name="T48" fmla="*/ 74 w 80"/>
                <a:gd name="T49" fmla="*/ 84 h 88"/>
                <a:gd name="T50" fmla="*/ 74 w 80"/>
                <a:gd name="T51" fmla="*/ 84 h 88"/>
                <a:gd name="T52" fmla="*/ 6 w 80"/>
                <a:gd name="T53" fmla="*/ 84 h 88"/>
                <a:gd name="T54" fmla="*/ 4 w 80"/>
                <a:gd name="T55" fmla="*/ 82 h 88"/>
                <a:gd name="T56" fmla="*/ 4 w 80"/>
                <a:gd name="T57" fmla="*/ 6 h 88"/>
                <a:gd name="T58" fmla="*/ 6 w 80"/>
                <a:gd name="T59" fmla="*/ 4 h 88"/>
                <a:gd name="T60" fmla="*/ 58 w 80"/>
                <a:gd name="T61" fmla="*/ 4 h 88"/>
                <a:gd name="T62" fmla="*/ 58 w 80"/>
                <a:gd name="T63" fmla="*/ 4 h 88"/>
                <a:gd name="T64" fmla="*/ 60 w 80"/>
                <a:gd name="T65" fmla="*/ 6 h 88"/>
                <a:gd name="T66" fmla="*/ 58 w 80"/>
                <a:gd name="T67" fmla="*/ 8 h 88"/>
                <a:gd name="T68" fmla="*/ 8 w 80"/>
                <a:gd name="T69" fmla="*/ 8 h 88"/>
                <a:gd name="T70" fmla="*/ 8 w 80"/>
                <a:gd name="T71" fmla="*/ 80 h 88"/>
                <a:gd name="T72" fmla="*/ 72 w 80"/>
                <a:gd name="T73" fmla="*/ 80 h 88"/>
                <a:gd name="T74" fmla="*/ 72 w 80"/>
                <a:gd name="T75" fmla="*/ 38 h 88"/>
                <a:gd name="T76" fmla="*/ 74 w 80"/>
                <a:gd name="T77" fmla="*/ 36 h 88"/>
                <a:gd name="T78" fmla="*/ 76 w 80"/>
                <a:gd name="T79" fmla="*/ 38 h 88"/>
                <a:gd name="T80" fmla="*/ 76 w 80"/>
                <a:gd name="T81" fmla="*/ 82 h 88"/>
                <a:gd name="T82" fmla="*/ 74 w 80"/>
                <a:gd name="T83"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88">
                  <a:moveTo>
                    <a:pt x="53" y="50"/>
                  </a:moveTo>
                  <a:cubicBezTo>
                    <a:pt x="53" y="50"/>
                    <a:pt x="52" y="50"/>
                    <a:pt x="52" y="50"/>
                  </a:cubicBezTo>
                  <a:cubicBezTo>
                    <a:pt x="52" y="50"/>
                    <a:pt x="52" y="50"/>
                    <a:pt x="52" y="50"/>
                  </a:cubicBezTo>
                  <a:cubicBezTo>
                    <a:pt x="52" y="50"/>
                    <a:pt x="52" y="50"/>
                    <a:pt x="52" y="50"/>
                  </a:cubicBezTo>
                  <a:cubicBezTo>
                    <a:pt x="32" y="58"/>
                    <a:pt x="32" y="58"/>
                    <a:pt x="32" y="58"/>
                  </a:cubicBezTo>
                  <a:cubicBezTo>
                    <a:pt x="32" y="59"/>
                    <a:pt x="32" y="59"/>
                    <a:pt x="31" y="59"/>
                  </a:cubicBezTo>
                  <a:cubicBezTo>
                    <a:pt x="31" y="59"/>
                    <a:pt x="30" y="58"/>
                    <a:pt x="30" y="58"/>
                  </a:cubicBezTo>
                  <a:cubicBezTo>
                    <a:pt x="30" y="57"/>
                    <a:pt x="29" y="57"/>
                    <a:pt x="30" y="56"/>
                  </a:cubicBezTo>
                  <a:cubicBezTo>
                    <a:pt x="38" y="36"/>
                    <a:pt x="38" y="36"/>
                    <a:pt x="38" y="36"/>
                  </a:cubicBezTo>
                  <a:cubicBezTo>
                    <a:pt x="38" y="36"/>
                    <a:pt x="38" y="36"/>
                    <a:pt x="38" y="36"/>
                  </a:cubicBezTo>
                  <a:cubicBezTo>
                    <a:pt x="38" y="36"/>
                    <a:pt x="38" y="36"/>
                    <a:pt x="38" y="36"/>
                  </a:cubicBezTo>
                  <a:cubicBezTo>
                    <a:pt x="38" y="36"/>
                    <a:pt x="38" y="36"/>
                    <a:pt x="39" y="35"/>
                  </a:cubicBezTo>
                  <a:cubicBezTo>
                    <a:pt x="74" y="0"/>
                    <a:pt x="74" y="0"/>
                    <a:pt x="74" y="0"/>
                  </a:cubicBezTo>
                  <a:cubicBezTo>
                    <a:pt x="74" y="0"/>
                    <a:pt x="74" y="0"/>
                    <a:pt x="74" y="0"/>
                  </a:cubicBezTo>
                  <a:cubicBezTo>
                    <a:pt x="74" y="0"/>
                    <a:pt x="74" y="0"/>
                    <a:pt x="74" y="0"/>
                  </a:cubicBezTo>
                  <a:cubicBezTo>
                    <a:pt x="74" y="0"/>
                    <a:pt x="74" y="0"/>
                    <a:pt x="74" y="0"/>
                  </a:cubicBezTo>
                  <a:cubicBezTo>
                    <a:pt x="2" y="0"/>
                    <a:pt x="2" y="0"/>
                    <a:pt x="2" y="0"/>
                  </a:cubicBezTo>
                  <a:cubicBezTo>
                    <a:pt x="1" y="0"/>
                    <a:pt x="0" y="1"/>
                    <a:pt x="0" y="2"/>
                  </a:cubicBezTo>
                  <a:cubicBezTo>
                    <a:pt x="0" y="86"/>
                    <a:pt x="0" y="86"/>
                    <a:pt x="0" y="86"/>
                  </a:cubicBezTo>
                  <a:cubicBezTo>
                    <a:pt x="0" y="87"/>
                    <a:pt x="1" y="88"/>
                    <a:pt x="2" y="88"/>
                  </a:cubicBezTo>
                  <a:cubicBezTo>
                    <a:pt x="78" y="88"/>
                    <a:pt x="78" y="88"/>
                    <a:pt x="78" y="88"/>
                  </a:cubicBezTo>
                  <a:cubicBezTo>
                    <a:pt x="79" y="88"/>
                    <a:pt x="80" y="87"/>
                    <a:pt x="80" y="86"/>
                  </a:cubicBezTo>
                  <a:cubicBezTo>
                    <a:pt x="80" y="22"/>
                    <a:pt x="80" y="22"/>
                    <a:pt x="80" y="22"/>
                  </a:cubicBezTo>
                  <a:lnTo>
                    <a:pt x="53" y="50"/>
                  </a:lnTo>
                  <a:close/>
                  <a:moveTo>
                    <a:pt x="74" y="84"/>
                  </a:moveTo>
                  <a:cubicBezTo>
                    <a:pt x="74" y="84"/>
                    <a:pt x="74" y="84"/>
                    <a:pt x="74" y="84"/>
                  </a:cubicBezTo>
                  <a:cubicBezTo>
                    <a:pt x="6" y="84"/>
                    <a:pt x="6" y="84"/>
                    <a:pt x="6" y="84"/>
                  </a:cubicBezTo>
                  <a:cubicBezTo>
                    <a:pt x="5" y="84"/>
                    <a:pt x="4" y="83"/>
                    <a:pt x="4" y="82"/>
                  </a:cubicBezTo>
                  <a:cubicBezTo>
                    <a:pt x="4" y="6"/>
                    <a:pt x="4" y="6"/>
                    <a:pt x="4" y="6"/>
                  </a:cubicBezTo>
                  <a:cubicBezTo>
                    <a:pt x="4" y="5"/>
                    <a:pt x="5" y="4"/>
                    <a:pt x="6" y="4"/>
                  </a:cubicBezTo>
                  <a:cubicBezTo>
                    <a:pt x="58" y="4"/>
                    <a:pt x="58" y="4"/>
                    <a:pt x="58" y="4"/>
                  </a:cubicBezTo>
                  <a:cubicBezTo>
                    <a:pt x="58" y="4"/>
                    <a:pt x="58" y="4"/>
                    <a:pt x="58" y="4"/>
                  </a:cubicBezTo>
                  <a:cubicBezTo>
                    <a:pt x="59" y="4"/>
                    <a:pt x="60" y="5"/>
                    <a:pt x="60" y="6"/>
                  </a:cubicBezTo>
                  <a:cubicBezTo>
                    <a:pt x="60" y="7"/>
                    <a:pt x="59" y="8"/>
                    <a:pt x="58" y="8"/>
                  </a:cubicBezTo>
                  <a:cubicBezTo>
                    <a:pt x="8" y="8"/>
                    <a:pt x="8" y="8"/>
                    <a:pt x="8" y="8"/>
                  </a:cubicBezTo>
                  <a:cubicBezTo>
                    <a:pt x="8" y="80"/>
                    <a:pt x="8" y="80"/>
                    <a:pt x="8" y="80"/>
                  </a:cubicBezTo>
                  <a:cubicBezTo>
                    <a:pt x="72" y="80"/>
                    <a:pt x="72" y="80"/>
                    <a:pt x="72" y="80"/>
                  </a:cubicBezTo>
                  <a:cubicBezTo>
                    <a:pt x="72" y="38"/>
                    <a:pt x="72" y="38"/>
                    <a:pt x="72" y="38"/>
                  </a:cubicBezTo>
                  <a:cubicBezTo>
                    <a:pt x="72" y="37"/>
                    <a:pt x="73" y="36"/>
                    <a:pt x="74" y="36"/>
                  </a:cubicBezTo>
                  <a:cubicBezTo>
                    <a:pt x="75" y="36"/>
                    <a:pt x="76" y="37"/>
                    <a:pt x="76" y="38"/>
                  </a:cubicBezTo>
                  <a:cubicBezTo>
                    <a:pt x="76" y="82"/>
                    <a:pt x="76" y="82"/>
                    <a:pt x="76" y="82"/>
                  </a:cubicBezTo>
                  <a:cubicBezTo>
                    <a:pt x="76" y="83"/>
                    <a:pt x="75" y="84"/>
                    <a:pt x="7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55">
              <a:extLst>
                <a:ext uri="{FF2B5EF4-FFF2-40B4-BE49-F238E27FC236}">
                  <a16:creationId xmlns:a16="http://schemas.microsoft.com/office/drawing/2014/main" id="{3F469B9F-02C9-429F-A4EF-A2D49469B379}"/>
                </a:ext>
              </a:extLst>
            </p:cNvPr>
            <p:cNvSpPr>
              <a:spLocks/>
            </p:cNvSpPr>
            <p:nvPr/>
          </p:nvSpPr>
          <p:spPr bwMode="auto">
            <a:xfrm>
              <a:off x="4405313" y="2544763"/>
              <a:ext cx="49213" cy="49213"/>
            </a:xfrm>
            <a:custGeom>
              <a:avLst/>
              <a:gdLst>
                <a:gd name="T0" fmla="*/ 0 w 31"/>
                <a:gd name="T1" fmla="*/ 9 h 31"/>
                <a:gd name="T2" fmla="*/ 12 w 31"/>
                <a:gd name="T3" fmla="*/ 0 h 31"/>
                <a:gd name="T4" fmla="*/ 31 w 31"/>
                <a:gd name="T5" fmla="*/ 19 h 31"/>
                <a:gd name="T6" fmla="*/ 22 w 31"/>
                <a:gd name="T7" fmla="*/ 31 h 31"/>
                <a:gd name="T8" fmla="*/ 0 w 31"/>
                <a:gd name="T9" fmla="*/ 9 h 31"/>
              </a:gdLst>
              <a:ahLst/>
              <a:cxnLst>
                <a:cxn ang="0">
                  <a:pos x="T0" y="T1"/>
                </a:cxn>
                <a:cxn ang="0">
                  <a:pos x="T2" y="T3"/>
                </a:cxn>
                <a:cxn ang="0">
                  <a:pos x="T4" y="T5"/>
                </a:cxn>
                <a:cxn ang="0">
                  <a:pos x="T6" y="T7"/>
                </a:cxn>
                <a:cxn ang="0">
                  <a:pos x="T8" y="T9"/>
                </a:cxn>
              </a:cxnLst>
              <a:rect l="0" t="0" r="r" b="b"/>
              <a:pathLst>
                <a:path w="31" h="31">
                  <a:moveTo>
                    <a:pt x="0" y="9"/>
                  </a:moveTo>
                  <a:lnTo>
                    <a:pt x="12" y="0"/>
                  </a:lnTo>
                  <a:lnTo>
                    <a:pt x="31" y="19"/>
                  </a:lnTo>
                  <a:lnTo>
                    <a:pt x="22" y="31"/>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156">
              <a:extLst>
                <a:ext uri="{FF2B5EF4-FFF2-40B4-BE49-F238E27FC236}">
                  <a16:creationId xmlns:a16="http://schemas.microsoft.com/office/drawing/2014/main" id="{4EF3BF81-1A37-4B93-AF53-D88E316BBAE0}"/>
                </a:ext>
              </a:extLst>
            </p:cNvPr>
            <p:cNvSpPr>
              <a:spLocks/>
            </p:cNvSpPr>
            <p:nvPr/>
          </p:nvSpPr>
          <p:spPr bwMode="auto">
            <a:xfrm>
              <a:off x="4273550" y="2571750"/>
              <a:ext cx="153988" cy="153988"/>
            </a:xfrm>
            <a:custGeom>
              <a:avLst/>
              <a:gdLst>
                <a:gd name="T0" fmla="*/ 76 w 97"/>
                <a:gd name="T1" fmla="*/ 0 h 97"/>
                <a:gd name="T2" fmla="*/ 97 w 97"/>
                <a:gd name="T3" fmla="*/ 21 h 97"/>
                <a:gd name="T4" fmla="*/ 19 w 97"/>
                <a:gd name="T5" fmla="*/ 97 h 97"/>
                <a:gd name="T6" fmla="*/ 0 w 97"/>
                <a:gd name="T7" fmla="*/ 78 h 97"/>
                <a:gd name="T8" fmla="*/ 76 w 97"/>
                <a:gd name="T9" fmla="*/ 0 h 97"/>
              </a:gdLst>
              <a:ahLst/>
              <a:cxnLst>
                <a:cxn ang="0">
                  <a:pos x="T0" y="T1"/>
                </a:cxn>
                <a:cxn ang="0">
                  <a:pos x="T2" y="T3"/>
                </a:cxn>
                <a:cxn ang="0">
                  <a:pos x="T4" y="T5"/>
                </a:cxn>
                <a:cxn ang="0">
                  <a:pos x="T6" y="T7"/>
                </a:cxn>
                <a:cxn ang="0">
                  <a:pos x="T8" y="T9"/>
                </a:cxn>
              </a:cxnLst>
              <a:rect l="0" t="0" r="r" b="b"/>
              <a:pathLst>
                <a:path w="97" h="97">
                  <a:moveTo>
                    <a:pt x="76" y="0"/>
                  </a:moveTo>
                  <a:lnTo>
                    <a:pt x="97" y="21"/>
                  </a:lnTo>
                  <a:lnTo>
                    <a:pt x="19" y="97"/>
                  </a:lnTo>
                  <a:lnTo>
                    <a:pt x="0" y="78"/>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28E18973-6D69-4268-BC8B-FA67F0045DDB}"/>
              </a:ext>
            </a:extLst>
          </p:cNvPr>
          <p:cNvGrpSpPr/>
          <p:nvPr/>
        </p:nvGrpSpPr>
        <p:grpSpPr>
          <a:xfrm>
            <a:off x="888816" y="5368917"/>
            <a:ext cx="413119" cy="367638"/>
            <a:chOff x="5554663" y="1458913"/>
            <a:chExt cx="346075" cy="307975"/>
          </a:xfrm>
          <a:solidFill>
            <a:schemeClr val="bg1"/>
          </a:solidFill>
        </p:grpSpPr>
        <p:sp>
          <p:nvSpPr>
            <p:cNvPr id="53" name="Freeform 148">
              <a:extLst>
                <a:ext uri="{FF2B5EF4-FFF2-40B4-BE49-F238E27FC236}">
                  <a16:creationId xmlns:a16="http://schemas.microsoft.com/office/drawing/2014/main" id="{0A994A01-3FF3-4C87-8171-6F9F72D52382}"/>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149">
              <a:extLst>
                <a:ext uri="{FF2B5EF4-FFF2-40B4-BE49-F238E27FC236}">
                  <a16:creationId xmlns:a16="http://schemas.microsoft.com/office/drawing/2014/main" id="{86A1B688-9284-4D3A-9BF7-0EEE2AE2341F}"/>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683711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30242-9BD2-4BBC-A167-C5CCACFAA13A}"/>
              </a:ext>
            </a:extLst>
          </p:cNvPr>
          <p:cNvSpPr>
            <a:spLocks noGrp="1"/>
          </p:cNvSpPr>
          <p:nvPr>
            <p:ph type="title"/>
          </p:nvPr>
        </p:nvSpPr>
        <p:spPr>
          <a:xfrm>
            <a:off x="533400" y="406400"/>
            <a:ext cx="11125200" cy="889000"/>
          </a:xfrm>
        </p:spPr>
        <p:txBody>
          <a:bodyPr/>
          <a:lstStyle/>
          <a:p>
            <a:r>
              <a:rPr lang="en-US" dirty="0"/>
              <a:t>Charts</a:t>
            </a:r>
          </a:p>
        </p:txBody>
      </p:sp>
      <p:graphicFrame>
        <p:nvGraphicFramePr>
          <p:cNvPr id="6" name="Chart 5">
            <a:extLst>
              <a:ext uri="{FF2B5EF4-FFF2-40B4-BE49-F238E27FC236}">
                <a16:creationId xmlns:a16="http://schemas.microsoft.com/office/drawing/2014/main" id="{720634EE-E78B-4E70-B678-45921D6CCF9D}"/>
              </a:ext>
            </a:extLst>
          </p:cNvPr>
          <p:cNvGraphicFramePr/>
          <p:nvPr/>
        </p:nvGraphicFramePr>
        <p:xfrm>
          <a:off x="533401" y="1752600"/>
          <a:ext cx="6769099" cy="44958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883946FA-51AF-47CF-99FA-191E391CE2F4}"/>
              </a:ext>
            </a:extLst>
          </p:cNvPr>
          <p:cNvSpPr/>
          <p:nvPr/>
        </p:nvSpPr>
        <p:spPr>
          <a:xfrm>
            <a:off x="7645400" y="0"/>
            <a:ext cx="4013200" cy="624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 name="TextBox 7">
            <a:extLst>
              <a:ext uri="{FF2B5EF4-FFF2-40B4-BE49-F238E27FC236}">
                <a16:creationId xmlns:a16="http://schemas.microsoft.com/office/drawing/2014/main" id="{90EAF3C4-15D9-487A-B566-7E41B47E47E3}"/>
              </a:ext>
            </a:extLst>
          </p:cNvPr>
          <p:cNvSpPr txBox="1"/>
          <p:nvPr/>
        </p:nvSpPr>
        <p:spPr>
          <a:xfrm>
            <a:off x="8143875" y="2897321"/>
            <a:ext cx="3016250" cy="1969770"/>
          </a:xfrm>
          <a:prstGeom prst="rect">
            <a:avLst/>
          </a:prstGeom>
          <a:noFill/>
        </p:spPr>
        <p:txBody>
          <a:bodyPr wrap="square" lIns="0" tIns="0" rIns="0" bIns="0" rtlCol="0" anchor="ctr">
            <a:spAutoFit/>
          </a:bodyPr>
          <a:lstStyle/>
          <a:p>
            <a:pPr>
              <a:spcAft>
                <a:spcPts val="300"/>
              </a:spcAft>
            </a:pPr>
            <a:r>
              <a:rPr lang="da-DK" sz="1600" dirty="0" err="1">
                <a:solidFill>
                  <a:schemeClr val="bg1"/>
                </a:solidFill>
                <a:cs typeface="Segoe UI Light" panose="020B0502040204020203" pitchFamily="34" charset="0"/>
              </a:rPr>
              <a:t>Lorem</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ipsum</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dolor</a:t>
            </a:r>
            <a:r>
              <a:rPr lang="da-DK" sz="1600" dirty="0">
                <a:solidFill>
                  <a:schemeClr val="bg1"/>
                </a:solidFill>
                <a:cs typeface="Segoe UI Light" panose="020B0502040204020203" pitchFamily="34" charset="0"/>
              </a:rPr>
              <a:t> sit </a:t>
            </a:r>
            <a:r>
              <a:rPr lang="da-DK" sz="1600" dirty="0" err="1">
                <a:solidFill>
                  <a:schemeClr val="bg1"/>
                </a:solidFill>
                <a:cs typeface="Segoe UI Light" panose="020B0502040204020203" pitchFamily="34" charset="0"/>
              </a:rPr>
              <a:t>amet</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consectetur</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adipiscing</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elit</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sed</a:t>
            </a:r>
            <a:r>
              <a:rPr lang="da-DK" sz="1600" dirty="0">
                <a:solidFill>
                  <a:schemeClr val="bg1"/>
                </a:solidFill>
                <a:cs typeface="Segoe UI Light" panose="020B0502040204020203" pitchFamily="34" charset="0"/>
              </a:rPr>
              <a:t> do </a:t>
            </a:r>
            <a:r>
              <a:rPr lang="da-DK" sz="1600" dirty="0" err="1">
                <a:solidFill>
                  <a:schemeClr val="bg1"/>
                </a:solidFill>
                <a:cs typeface="Segoe UI Light" panose="020B0502040204020203" pitchFamily="34" charset="0"/>
              </a:rPr>
              <a:t>eiusmod</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tempor</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incididunt</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ut</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labore</a:t>
            </a:r>
            <a:r>
              <a:rPr lang="da-DK" sz="1600" dirty="0">
                <a:solidFill>
                  <a:schemeClr val="bg1"/>
                </a:solidFill>
                <a:cs typeface="Segoe UI Light" panose="020B0502040204020203" pitchFamily="34" charset="0"/>
              </a:rPr>
              <a:t> et </a:t>
            </a:r>
            <a:r>
              <a:rPr lang="da-DK" sz="1600" dirty="0" err="1">
                <a:solidFill>
                  <a:schemeClr val="bg1"/>
                </a:solidFill>
                <a:cs typeface="Segoe UI Light" panose="020B0502040204020203" pitchFamily="34" charset="0"/>
              </a:rPr>
              <a:t>dolore</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magna</a:t>
            </a:r>
            <a:r>
              <a:rPr lang="da-DK" sz="1600" dirty="0">
                <a:solidFill>
                  <a:schemeClr val="bg1"/>
                </a:solidFill>
                <a:cs typeface="Segoe UI Light" panose="020B0502040204020203" pitchFamily="34" charset="0"/>
              </a:rPr>
              <a:t> </a:t>
            </a:r>
            <a:r>
              <a:rPr lang="da-DK" sz="1600" dirty="0" err="1">
                <a:solidFill>
                  <a:schemeClr val="bg1"/>
                </a:solidFill>
                <a:cs typeface="Segoe UI Light" panose="020B0502040204020203" pitchFamily="34" charset="0"/>
              </a:rPr>
              <a:t>aliqua</a:t>
            </a:r>
            <a:r>
              <a:rPr lang="da-DK" sz="1600" dirty="0">
                <a:solidFill>
                  <a:schemeClr val="bg1"/>
                </a:solidFill>
                <a:cs typeface="Segoe UI Light" panose="020B0502040204020203" pitchFamily="34" charset="0"/>
              </a:rPr>
              <a:t>. Ut enim ad minim veniam, quis nostrud exercitation ullamco laboris nisi ut aliquip ex ea commodo consequat. </a:t>
            </a:r>
          </a:p>
        </p:txBody>
      </p:sp>
      <p:sp>
        <p:nvSpPr>
          <p:cNvPr id="9" name="TextBox 8">
            <a:extLst>
              <a:ext uri="{FF2B5EF4-FFF2-40B4-BE49-F238E27FC236}">
                <a16:creationId xmlns:a16="http://schemas.microsoft.com/office/drawing/2014/main" id="{B2C3567D-03FC-4E45-BE8C-8728DB0C1802}"/>
              </a:ext>
            </a:extLst>
          </p:cNvPr>
          <p:cNvSpPr txBox="1"/>
          <p:nvPr/>
        </p:nvSpPr>
        <p:spPr>
          <a:xfrm>
            <a:off x="8143875" y="1701800"/>
            <a:ext cx="3016250" cy="615553"/>
          </a:xfrm>
          <a:prstGeom prst="rect">
            <a:avLst/>
          </a:prstGeom>
          <a:noFill/>
        </p:spPr>
        <p:txBody>
          <a:bodyPr wrap="square" lIns="0" tIns="0" rIns="0" bIns="0" anchor="b">
            <a:spAutoFit/>
          </a:bodyPr>
          <a:lstStyle/>
          <a:p>
            <a:r>
              <a:rPr lang="en-ID" sz="2000" b="1" i="0" dirty="0">
                <a:solidFill>
                  <a:schemeClr val="bg1"/>
                </a:solidFill>
                <a:effectLst/>
                <a:latin typeface="+mj-lt"/>
              </a:rPr>
              <a:t>Lorem </a:t>
            </a:r>
            <a:r>
              <a:rPr lang="en-ID" sz="2000" b="1" dirty="0">
                <a:solidFill>
                  <a:schemeClr val="bg1"/>
                </a:solidFill>
                <a:latin typeface="+mj-lt"/>
              </a:rPr>
              <a:t>Ipsum</a:t>
            </a:r>
          </a:p>
          <a:p>
            <a:r>
              <a:rPr lang="en-ID" sz="2000" b="1" dirty="0" err="1">
                <a:solidFill>
                  <a:schemeClr val="bg1"/>
                </a:solidFill>
                <a:latin typeface="+mj-lt"/>
              </a:rPr>
              <a:t>Dolor</a:t>
            </a:r>
            <a:r>
              <a:rPr lang="en-ID" sz="2000" b="1" dirty="0">
                <a:solidFill>
                  <a:schemeClr val="bg1"/>
                </a:solidFill>
                <a:latin typeface="+mj-lt"/>
              </a:rPr>
              <a:t> Sit </a:t>
            </a:r>
            <a:r>
              <a:rPr lang="en-ID" sz="2000" b="1" dirty="0" err="1">
                <a:solidFill>
                  <a:schemeClr val="bg1"/>
                </a:solidFill>
                <a:latin typeface="+mj-lt"/>
              </a:rPr>
              <a:t>Amet</a:t>
            </a:r>
            <a:endParaRPr lang="en-ID" sz="2000" b="1" dirty="0">
              <a:solidFill>
                <a:schemeClr val="bg1"/>
              </a:solidFill>
              <a:latin typeface="+mj-lt"/>
            </a:endParaRPr>
          </a:p>
        </p:txBody>
      </p:sp>
      <p:cxnSp>
        <p:nvCxnSpPr>
          <p:cNvPr id="11" name="Straight Connector 10">
            <a:extLst>
              <a:ext uri="{FF2B5EF4-FFF2-40B4-BE49-F238E27FC236}">
                <a16:creationId xmlns:a16="http://schemas.microsoft.com/office/drawing/2014/main" id="{E70813FD-620B-4B14-B656-E518AD7698D6}"/>
              </a:ext>
            </a:extLst>
          </p:cNvPr>
          <p:cNvCxnSpPr>
            <a:cxnSpLocks/>
          </p:cNvCxnSpPr>
          <p:nvPr/>
        </p:nvCxnSpPr>
        <p:spPr>
          <a:xfrm>
            <a:off x="8143875" y="2607337"/>
            <a:ext cx="3514725" cy="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3F273F03-534C-4761-B247-1F146A115F75}"/>
              </a:ext>
            </a:extLst>
          </p:cNvPr>
          <p:cNvGrpSpPr/>
          <p:nvPr/>
        </p:nvGrpSpPr>
        <p:grpSpPr>
          <a:xfrm>
            <a:off x="8143876" y="609600"/>
            <a:ext cx="794354" cy="830792"/>
            <a:chOff x="2676526" y="5394325"/>
            <a:chExt cx="346075" cy="361950"/>
          </a:xfrm>
          <a:solidFill>
            <a:schemeClr val="accent2"/>
          </a:solidFill>
        </p:grpSpPr>
        <p:sp>
          <p:nvSpPr>
            <p:cNvPr id="15" name="Freeform 118">
              <a:extLst>
                <a:ext uri="{FF2B5EF4-FFF2-40B4-BE49-F238E27FC236}">
                  <a16:creationId xmlns:a16="http://schemas.microsoft.com/office/drawing/2014/main" id="{BD46BA35-67DB-400B-89E4-A5DD8F601AFB}"/>
                </a:ext>
              </a:extLst>
            </p:cNvPr>
            <p:cNvSpPr>
              <a:spLocks/>
            </p:cNvSpPr>
            <p:nvPr/>
          </p:nvSpPr>
          <p:spPr bwMode="auto">
            <a:xfrm>
              <a:off x="2676526" y="5394325"/>
              <a:ext cx="346075"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119">
              <a:extLst>
                <a:ext uri="{FF2B5EF4-FFF2-40B4-BE49-F238E27FC236}">
                  <a16:creationId xmlns:a16="http://schemas.microsoft.com/office/drawing/2014/main" id="{32F3B6CD-634A-4632-AA48-F07F57BD6597}"/>
                </a:ext>
              </a:extLst>
            </p:cNvPr>
            <p:cNvSpPr>
              <a:spLocks noEditPoints="1"/>
            </p:cNvSpPr>
            <p:nvPr/>
          </p:nvSpPr>
          <p:spPr bwMode="auto">
            <a:xfrm>
              <a:off x="2676526" y="5454650"/>
              <a:ext cx="346075" cy="301625"/>
            </a:xfrm>
            <a:custGeom>
              <a:avLst/>
              <a:gdLst>
                <a:gd name="T0" fmla="*/ 90 w 92"/>
                <a:gd name="T1" fmla="*/ 52 h 80"/>
                <a:gd name="T2" fmla="*/ 84 w 92"/>
                <a:gd name="T3" fmla="*/ 52 h 80"/>
                <a:gd name="T4" fmla="*/ 84 w 92"/>
                <a:gd name="T5" fmla="*/ 0 h 80"/>
                <a:gd name="T6" fmla="*/ 8 w 92"/>
                <a:gd name="T7" fmla="*/ 0 h 80"/>
                <a:gd name="T8" fmla="*/ 8 w 92"/>
                <a:gd name="T9" fmla="*/ 52 h 80"/>
                <a:gd name="T10" fmla="*/ 2 w 92"/>
                <a:gd name="T11" fmla="*/ 52 h 80"/>
                <a:gd name="T12" fmla="*/ 0 w 92"/>
                <a:gd name="T13" fmla="*/ 54 h 80"/>
                <a:gd name="T14" fmla="*/ 2 w 92"/>
                <a:gd name="T15" fmla="*/ 56 h 80"/>
                <a:gd name="T16" fmla="*/ 44 w 92"/>
                <a:gd name="T17" fmla="*/ 56 h 80"/>
                <a:gd name="T18" fmla="*/ 44 w 92"/>
                <a:gd name="T19" fmla="*/ 64 h 80"/>
                <a:gd name="T20" fmla="*/ 38 w 92"/>
                <a:gd name="T21" fmla="*/ 72 h 80"/>
                <a:gd name="T22" fmla="*/ 46 w 92"/>
                <a:gd name="T23" fmla="*/ 80 h 80"/>
                <a:gd name="T24" fmla="*/ 54 w 92"/>
                <a:gd name="T25" fmla="*/ 72 h 80"/>
                <a:gd name="T26" fmla="*/ 48 w 92"/>
                <a:gd name="T27" fmla="*/ 64 h 80"/>
                <a:gd name="T28" fmla="*/ 48 w 92"/>
                <a:gd name="T29" fmla="*/ 56 h 80"/>
                <a:gd name="T30" fmla="*/ 90 w 92"/>
                <a:gd name="T31" fmla="*/ 56 h 80"/>
                <a:gd name="T32" fmla="*/ 92 w 92"/>
                <a:gd name="T33" fmla="*/ 54 h 80"/>
                <a:gd name="T34" fmla="*/ 90 w 92"/>
                <a:gd name="T35" fmla="*/ 52 h 80"/>
                <a:gd name="T36" fmla="*/ 34 w 92"/>
                <a:gd name="T37" fmla="*/ 44 h 80"/>
                <a:gd name="T38" fmla="*/ 16 w 92"/>
                <a:gd name="T39" fmla="*/ 26 h 80"/>
                <a:gd name="T40" fmla="*/ 23 w 92"/>
                <a:gd name="T41" fmla="*/ 11 h 80"/>
                <a:gd name="T42" fmla="*/ 32 w 92"/>
                <a:gd name="T43" fmla="*/ 27 h 80"/>
                <a:gd name="T44" fmla="*/ 35 w 92"/>
                <a:gd name="T45" fmla="*/ 44 h 80"/>
                <a:gd name="T46" fmla="*/ 34 w 92"/>
                <a:gd name="T47" fmla="*/ 44 h 80"/>
                <a:gd name="T48" fmla="*/ 50 w 92"/>
                <a:gd name="T49" fmla="*/ 72 h 80"/>
                <a:gd name="T50" fmla="*/ 46 w 92"/>
                <a:gd name="T51" fmla="*/ 76 h 80"/>
                <a:gd name="T52" fmla="*/ 42 w 92"/>
                <a:gd name="T53" fmla="*/ 72 h 80"/>
                <a:gd name="T54" fmla="*/ 46 w 92"/>
                <a:gd name="T55" fmla="*/ 68 h 80"/>
                <a:gd name="T56" fmla="*/ 50 w 92"/>
                <a:gd name="T57" fmla="*/ 72 h 80"/>
                <a:gd name="T58" fmla="*/ 39 w 92"/>
                <a:gd name="T59" fmla="*/ 43 h 80"/>
                <a:gd name="T60" fmla="*/ 36 w 92"/>
                <a:gd name="T61" fmla="*/ 28 h 80"/>
                <a:gd name="T62" fmla="*/ 52 w 92"/>
                <a:gd name="T63" fmla="*/ 28 h 80"/>
                <a:gd name="T64" fmla="*/ 39 w 92"/>
                <a:gd name="T65" fmla="*/ 43 h 80"/>
                <a:gd name="T66" fmla="*/ 35 w 92"/>
                <a:gd name="T67" fmla="*/ 24 h 80"/>
                <a:gd name="T68" fmla="*/ 27 w 92"/>
                <a:gd name="T69" fmla="*/ 9 h 80"/>
                <a:gd name="T70" fmla="*/ 34 w 92"/>
                <a:gd name="T71" fmla="*/ 8 h 80"/>
                <a:gd name="T72" fmla="*/ 52 w 92"/>
                <a:gd name="T73" fmla="*/ 24 h 80"/>
                <a:gd name="T74" fmla="*/ 35 w 92"/>
                <a:gd name="T75" fmla="*/ 24 h 80"/>
                <a:gd name="T76" fmla="*/ 74 w 92"/>
                <a:gd name="T77" fmla="*/ 28 h 80"/>
                <a:gd name="T78" fmla="*/ 62 w 92"/>
                <a:gd name="T79" fmla="*/ 28 h 80"/>
                <a:gd name="T80" fmla="*/ 60 w 92"/>
                <a:gd name="T81" fmla="*/ 26 h 80"/>
                <a:gd name="T82" fmla="*/ 62 w 92"/>
                <a:gd name="T83" fmla="*/ 24 h 80"/>
                <a:gd name="T84" fmla="*/ 74 w 92"/>
                <a:gd name="T85" fmla="*/ 24 h 80"/>
                <a:gd name="T86" fmla="*/ 76 w 92"/>
                <a:gd name="T87" fmla="*/ 26 h 80"/>
                <a:gd name="T88" fmla="*/ 74 w 92"/>
                <a:gd name="T89" fmla="*/ 28 h 80"/>
                <a:gd name="T90" fmla="*/ 74 w 92"/>
                <a:gd name="T91" fmla="*/ 20 h 80"/>
                <a:gd name="T92" fmla="*/ 62 w 92"/>
                <a:gd name="T93" fmla="*/ 20 h 80"/>
                <a:gd name="T94" fmla="*/ 60 w 92"/>
                <a:gd name="T95" fmla="*/ 18 h 80"/>
                <a:gd name="T96" fmla="*/ 62 w 92"/>
                <a:gd name="T97" fmla="*/ 16 h 80"/>
                <a:gd name="T98" fmla="*/ 74 w 92"/>
                <a:gd name="T99" fmla="*/ 16 h 80"/>
                <a:gd name="T100" fmla="*/ 76 w 92"/>
                <a:gd name="T101" fmla="*/ 18 h 80"/>
                <a:gd name="T102" fmla="*/ 74 w 92"/>
                <a:gd name="T103" fmla="*/ 20 h 80"/>
                <a:gd name="T104" fmla="*/ 74 w 92"/>
                <a:gd name="T105" fmla="*/ 12 h 80"/>
                <a:gd name="T106" fmla="*/ 62 w 92"/>
                <a:gd name="T107" fmla="*/ 12 h 80"/>
                <a:gd name="T108" fmla="*/ 60 w 92"/>
                <a:gd name="T109" fmla="*/ 10 h 80"/>
                <a:gd name="T110" fmla="*/ 62 w 92"/>
                <a:gd name="T111" fmla="*/ 8 h 80"/>
                <a:gd name="T112" fmla="*/ 74 w 92"/>
                <a:gd name="T113" fmla="*/ 8 h 80"/>
                <a:gd name="T114" fmla="*/ 76 w 92"/>
                <a:gd name="T115" fmla="*/ 10 h 80"/>
                <a:gd name="T116" fmla="*/ 74 w 92"/>
                <a:gd name="T117"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34" y="44"/>
                  </a:moveTo>
                  <a:cubicBezTo>
                    <a:pt x="24" y="44"/>
                    <a:pt x="16" y="36"/>
                    <a:pt x="16" y="26"/>
                  </a:cubicBezTo>
                  <a:cubicBezTo>
                    <a:pt x="16" y="20"/>
                    <a:pt x="19" y="15"/>
                    <a:pt x="23" y="11"/>
                  </a:cubicBezTo>
                  <a:cubicBezTo>
                    <a:pt x="32" y="27"/>
                    <a:pt x="32" y="27"/>
                    <a:pt x="32" y="27"/>
                  </a:cubicBezTo>
                  <a:cubicBezTo>
                    <a:pt x="35" y="44"/>
                    <a:pt x="35" y="44"/>
                    <a:pt x="35" y="44"/>
                  </a:cubicBezTo>
                  <a:cubicBezTo>
                    <a:pt x="35" y="44"/>
                    <a:pt x="34" y="44"/>
                    <a:pt x="34" y="44"/>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39" y="43"/>
                  </a:moveTo>
                  <a:cubicBezTo>
                    <a:pt x="36" y="28"/>
                    <a:pt x="36" y="28"/>
                    <a:pt x="36" y="28"/>
                  </a:cubicBezTo>
                  <a:cubicBezTo>
                    <a:pt x="52" y="28"/>
                    <a:pt x="52" y="28"/>
                    <a:pt x="52" y="28"/>
                  </a:cubicBezTo>
                  <a:cubicBezTo>
                    <a:pt x="51" y="35"/>
                    <a:pt x="46" y="41"/>
                    <a:pt x="39" y="43"/>
                  </a:cubicBezTo>
                  <a:close/>
                  <a:moveTo>
                    <a:pt x="35" y="24"/>
                  </a:moveTo>
                  <a:cubicBezTo>
                    <a:pt x="27" y="9"/>
                    <a:pt x="27" y="9"/>
                    <a:pt x="27" y="9"/>
                  </a:cubicBezTo>
                  <a:cubicBezTo>
                    <a:pt x="29" y="9"/>
                    <a:pt x="31" y="8"/>
                    <a:pt x="34" y="8"/>
                  </a:cubicBezTo>
                  <a:cubicBezTo>
                    <a:pt x="43" y="8"/>
                    <a:pt x="51" y="15"/>
                    <a:pt x="52" y="24"/>
                  </a:cubicBezTo>
                  <a:lnTo>
                    <a:pt x="35" y="24"/>
                  </a:lnTo>
                  <a:close/>
                  <a:moveTo>
                    <a:pt x="74" y="28"/>
                  </a:moveTo>
                  <a:cubicBezTo>
                    <a:pt x="62" y="28"/>
                    <a:pt x="62" y="28"/>
                    <a:pt x="62" y="28"/>
                  </a:cubicBezTo>
                  <a:cubicBezTo>
                    <a:pt x="61" y="28"/>
                    <a:pt x="60" y="27"/>
                    <a:pt x="60" y="26"/>
                  </a:cubicBezTo>
                  <a:cubicBezTo>
                    <a:pt x="60" y="25"/>
                    <a:pt x="61" y="24"/>
                    <a:pt x="62" y="24"/>
                  </a:cubicBezTo>
                  <a:cubicBezTo>
                    <a:pt x="74" y="24"/>
                    <a:pt x="74" y="24"/>
                    <a:pt x="74" y="24"/>
                  </a:cubicBezTo>
                  <a:cubicBezTo>
                    <a:pt x="75" y="24"/>
                    <a:pt x="76" y="25"/>
                    <a:pt x="76" y="26"/>
                  </a:cubicBezTo>
                  <a:cubicBezTo>
                    <a:pt x="76" y="27"/>
                    <a:pt x="75" y="28"/>
                    <a:pt x="74" y="28"/>
                  </a:cubicBezTo>
                  <a:close/>
                  <a:moveTo>
                    <a:pt x="74" y="20"/>
                  </a:moveTo>
                  <a:cubicBezTo>
                    <a:pt x="62" y="20"/>
                    <a:pt x="62" y="20"/>
                    <a:pt x="62" y="20"/>
                  </a:cubicBezTo>
                  <a:cubicBezTo>
                    <a:pt x="61" y="20"/>
                    <a:pt x="60" y="19"/>
                    <a:pt x="60" y="18"/>
                  </a:cubicBezTo>
                  <a:cubicBezTo>
                    <a:pt x="60" y="17"/>
                    <a:pt x="61" y="16"/>
                    <a:pt x="62" y="16"/>
                  </a:cubicBezTo>
                  <a:cubicBezTo>
                    <a:pt x="74" y="16"/>
                    <a:pt x="74" y="16"/>
                    <a:pt x="74" y="16"/>
                  </a:cubicBezTo>
                  <a:cubicBezTo>
                    <a:pt x="75" y="16"/>
                    <a:pt x="76" y="17"/>
                    <a:pt x="76" y="18"/>
                  </a:cubicBezTo>
                  <a:cubicBezTo>
                    <a:pt x="76" y="19"/>
                    <a:pt x="75" y="20"/>
                    <a:pt x="74" y="20"/>
                  </a:cubicBezTo>
                  <a:close/>
                  <a:moveTo>
                    <a:pt x="74" y="12"/>
                  </a:moveTo>
                  <a:cubicBezTo>
                    <a:pt x="62" y="12"/>
                    <a:pt x="62" y="12"/>
                    <a:pt x="62" y="12"/>
                  </a:cubicBezTo>
                  <a:cubicBezTo>
                    <a:pt x="61" y="12"/>
                    <a:pt x="60" y="11"/>
                    <a:pt x="60" y="10"/>
                  </a:cubicBezTo>
                  <a:cubicBezTo>
                    <a:pt x="60" y="9"/>
                    <a:pt x="61" y="8"/>
                    <a:pt x="62" y="8"/>
                  </a:cubicBezTo>
                  <a:cubicBezTo>
                    <a:pt x="74" y="8"/>
                    <a:pt x="74" y="8"/>
                    <a:pt x="74" y="8"/>
                  </a:cubicBezTo>
                  <a:cubicBezTo>
                    <a:pt x="75" y="8"/>
                    <a:pt x="76" y="9"/>
                    <a:pt x="76" y="10"/>
                  </a:cubicBezTo>
                  <a:cubicBezTo>
                    <a:pt x="76" y="11"/>
                    <a:pt x="75" y="12"/>
                    <a:pt x="7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7" name="Title 1">
            <a:extLst>
              <a:ext uri="{FF2B5EF4-FFF2-40B4-BE49-F238E27FC236}">
                <a16:creationId xmlns:a16="http://schemas.microsoft.com/office/drawing/2014/main" id="{E2798EB6-6837-4AD9-827B-3B20BCFBCFB2}"/>
              </a:ext>
            </a:extLst>
          </p:cNvPr>
          <p:cNvSpPr txBox="1">
            <a:spLocks/>
          </p:cNvSpPr>
          <p:nvPr/>
        </p:nvSpPr>
        <p:spPr>
          <a:xfrm>
            <a:off x="8143875" y="5156200"/>
            <a:ext cx="3016250" cy="646331"/>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182880" indent="-182880">
              <a:lnSpc>
                <a:spcPct val="100000"/>
              </a:lnSpc>
              <a:buFont typeface="Arial" panose="020B0604020202020204" pitchFamily="34" charset="0"/>
              <a:buChar char="•"/>
            </a:pPr>
            <a:r>
              <a:rPr lang="en-US" sz="1400" b="0" dirty="0">
                <a:solidFill>
                  <a:schemeClr val="bg1"/>
                </a:solidFill>
                <a:latin typeface="+mn-lt"/>
                <a:cs typeface="Segoe UI" panose="020B0502040204020203" pitchFamily="34" charset="0"/>
              </a:rPr>
              <a:t>Lorem ipsum dolor sit </a:t>
            </a:r>
            <a:r>
              <a:rPr lang="en-US" sz="1400" b="0" dirty="0" err="1">
                <a:solidFill>
                  <a:schemeClr val="bg1"/>
                </a:solidFill>
                <a:latin typeface="+mn-lt"/>
                <a:cs typeface="Segoe UI" panose="020B0502040204020203" pitchFamily="34" charset="0"/>
              </a:rPr>
              <a:t>amet</a:t>
            </a:r>
            <a:endParaRPr lang="en-US" sz="1400" b="0" dirty="0">
              <a:solidFill>
                <a:schemeClr val="bg1"/>
              </a:solidFill>
              <a:latin typeface="+mn-lt"/>
              <a:cs typeface="Segoe UI" panose="020B0502040204020203" pitchFamily="34" charset="0"/>
            </a:endParaRPr>
          </a:p>
          <a:p>
            <a:pPr marL="182880" indent="-182880">
              <a:lnSpc>
                <a:spcPct val="100000"/>
              </a:lnSpc>
              <a:buFont typeface="Arial" panose="020B0604020202020204" pitchFamily="34" charset="0"/>
              <a:buChar char="•"/>
            </a:pPr>
            <a:r>
              <a:rPr lang="en-US" sz="1400" b="0" dirty="0">
                <a:solidFill>
                  <a:schemeClr val="bg1"/>
                </a:solidFill>
                <a:latin typeface="+mn-lt"/>
                <a:cs typeface="Segoe UI" panose="020B0502040204020203" pitchFamily="34" charset="0"/>
              </a:rPr>
              <a:t>Lorem ipsum dolor sit </a:t>
            </a:r>
            <a:r>
              <a:rPr lang="en-US" sz="1400" b="0" dirty="0" err="1">
                <a:solidFill>
                  <a:schemeClr val="bg1"/>
                </a:solidFill>
                <a:latin typeface="+mn-lt"/>
                <a:cs typeface="Segoe UI" panose="020B0502040204020203" pitchFamily="34" charset="0"/>
              </a:rPr>
              <a:t>amet</a:t>
            </a:r>
            <a:endParaRPr lang="en-US" sz="1400" b="0" dirty="0">
              <a:solidFill>
                <a:schemeClr val="bg1"/>
              </a:solidFill>
              <a:latin typeface="+mn-lt"/>
              <a:cs typeface="Segoe UI" panose="020B0502040204020203" pitchFamily="34" charset="0"/>
            </a:endParaRPr>
          </a:p>
          <a:p>
            <a:pPr marL="182880" indent="-182880">
              <a:lnSpc>
                <a:spcPct val="100000"/>
              </a:lnSpc>
              <a:buFont typeface="Arial" panose="020B0604020202020204" pitchFamily="34" charset="0"/>
              <a:buChar char="•"/>
            </a:pPr>
            <a:r>
              <a:rPr lang="en-US" sz="1400" b="0" dirty="0">
                <a:solidFill>
                  <a:schemeClr val="bg1"/>
                </a:solidFill>
                <a:latin typeface="+mn-lt"/>
                <a:cs typeface="Segoe UI" panose="020B0502040204020203" pitchFamily="34" charset="0"/>
              </a:rPr>
              <a:t>Lorem ipsum dolor sit </a:t>
            </a:r>
            <a:r>
              <a:rPr lang="en-US" sz="1400" b="0" dirty="0" err="1">
                <a:solidFill>
                  <a:schemeClr val="bg1"/>
                </a:solidFill>
                <a:latin typeface="+mn-lt"/>
                <a:cs typeface="Segoe UI" panose="020B0502040204020203" pitchFamily="34" charset="0"/>
              </a:rPr>
              <a:t>amet</a:t>
            </a:r>
            <a:endParaRPr lang="en-US" sz="1400" b="0" dirty="0">
              <a:solidFill>
                <a:schemeClr val="bg1"/>
              </a:solidFill>
              <a:latin typeface="+mn-lt"/>
              <a:cs typeface="Segoe UI" panose="020B0502040204020203" pitchFamily="34" charset="0"/>
            </a:endParaRPr>
          </a:p>
        </p:txBody>
      </p:sp>
    </p:spTree>
    <p:extLst>
      <p:ext uri="{BB962C8B-B14F-4D97-AF65-F5344CB8AC3E}">
        <p14:creationId xmlns:p14="http://schemas.microsoft.com/office/powerpoint/2010/main" val="3756567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DA9AD-345E-4491-9BF8-05DE36979CEF}"/>
              </a:ext>
            </a:extLst>
          </p:cNvPr>
          <p:cNvSpPr>
            <a:spLocks noGrp="1"/>
          </p:cNvSpPr>
          <p:nvPr>
            <p:ph type="title"/>
          </p:nvPr>
        </p:nvSpPr>
        <p:spPr/>
        <p:txBody>
          <a:bodyPr/>
          <a:lstStyle/>
          <a:p>
            <a:r>
              <a:rPr lang="en-US" dirty="0"/>
              <a:t>Testimonials</a:t>
            </a:r>
          </a:p>
        </p:txBody>
      </p:sp>
      <p:sp>
        <p:nvSpPr>
          <p:cNvPr id="4" name="Rectangle 3">
            <a:extLst>
              <a:ext uri="{FF2B5EF4-FFF2-40B4-BE49-F238E27FC236}">
                <a16:creationId xmlns:a16="http://schemas.microsoft.com/office/drawing/2014/main" id="{FC4D29B4-FDEC-4696-93F3-A8F14F238E7A}"/>
              </a:ext>
            </a:extLst>
          </p:cNvPr>
          <p:cNvSpPr/>
          <p:nvPr/>
        </p:nvSpPr>
        <p:spPr>
          <a:xfrm>
            <a:off x="533400" y="1811336"/>
            <a:ext cx="5429250" cy="1249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TextBox 5">
            <a:extLst>
              <a:ext uri="{FF2B5EF4-FFF2-40B4-BE49-F238E27FC236}">
                <a16:creationId xmlns:a16="http://schemas.microsoft.com/office/drawing/2014/main" id="{92123315-B20F-4804-A648-34D2FB09CB08}"/>
              </a:ext>
            </a:extLst>
          </p:cNvPr>
          <p:cNvSpPr txBox="1"/>
          <p:nvPr/>
        </p:nvSpPr>
        <p:spPr>
          <a:xfrm>
            <a:off x="2041712" y="2254842"/>
            <a:ext cx="3749487" cy="646331"/>
          </a:xfrm>
          <a:prstGeom prst="rect">
            <a:avLst/>
          </a:prstGeom>
          <a:noFill/>
        </p:spPr>
        <p:txBody>
          <a:bodyPr wrap="square" lIns="0" tIns="0" rIns="0" bIns="0">
            <a:spAutoFit/>
          </a:bodyPr>
          <a:lstStyle/>
          <a:p>
            <a:r>
              <a:rPr lang="en-ID" sz="1400" b="0" i="0" dirty="0">
                <a:solidFill>
                  <a:schemeClr val="bg1"/>
                </a:solidFill>
                <a:effectLst/>
              </a:rPr>
              <a:t>Lorem ipsum </a:t>
            </a:r>
            <a:r>
              <a:rPr lang="en-ID" sz="1400" b="0" i="0" dirty="0" err="1">
                <a:solidFill>
                  <a:schemeClr val="bg1"/>
                </a:solidFill>
                <a:effectLst/>
              </a:rPr>
              <a:t>dolor</a:t>
            </a:r>
            <a:r>
              <a:rPr lang="en-ID" sz="1400" b="0" i="0" dirty="0">
                <a:solidFill>
                  <a:schemeClr val="bg1"/>
                </a:solidFill>
                <a:effectLst/>
              </a:rPr>
              <a:t> sit </a:t>
            </a:r>
            <a:r>
              <a:rPr lang="en-ID" sz="1400" b="0" i="0" dirty="0" err="1">
                <a:solidFill>
                  <a:schemeClr val="bg1"/>
                </a:solidFill>
                <a:effectLst/>
              </a:rPr>
              <a:t>amet</a:t>
            </a:r>
            <a:r>
              <a:rPr lang="en-ID" sz="1400" b="0" i="0" dirty="0">
                <a:solidFill>
                  <a:schemeClr val="bg1"/>
                </a:solidFill>
                <a:effectLst/>
              </a:rPr>
              <a:t>, </a:t>
            </a:r>
            <a:r>
              <a:rPr lang="en-ID" sz="1400" b="0" i="0" dirty="0" err="1">
                <a:solidFill>
                  <a:schemeClr val="bg1"/>
                </a:solidFill>
                <a:effectLst/>
              </a:rPr>
              <a:t>consectetur</a:t>
            </a:r>
            <a:r>
              <a:rPr lang="en-ID" sz="1400" b="0" i="0" dirty="0">
                <a:solidFill>
                  <a:schemeClr val="bg1"/>
                </a:solidFill>
                <a:effectLst/>
              </a:rPr>
              <a:t> </a:t>
            </a:r>
            <a:r>
              <a:rPr lang="en-ID" sz="1400" b="0" i="0" dirty="0" err="1">
                <a:solidFill>
                  <a:schemeClr val="bg1"/>
                </a:solidFill>
                <a:effectLst/>
              </a:rPr>
              <a:t>adipiscing</a:t>
            </a:r>
            <a:r>
              <a:rPr lang="en-ID" sz="1400" b="0" i="0" dirty="0">
                <a:solidFill>
                  <a:schemeClr val="bg1"/>
                </a:solidFill>
                <a:effectLst/>
              </a:rPr>
              <a:t> </a:t>
            </a:r>
            <a:r>
              <a:rPr lang="en-ID" sz="1400" b="0" i="0" dirty="0" err="1">
                <a:solidFill>
                  <a:schemeClr val="bg1"/>
                </a:solidFill>
                <a:effectLst/>
              </a:rPr>
              <a:t>elit</a:t>
            </a:r>
            <a:r>
              <a:rPr lang="en-ID" sz="1400" b="0" i="0" dirty="0">
                <a:solidFill>
                  <a:schemeClr val="bg1"/>
                </a:solidFill>
                <a:effectLst/>
              </a:rPr>
              <a:t>, </a:t>
            </a:r>
            <a:r>
              <a:rPr lang="en-ID" sz="1400" b="0" i="0" dirty="0" err="1">
                <a:solidFill>
                  <a:schemeClr val="bg1"/>
                </a:solidFill>
                <a:effectLst/>
              </a:rPr>
              <a:t>sed</a:t>
            </a:r>
            <a:r>
              <a:rPr lang="en-ID" sz="1400" b="0" i="0" dirty="0">
                <a:solidFill>
                  <a:schemeClr val="bg1"/>
                </a:solidFill>
                <a:effectLst/>
              </a:rPr>
              <a:t> do </a:t>
            </a:r>
            <a:r>
              <a:rPr lang="en-ID" sz="1400" b="0" i="0" dirty="0" err="1">
                <a:solidFill>
                  <a:schemeClr val="bg1"/>
                </a:solidFill>
                <a:effectLst/>
              </a:rPr>
              <a:t>eiusmod</a:t>
            </a:r>
            <a:r>
              <a:rPr lang="en-ID" sz="1400" b="0" i="0" dirty="0">
                <a:solidFill>
                  <a:schemeClr val="bg1"/>
                </a:solidFill>
                <a:effectLst/>
              </a:rPr>
              <a:t> </a:t>
            </a:r>
            <a:r>
              <a:rPr lang="en-ID" sz="1400" b="0" i="0" dirty="0" err="1">
                <a:solidFill>
                  <a:schemeClr val="bg1"/>
                </a:solidFill>
                <a:effectLst/>
              </a:rPr>
              <a:t>tempor</a:t>
            </a:r>
            <a:r>
              <a:rPr lang="en-ID" sz="1400" b="0" i="0" dirty="0">
                <a:solidFill>
                  <a:schemeClr val="bg1"/>
                </a:solidFill>
                <a:effectLst/>
              </a:rPr>
              <a:t> </a:t>
            </a:r>
            <a:r>
              <a:rPr lang="en-ID" sz="1400" b="0" i="0" dirty="0" err="1">
                <a:solidFill>
                  <a:schemeClr val="bg1"/>
                </a:solidFill>
                <a:effectLst/>
              </a:rPr>
              <a:t>incididunt</a:t>
            </a:r>
            <a:r>
              <a:rPr lang="en-ID" sz="1400" b="0" i="0" dirty="0">
                <a:solidFill>
                  <a:schemeClr val="bg1"/>
                </a:solidFill>
                <a:effectLst/>
              </a:rPr>
              <a:t> </a:t>
            </a:r>
            <a:r>
              <a:rPr lang="en-ID" sz="1400" b="0" i="0" dirty="0" err="1">
                <a:solidFill>
                  <a:schemeClr val="bg1"/>
                </a:solidFill>
                <a:effectLst/>
              </a:rPr>
              <a:t>ut</a:t>
            </a:r>
            <a:r>
              <a:rPr lang="en-ID" sz="1400" b="0" i="0" dirty="0">
                <a:solidFill>
                  <a:schemeClr val="bg1"/>
                </a:solidFill>
                <a:effectLst/>
              </a:rPr>
              <a:t> </a:t>
            </a:r>
            <a:r>
              <a:rPr lang="en-ID" sz="1400" b="0" i="0" dirty="0" err="1">
                <a:solidFill>
                  <a:schemeClr val="bg1"/>
                </a:solidFill>
                <a:effectLst/>
              </a:rPr>
              <a:t>labore</a:t>
            </a:r>
            <a:r>
              <a:rPr lang="en-ID" sz="1400" b="0" i="0" dirty="0">
                <a:solidFill>
                  <a:schemeClr val="bg1"/>
                </a:solidFill>
                <a:effectLst/>
              </a:rPr>
              <a:t> et dolore magna </a:t>
            </a:r>
            <a:r>
              <a:rPr lang="en-ID" sz="1400" b="0" i="0" dirty="0" err="1">
                <a:solidFill>
                  <a:schemeClr val="bg1"/>
                </a:solidFill>
                <a:effectLst/>
              </a:rPr>
              <a:t>aliqua</a:t>
            </a:r>
            <a:r>
              <a:rPr lang="en-ID" sz="1400" b="0" i="0" dirty="0">
                <a:solidFill>
                  <a:schemeClr val="bg1"/>
                </a:solidFill>
                <a:effectLst/>
              </a:rPr>
              <a:t>. </a:t>
            </a:r>
          </a:p>
        </p:txBody>
      </p:sp>
      <p:sp>
        <p:nvSpPr>
          <p:cNvPr id="7" name="TextBox 6">
            <a:extLst>
              <a:ext uri="{FF2B5EF4-FFF2-40B4-BE49-F238E27FC236}">
                <a16:creationId xmlns:a16="http://schemas.microsoft.com/office/drawing/2014/main" id="{78252F96-C610-4184-BC1C-C5E1EA8602C8}"/>
              </a:ext>
            </a:extLst>
          </p:cNvPr>
          <p:cNvSpPr txBox="1"/>
          <p:nvPr/>
        </p:nvSpPr>
        <p:spPr>
          <a:xfrm>
            <a:off x="2041712" y="1955457"/>
            <a:ext cx="3749487" cy="246221"/>
          </a:xfrm>
          <a:prstGeom prst="rect">
            <a:avLst/>
          </a:prstGeom>
          <a:noFill/>
        </p:spPr>
        <p:txBody>
          <a:bodyPr wrap="square" lIns="0" tIns="0" rIns="0" bIns="0">
            <a:spAutoFit/>
          </a:bodyPr>
          <a:lstStyle/>
          <a:p>
            <a:r>
              <a:rPr lang="en-ID" sz="1600" b="1" i="0" dirty="0">
                <a:solidFill>
                  <a:schemeClr val="bg1"/>
                </a:solidFill>
                <a:effectLst/>
                <a:latin typeface="+mj-lt"/>
              </a:rPr>
              <a:t>Lorem </a:t>
            </a:r>
            <a:r>
              <a:rPr lang="en-ID" sz="1600" b="1" dirty="0">
                <a:solidFill>
                  <a:schemeClr val="bg1"/>
                </a:solidFill>
                <a:latin typeface="+mj-lt"/>
              </a:rPr>
              <a:t>Ipsum </a:t>
            </a:r>
            <a:r>
              <a:rPr lang="en-ID" sz="1600" b="1" dirty="0" err="1">
                <a:solidFill>
                  <a:schemeClr val="bg1"/>
                </a:solidFill>
                <a:latin typeface="+mj-lt"/>
              </a:rPr>
              <a:t>Dolor</a:t>
            </a:r>
            <a:endParaRPr lang="en-ID" sz="1600" b="1" dirty="0">
              <a:solidFill>
                <a:schemeClr val="bg1"/>
              </a:solidFill>
              <a:latin typeface="+mj-lt"/>
            </a:endParaRPr>
          </a:p>
        </p:txBody>
      </p:sp>
      <p:sp>
        <p:nvSpPr>
          <p:cNvPr id="19" name="Rectangle 18">
            <a:extLst>
              <a:ext uri="{FF2B5EF4-FFF2-40B4-BE49-F238E27FC236}">
                <a16:creationId xmlns:a16="http://schemas.microsoft.com/office/drawing/2014/main" id="{800CBB1C-2FC1-45EE-8FE9-806514EA71F5}"/>
              </a:ext>
            </a:extLst>
          </p:cNvPr>
          <p:cNvSpPr/>
          <p:nvPr/>
        </p:nvSpPr>
        <p:spPr>
          <a:xfrm>
            <a:off x="533400" y="3405187"/>
            <a:ext cx="5429250" cy="1249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1" name="TextBox 20">
            <a:extLst>
              <a:ext uri="{FF2B5EF4-FFF2-40B4-BE49-F238E27FC236}">
                <a16:creationId xmlns:a16="http://schemas.microsoft.com/office/drawing/2014/main" id="{7FF023A5-3D4A-45B7-AB94-D7B52A5D26DB}"/>
              </a:ext>
            </a:extLst>
          </p:cNvPr>
          <p:cNvSpPr txBox="1"/>
          <p:nvPr/>
        </p:nvSpPr>
        <p:spPr>
          <a:xfrm>
            <a:off x="2041712" y="3848693"/>
            <a:ext cx="3749487" cy="646331"/>
          </a:xfrm>
          <a:prstGeom prst="rect">
            <a:avLst/>
          </a:prstGeom>
          <a:noFill/>
        </p:spPr>
        <p:txBody>
          <a:bodyPr wrap="square" lIns="0" tIns="0" rIns="0" bIns="0">
            <a:spAutoFit/>
          </a:bodyPr>
          <a:lstStyle/>
          <a:p>
            <a:r>
              <a:rPr lang="en-ID" sz="1400" b="0" i="0" dirty="0">
                <a:solidFill>
                  <a:schemeClr val="bg1"/>
                </a:solidFill>
                <a:effectLst/>
              </a:rPr>
              <a:t>Lorem ipsum </a:t>
            </a:r>
            <a:r>
              <a:rPr lang="en-ID" sz="1400" b="0" i="0" dirty="0" err="1">
                <a:solidFill>
                  <a:schemeClr val="bg1"/>
                </a:solidFill>
                <a:effectLst/>
              </a:rPr>
              <a:t>dolor</a:t>
            </a:r>
            <a:r>
              <a:rPr lang="en-ID" sz="1400" b="0" i="0" dirty="0">
                <a:solidFill>
                  <a:schemeClr val="bg1"/>
                </a:solidFill>
                <a:effectLst/>
              </a:rPr>
              <a:t> sit </a:t>
            </a:r>
            <a:r>
              <a:rPr lang="en-ID" sz="1400" b="0" i="0" dirty="0" err="1">
                <a:solidFill>
                  <a:schemeClr val="bg1"/>
                </a:solidFill>
                <a:effectLst/>
              </a:rPr>
              <a:t>amet</a:t>
            </a:r>
            <a:r>
              <a:rPr lang="en-ID" sz="1400" b="0" i="0" dirty="0">
                <a:solidFill>
                  <a:schemeClr val="bg1"/>
                </a:solidFill>
                <a:effectLst/>
              </a:rPr>
              <a:t>, </a:t>
            </a:r>
            <a:r>
              <a:rPr lang="en-ID" sz="1400" b="0" i="0" dirty="0" err="1">
                <a:solidFill>
                  <a:schemeClr val="bg1"/>
                </a:solidFill>
                <a:effectLst/>
              </a:rPr>
              <a:t>consectetur</a:t>
            </a:r>
            <a:r>
              <a:rPr lang="en-ID" sz="1400" b="0" i="0" dirty="0">
                <a:solidFill>
                  <a:schemeClr val="bg1"/>
                </a:solidFill>
                <a:effectLst/>
              </a:rPr>
              <a:t> </a:t>
            </a:r>
            <a:r>
              <a:rPr lang="en-ID" sz="1400" b="0" i="0" dirty="0" err="1">
                <a:solidFill>
                  <a:schemeClr val="bg1"/>
                </a:solidFill>
                <a:effectLst/>
              </a:rPr>
              <a:t>adipiscing</a:t>
            </a:r>
            <a:r>
              <a:rPr lang="en-ID" sz="1400" b="0" i="0" dirty="0">
                <a:solidFill>
                  <a:schemeClr val="bg1"/>
                </a:solidFill>
                <a:effectLst/>
              </a:rPr>
              <a:t> </a:t>
            </a:r>
            <a:r>
              <a:rPr lang="en-ID" sz="1400" b="0" i="0" dirty="0" err="1">
                <a:solidFill>
                  <a:schemeClr val="bg1"/>
                </a:solidFill>
                <a:effectLst/>
              </a:rPr>
              <a:t>elit</a:t>
            </a:r>
            <a:r>
              <a:rPr lang="en-ID" sz="1400" b="0" i="0" dirty="0">
                <a:solidFill>
                  <a:schemeClr val="bg1"/>
                </a:solidFill>
                <a:effectLst/>
              </a:rPr>
              <a:t>, </a:t>
            </a:r>
            <a:r>
              <a:rPr lang="en-ID" sz="1400" b="0" i="0" dirty="0" err="1">
                <a:solidFill>
                  <a:schemeClr val="bg1"/>
                </a:solidFill>
                <a:effectLst/>
              </a:rPr>
              <a:t>sed</a:t>
            </a:r>
            <a:r>
              <a:rPr lang="en-ID" sz="1400" b="0" i="0" dirty="0">
                <a:solidFill>
                  <a:schemeClr val="bg1"/>
                </a:solidFill>
                <a:effectLst/>
              </a:rPr>
              <a:t> do </a:t>
            </a:r>
            <a:r>
              <a:rPr lang="en-ID" sz="1400" b="0" i="0" dirty="0" err="1">
                <a:solidFill>
                  <a:schemeClr val="bg1"/>
                </a:solidFill>
                <a:effectLst/>
              </a:rPr>
              <a:t>eiusmod</a:t>
            </a:r>
            <a:r>
              <a:rPr lang="en-ID" sz="1400" b="0" i="0" dirty="0">
                <a:solidFill>
                  <a:schemeClr val="bg1"/>
                </a:solidFill>
                <a:effectLst/>
              </a:rPr>
              <a:t> </a:t>
            </a:r>
            <a:r>
              <a:rPr lang="en-ID" sz="1400" b="0" i="0" dirty="0" err="1">
                <a:solidFill>
                  <a:schemeClr val="bg1"/>
                </a:solidFill>
                <a:effectLst/>
              </a:rPr>
              <a:t>tempor</a:t>
            </a:r>
            <a:r>
              <a:rPr lang="en-ID" sz="1400" b="0" i="0" dirty="0">
                <a:solidFill>
                  <a:schemeClr val="bg1"/>
                </a:solidFill>
                <a:effectLst/>
              </a:rPr>
              <a:t> </a:t>
            </a:r>
            <a:r>
              <a:rPr lang="en-ID" sz="1400" b="0" i="0" dirty="0" err="1">
                <a:solidFill>
                  <a:schemeClr val="bg1"/>
                </a:solidFill>
                <a:effectLst/>
              </a:rPr>
              <a:t>incididunt</a:t>
            </a:r>
            <a:r>
              <a:rPr lang="en-ID" sz="1400" b="0" i="0" dirty="0">
                <a:solidFill>
                  <a:schemeClr val="bg1"/>
                </a:solidFill>
                <a:effectLst/>
              </a:rPr>
              <a:t> </a:t>
            </a:r>
            <a:r>
              <a:rPr lang="en-ID" sz="1400" b="0" i="0" dirty="0" err="1">
                <a:solidFill>
                  <a:schemeClr val="bg1"/>
                </a:solidFill>
                <a:effectLst/>
              </a:rPr>
              <a:t>ut</a:t>
            </a:r>
            <a:r>
              <a:rPr lang="en-ID" sz="1400" b="0" i="0" dirty="0">
                <a:solidFill>
                  <a:schemeClr val="bg1"/>
                </a:solidFill>
                <a:effectLst/>
              </a:rPr>
              <a:t> </a:t>
            </a:r>
            <a:r>
              <a:rPr lang="en-ID" sz="1400" b="0" i="0" dirty="0" err="1">
                <a:solidFill>
                  <a:schemeClr val="bg1"/>
                </a:solidFill>
                <a:effectLst/>
              </a:rPr>
              <a:t>labore</a:t>
            </a:r>
            <a:r>
              <a:rPr lang="en-ID" sz="1400" b="0" i="0" dirty="0">
                <a:solidFill>
                  <a:schemeClr val="bg1"/>
                </a:solidFill>
                <a:effectLst/>
              </a:rPr>
              <a:t> et dolore magna </a:t>
            </a:r>
            <a:r>
              <a:rPr lang="en-ID" sz="1400" b="0" i="0" dirty="0" err="1">
                <a:solidFill>
                  <a:schemeClr val="bg1"/>
                </a:solidFill>
                <a:effectLst/>
              </a:rPr>
              <a:t>aliqua</a:t>
            </a:r>
            <a:r>
              <a:rPr lang="en-ID" sz="1400" b="0" i="0" dirty="0">
                <a:solidFill>
                  <a:schemeClr val="bg1"/>
                </a:solidFill>
                <a:effectLst/>
              </a:rPr>
              <a:t>. </a:t>
            </a:r>
          </a:p>
        </p:txBody>
      </p:sp>
      <p:sp>
        <p:nvSpPr>
          <p:cNvPr id="22" name="TextBox 21">
            <a:extLst>
              <a:ext uri="{FF2B5EF4-FFF2-40B4-BE49-F238E27FC236}">
                <a16:creationId xmlns:a16="http://schemas.microsoft.com/office/drawing/2014/main" id="{A7E65D71-5D46-4492-AC5C-84695E6B157A}"/>
              </a:ext>
            </a:extLst>
          </p:cNvPr>
          <p:cNvSpPr txBox="1"/>
          <p:nvPr/>
        </p:nvSpPr>
        <p:spPr>
          <a:xfrm>
            <a:off x="2041712" y="3549308"/>
            <a:ext cx="3749487" cy="246221"/>
          </a:xfrm>
          <a:prstGeom prst="rect">
            <a:avLst/>
          </a:prstGeom>
          <a:noFill/>
        </p:spPr>
        <p:txBody>
          <a:bodyPr wrap="square" lIns="0" tIns="0" rIns="0" bIns="0">
            <a:spAutoFit/>
          </a:bodyPr>
          <a:lstStyle/>
          <a:p>
            <a:r>
              <a:rPr lang="en-ID" sz="1600" b="1" i="0" dirty="0">
                <a:solidFill>
                  <a:schemeClr val="bg1"/>
                </a:solidFill>
                <a:effectLst/>
                <a:latin typeface="+mj-lt"/>
              </a:rPr>
              <a:t>Lorem </a:t>
            </a:r>
            <a:r>
              <a:rPr lang="en-ID" sz="1600" b="1" dirty="0">
                <a:solidFill>
                  <a:schemeClr val="bg1"/>
                </a:solidFill>
                <a:latin typeface="+mj-lt"/>
              </a:rPr>
              <a:t>Ipsum </a:t>
            </a:r>
            <a:r>
              <a:rPr lang="en-ID" sz="1600" b="1" dirty="0" err="1">
                <a:solidFill>
                  <a:schemeClr val="bg1"/>
                </a:solidFill>
                <a:latin typeface="+mj-lt"/>
              </a:rPr>
              <a:t>Dolor</a:t>
            </a:r>
            <a:endParaRPr lang="en-ID" sz="1600" b="1" dirty="0">
              <a:solidFill>
                <a:schemeClr val="bg1"/>
              </a:solidFill>
              <a:latin typeface="+mj-lt"/>
            </a:endParaRPr>
          </a:p>
        </p:txBody>
      </p:sp>
      <p:sp>
        <p:nvSpPr>
          <p:cNvPr id="24" name="Rectangle 23">
            <a:extLst>
              <a:ext uri="{FF2B5EF4-FFF2-40B4-BE49-F238E27FC236}">
                <a16:creationId xmlns:a16="http://schemas.microsoft.com/office/drawing/2014/main" id="{4DA08BF9-DB9C-4D85-B9C2-1B9ED32E3176}"/>
              </a:ext>
            </a:extLst>
          </p:cNvPr>
          <p:cNvSpPr/>
          <p:nvPr/>
        </p:nvSpPr>
        <p:spPr>
          <a:xfrm>
            <a:off x="533400" y="4999037"/>
            <a:ext cx="5429250" cy="1249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6" name="TextBox 25">
            <a:extLst>
              <a:ext uri="{FF2B5EF4-FFF2-40B4-BE49-F238E27FC236}">
                <a16:creationId xmlns:a16="http://schemas.microsoft.com/office/drawing/2014/main" id="{6495F494-2E95-4799-B318-467A1851B1DA}"/>
              </a:ext>
            </a:extLst>
          </p:cNvPr>
          <p:cNvSpPr txBox="1"/>
          <p:nvPr/>
        </p:nvSpPr>
        <p:spPr>
          <a:xfrm>
            <a:off x="2041712" y="5442543"/>
            <a:ext cx="3749487" cy="646331"/>
          </a:xfrm>
          <a:prstGeom prst="rect">
            <a:avLst/>
          </a:prstGeom>
          <a:noFill/>
        </p:spPr>
        <p:txBody>
          <a:bodyPr wrap="square" lIns="0" tIns="0" rIns="0" bIns="0">
            <a:spAutoFit/>
          </a:bodyPr>
          <a:lstStyle/>
          <a:p>
            <a:r>
              <a:rPr lang="en-ID" sz="1400" b="0" i="0" dirty="0">
                <a:solidFill>
                  <a:schemeClr val="bg1"/>
                </a:solidFill>
                <a:effectLst/>
              </a:rPr>
              <a:t>Lorem ipsum </a:t>
            </a:r>
            <a:r>
              <a:rPr lang="en-ID" sz="1400" b="0" i="0" dirty="0" err="1">
                <a:solidFill>
                  <a:schemeClr val="bg1"/>
                </a:solidFill>
                <a:effectLst/>
              </a:rPr>
              <a:t>dolor</a:t>
            </a:r>
            <a:r>
              <a:rPr lang="en-ID" sz="1400" b="0" i="0" dirty="0">
                <a:solidFill>
                  <a:schemeClr val="bg1"/>
                </a:solidFill>
                <a:effectLst/>
              </a:rPr>
              <a:t> sit </a:t>
            </a:r>
            <a:r>
              <a:rPr lang="en-ID" sz="1400" b="0" i="0" dirty="0" err="1">
                <a:solidFill>
                  <a:schemeClr val="bg1"/>
                </a:solidFill>
                <a:effectLst/>
              </a:rPr>
              <a:t>amet</a:t>
            </a:r>
            <a:r>
              <a:rPr lang="en-ID" sz="1400" b="0" i="0" dirty="0">
                <a:solidFill>
                  <a:schemeClr val="bg1"/>
                </a:solidFill>
                <a:effectLst/>
              </a:rPr>
              <a:t>, </a:t>
            </a:r>
            <a:r>
              <a:rPr lang="en-ID" sz="1400" b="0" i="0" dirty="0" err="1">
                <a:solidFill>
                  <a:schemeClr val="bg1"/>
                </a:solidFill>
                <a:effectLst/>
              </a:rPr>
              <a:t>consectetur</a:t>
            </a:r>
            <a:r>
              <a:rPr lang="en-ID" sz="1400" b="0" i="0" dirty="0">
                <a:solidFill>
                  <a:schemeClr val="bg1"/>
                </a:solidFill>
                <a:effectLst/>
              </a:rPr>
              <a:t> </a:t>
            </a:r>
            <a:r>
              <a:rPr lang="en-ID" sz="1400" b="0" i="0" dirty="0" err="1">
                <a:solidFill>
                  <a:schemeClr val="bg1"/>
                </a:solidFill>
                <a:effectLst/>
              </a:rPr>
              <a:t>adipiscing</a:t>
            </a:r>
            <a:r>
              <a:rPr lang="en-ID" sz="1400" b="0" i="0" dirty="0">
                <a:solidFill>
                  <a:schemeClr val="bg1"/>
                </a:solidFill>
                <a:effectLst/>
              </a:rPr>
              <a:t> </a:t>
            </a:r>
            <a:r>
              <a:rPr lang="en-ID" sz="1400" b="0" i="0" dirty="0" err="1">
                <a:solidFill>
                  <a:schemeClr val="bg1"/>
                </a:solidFill>
                <a:effectLst/>
              </a:rPr>
              <a:t>elit</a:t>
            </a:r>
            <a:r>
              <a:rPr lang="en-ID" sz="1400" b="0" i="0" dirty="0">
                <a:solidFill>
                  <a:schemeClr val="bg1"/>
                </a:solidFill>
                <a:effectLst/>
              </a:rPr>
              <a:t>, </a:t>
            </a:r>
            <a:r>
              <a:rPr lang="en-ID" sz="1400" b="0" i="0" dirty="0" err="1">
                <a:solidFill>
                  <a:schemeClr val="bg1"/>
                </a:solidFill>
                <a:effectLst/>
              </a:rPr>
              <a:t>sed</a:t>
            </a:r>
            <a:r>
              <a:rPr lang="en-ID" sz="1400" b="0" i="0" dirty="0">
                <a:solidFill>
                  <a:schemeClr val="bg1"/>
                </a:solidFill>
                <a:effectLst/>
              </a:rPr>
              <a:t> do </a:t>
            </a:r>
            <a:r>
              <a:rPr lang="en-ID" sz="1400" b="0" i="0" dirty="0" err="1">
                <a:solidFill>
                  <a:schemeClr val="bg1"/>
                </a:solidFill>
                <a:effectLst/>
              </a:rPr>
              <a:t>eiusmod</a:t>
            </a:r>
            <a:r>
              <a:rPr lang="en-ID" sz="1400" b="0" i="0" dirty="0">
                <a:solidFill>
                  <a:schemeClr val="bg1"/>
                </a:solidFill>
                <a:effectLst/>
              </a:rPr>
              <a:t> </a:t>
            </a:r>
            <a:r>
              <a:rPr lang="en-ID" sz="1400" b="0" i="0" dirty="0" err="1">
                <a:solidFill>
                  <a:schemeClr val="bg1"/>
                </a:solidFill>
                <a:effectLst/>
              </a:rPr>
              <a:t>tempor</a:t>
            </a:r>
            <a:r>
              <a:rPr lang="en-ID" sz="1400" b="0" i="0" dirty="0">
                <a:solidFill>
                  <a:schemeClr val="bg1"/>
                </a:solidFill>
                <a:effectLst/>
              </a:rPr>
              <a:t> </a:t>
            </a:r>
            <a:r>
              <a:rPr lang="en-ID" sz="1400" b="0" i="0" dirty="0" err="1">
                <a:solidFill>
                  <a:schemeClr val="bg1"/>
                </a:solidFill>
                <a:effectLst/>
              </a:rPr>
              <a:t>incididunt</a:t>
            </a:r>
            <a:r>
              <a:rPr lang="en-ID" sz="1400" b="0" i="0" dirty="0">
                <a:solidFill>
                  <a:schemeClr val="bg1"/>
                </a:solidFill>
                <a:effectLst/>
              </a:rPr>
              <a:t> </a:t>
            </a:r>
            <a:r>
              <a:rPr lang="en-ID" sz="1400" b="0" i="0" dirty="0" err="1">
                <a:solidFill>
                  <a:schemeClr val="bg1"/>
                </a:solidFill>
                <a:effectLst/>
              </a:rPr>
              <a:t>ut</a:t>
            </a:r>
            <a:r>
              <a:rPr lang="en-ID" sz="1400" b="0" i="0" dirty="0">
                <a:solidFill>
                  <a:schemeClr val="bg1"/>
                </a:solidFill>
                <a:effectLst/>
              </a:rPr>
              <a:t> </a:t>
            </a:r>
            <a:r>
              <a:rPr lang="en-ID" sz="1400" b="0" i="0" dirty="0" err="1">
                <a:solidFill>
                  <a:schemeClr val="bg1"/>
                </a:solidFill>
                <a:effectLst/>
              </a:rPr>
              <a:t>labore</a:t>
            </a:r>
            <a:r>
              <a:rPr lang="en-ID" sz="1400" b="0" i="0" dirty="0">
                <a:solidFill>
                  <a:schemeClr val="bg1"/>
                </a:solidFill>
                <a:effectLst/>
              </a:rPr>
              <a:t> et dolore magna </a:t>
            </a:r>
            <a:r>
              <a:rPr lang="en-ID" sz="1400" b="0" i="0" dirty="0" err="1">
                <a:solidFill>
                  <a:schemeClr val="bg1"/>
                </a:solidFill>
                <a:effectLst/>
              </a:rPr>
              <a:t>aliqua</a:t>
            </a:r>
            <a:r>
              <a:rPr lang="en-ID" sz="1400" b="0" i="0" dirty="0">
                <a:solidFill>
                  <a:schemeClr val="bg1"/>
                </a:solidFill>
                <a:effectLst/>
              </a:rPr>
              <a:t>. </a:t>
            </a:r>
          </a:p>
        </p:txBody>
      </p:sp>
      <p:sp>
        <p:nvSpPr>
          <p:cNvPr id="27" name="TextBox 26">
            <a:extLst>
              <a:ext uri="{FF2B5EF4-FFF2-40B4-BE49-F238E27FC236}">
                <a16:creationId xmlns:a16="http://schemas.microsoft.com/office/drawing/2014/main" id="{C74F43B6-9CB3-4995-819D-639BB4260AEC}"/>
              </a:ext>
            </a:extLst>
          </p:cNvPr>
          <p:cNvSpPr txBox="1"/>
          <p:nvPr/>
        </p:nvSpPr>
        <p:spPr>
          <a:xfrm>
            <a:off x="2041712" y="5143158"/>
            <a:ext cx="3749487" cy="246221"/>
          </a:xfrm>
          <a:prstGeom prst="rect">
            <a:avLst/>
          </a:prstGeom>
          <a:noFill/>
        </p:spPr>
        <p:txBody>
          <a:bodyPr wrap="square" lIns="0" tIns="0" rIns="0" bIns="0">
            <a:spAutoFit/>
          </a:bodyPr>
          <a:lstStyle/>
          <a:p>
            <a:r>
              <a:rPr lang="en-ID" sz="1600" b="1" i="0" dirty="0">
                <a:solidFill>
                  <a:schemeClr val="bg1"/>
                </a:solidFill>
                <a:effectLst/>
                <a:latin typeface="+mj-lt"/>
              </a:rPr>
              <a:t>Lorem </a:t>
            </a:r>
            <a:r>
              <a:rPr lang="en-ID" sz="1600" b="1" dirty="0">
                <a:solidFill>
                  <a:schemeClr val="bg1"/>
                </a:solidFill>
                <a:latin typeface="+mj-lt"/>
              </a:rPr>
              <a:t>Ipsum </a:t>
            </a:r>
            <a:r>
              <a:rPr lang="en-ID" sz="1600" b="1" dirty="0" err="1">
                <a:solidFill>
                  <a:schemeClr val="bg1"/>
                </a:solidFill>
                <a:latin typeface="+mj-lt"/>
              </a:rPr>
              <a:t>Dolor</a:t>
            </a:r>
            <a:endParaRPr lang="en-ID" sz="1600" b="1" dirty="0">
              <a:solidFill>
                <a:schemeClr val="bg1"/>
              </a:solidFill>
              <a:latin typeface="+mj-lt"/>
            </a:endParaRPr>
          </a:p>
        </p:txBody>
      </p:sp>
      <p:sp>
        <p:nvSpPr>
          <p:cNvPr id="29" name="Rectangle 28">
            <a:extLst>
              <a:ext uri="{FF2B5EF4-FFF2-40B4-BE49-F238E27FC236}">
                <a16:creationId xmlns:a16="http://schemas.microsoft.com/office/drawing/2014/main" id="{8FA4F98C-5742-47E8-A3EA-930B148D88AC}"/>
              </a:ext>
            </a:extLst>
          </p:cNvPr>
          <p:cNvSpPr/>
          <p:nvPr/>
        </p:nvSpPr>
        <p:spPr>
          <a:xfrm>
            <a:off x="6229350" y="1811336"/>
            <a:ext cx="5429250" cy="1249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1" name="TextBox 30">
            <a:extLst>
              <a:ext uri="{FF2B5EF4-FFF2-40B4-BE49-F238E27FC236}">
                <a16:creationId xmlns:a16="http://schemas.microsoft.com/office/drawing/2014/main" id="{0454F6C0-9AA1-4B54-9F31-1F8E1D27B892}"/>
              </a:ext>
            </a:extLst>
          </p:cNvPr>
          <p:cNvSpPr txBox="1"/>
          <p:nvPr/>
        </p:nvSpPr>
        <p:spPr>
          <a:xfrm>
            <a:off x="7737662" y="2254842"/>
            <a:ext cx="3749487" cy="646331"/>
          </a:xfrm>
          <a:prstGeom prst="rect">
            <a:avLst/>
          </a:prstGeom>
          <a:noFill/>
        </p:spPr>
        <p:txBody>
          <a:bodyPr wrap="square" lIns="0" tIns="0" rIns="0" bIns="0">
            <a:spAutoFit/>
          </a:bodyPr>
          <a:lstStyle/>
          <a:p>
            <a:r>
              <a:rPr lang="en-ID" sz="1400" b="0" i="0" dirty="0">
                <a:solidFill>
                  <a:schemeClr val="bg1"/>
                </a:solidFill>
                <a:effectLst/>
              </a:rPr>
              <a:t>Lorem ipsum </a:t>
            </a:r>
            <a:r>
              <a:rPr lang="en-ID" sz="1400" b="0" i="0" dirty="0" err="1">
                <a:solidFill>
                  <a:schemeClr val="bg1"/>
                </a:solidFill>
                <a:effectLst/>
              </a:rPr>
              <a:t>dolor</a:t>
            </a:r>
            <a:r>
              <a:rPr lang="en-ID" sz="1400" b="0" i="0" dirty="0">
                <a:solidFill>
                  <a:schemeClr val="bg1"/>
                </a:solidFill>
                <a:effectLst/>
              </a:rPr>
              <a:t> sit </a:t>
            </a:r>
            <a:r>
              <a:rPr lang="en-ID" sz="1400" b="0" i="0" dirty="0" err="1">
                <a:solidFill>
                  <a:schemeClr val="bg1"/>
                </a:solidFill>
                <a:effectLst/>
              </a:rPr>
              <a:t>amet</a:t>
            </a:r>
            <a:r>
              <a:rPr lang="en-ID" sz="1400" b="0" i="0" dirty="0">
                <a:solidFill>
                  <a:schemeClr val="bg1"/>
                </a:solidFill>
                <a:effectLst/>
              </a:rPr>
              <a:t>, </a:t>
            </a:r>
            <a:r>
              <a:rPr lang="en-ID" sz="1400" b="0" i="0" dirty="0" err="1">
                <a:solidFill>
                  <a:schemeClr val="bg1"/>
                </a:solidFill>
                <a:effectLst/>
              </a:rPr>
              <a:t>consectetur</a:t>
            </a:r>
            <a:r>
              <a:rPr lang="en-ID" sz="1400" b="0" i="0" dirty="0">
                <a:solidFill>
                  <a:schemeClr val="bg1"/>
                </a:solidFill>
                <a:effectLst/>
              </a:rPr>
              <a:t> </a:t>
            </a:r>
            <a:r>
              <a:rPr lang="en-ID" sz="1400" b="0" i="0" dirty="0" err="1">
                <a:solidFill>
                  <a:schemeClr val="bg1"/>
                </a:solidFill>
                <a:effectLst/>
              </a:rPr>
              <a:t>adipiscing</a:t>
            </a:r>
            <a:r>
              <a:rPr lang="en-ID" sz="1400" b="0" i="0" dirty="0">
                <a:solidFill>
                  <a:schemeClr val="bg1"/>
                </a:solidFill>
                <a:effectLst/>
              </a:rPr>
              <a:t> </a:t>
            </a:r>
            <a:r>
              <a:rPr lang="en-ID" sz="1400" b="0" i="0" dirty="0" err="1">
                <a:solidFill>
                  <a:schemeClr val="bg1"/>
                </a:solidFill>
                <a:effectLst/>
              </a:rPr>
              <a:t>elit</a:t>
            </a:r>
            <a:r>
              <a:rPr lang="en-ID" sz="1400" b="0" i="0" dirty="0">
                <a:solidFill>
                  <a:schemeClr val="bg1"/>
                </a:solidFill>
                <a:effectLst/>
              </a:rPr>
              <a:t>, </a:t>
            </a:r>
            <a:r>
              <a:rPr lang="en-ID" sz="1400" b="0" i="0" dirty="0" err="1">
                <a:solidFill>
                  <a:schemeClr val="bg1"/>
                </a:solidFill>
                <a:effectLst/>
              </a:rPr>
              <a:t>sed</a:t>
            </a:r>
            <a:r>
              <a:rPr lang="en-ID" sz="1400" b="0" i="0" dirty="0">
                <a:solidFill>
                  <a:schemeClr val="bg1"/>
                </a:solidFill>
                <a:effectLst/>
              </a:rPr>
              <a:t> do </a:t>
            </a:r>
            <a:r>
              <a:rPr lang="en-ID" sz="1400" b="0" i="0" dirty="0" err="1">
                <a:solidFill>
                  <a:schemeClr val="bg1"/>
                </a:solidFill>
                <a:effectLst/>
              </a:rPr>
              <a:t>eiusmod</a:t>
            </a:r>
            <a:r>
              <a:rPr lang="en-ID" sz="1400" b="0" i="0" dirty="0">
                <a:solidFill>
                  <a:schemeClr val="bg1"/>
                </a:solidFill>
                <a:effectLst/>
              </a:rPr>
              <a:t> </a:t>
            </a:r>
            <a:r>
              <a:rPr lang="en-ID" sz="1400" b="0" i="0" dirty="0" err="1">
                <a:solidFill>
                  <a:schemeClr val="bg1"/>
                </a:solidFill>
                <a:effectLst/>
              </a:rPr>
              <a:t>tempor</a:t>
            </a:r>
            <a:r>
              <a:rPr lang="en-ID" sz="1400" b="0" i="0" dirty="0">
                <a:solidFill>
                  <a:schemeClr val="bg1"/>
                </a:solidFill>
                <a:effectLst/>
              </a:rPr>
              <a:t> </a:t>
            </a:r>
            <a:r>
              <a:rPr lang="en-ID" sz="1400" b="0" i="0" dirty="0" err="1">
                <a:solidFill>
                  <a:schemeClr val="bg1"/>
                </a:solidFill>
                <a:effectLst/>
              </a:rPr>
              <a:t>incididunt</a:t>
            </a:r>
            <a:r>
              <a:rPr lang="en-ID" sz="1400" b="0" i="0" dirty="0">
                <a:solidFill>
                  <a:schemeClr val="bg1"/>
                </a:solidFill>
                <a:effectLst/>
              </a:rPr>
              <a:t> </a:t>
            </a:r>
            <a:r>
              <a:rPr lang="en-ID" sz="1400" b="0" i="0" dirty="0" err="1">
                <a:solidFill>
                  <a:schemeClr val="bg1"/>
                </a:solidFill>
                <a:effectLst/>
              </a:rPr>
              <a:t>ut</a:t>
            </a:r>
            <a:r>
              <a:rPr lang="en-ID" sz="1400" b="0" i="0" dirty="0">
                <a:solidFill>
                  <a:schemeClr val="bg1"/>
                </a:solidFill>
                <a:effectLst/>
              </a:rPr>
              <a:t> </a:t>
            </a:r>
            <a:r>
              <a:rPr lang="en-ID" sz="1400" b="0" i="0" dirty="0" err="1">
                <a:solidFill>
                  <a:schemeClr val="bg1"/>
                </a:solidFill>
                <a:effectLst/>
              </a:rPr>
              <a:t>labore</a:t>
            </a:r>
            <a:r>
              <a:rPr lang="en-ID" sz="1400" b="0" i="0" dirty="0">
                <a:solidFill>
                  <a:schemeClr val="bg1"/>
                </a:solidFill>
                <a:effectLst/>
              </a:rPr>
              <a:t> et dolore magna </a:t>
            </a:r>
            <a:r>
              <a:rPr lang="en-ID" sz="1400" b="0" i="0" dirty="0" err="1">
                <a:solidFill>
                  <a:schemeClr val="bg1"/>
                </a:solidFill>
                <a:effectLst/>
              </a:rPr>
              <a:t>aliqua</a:t>
            </a:r>
            <a:r>
              <a:rPr lang="en-ID" sz="1400" b="0" i="0" dirty="0">
                <a:solidFill>
                  <a:schemeClr val="bg1"/>
                </a:solidFill>
                <a:effectLst/>
              </a:rPr>
              <a:t>. </a:t>
            </a:r>
          </a:p>
        </p:txBody>
      </p:sp>
      <p:sp>
        <p:nvSpPr>
          <p:cNvPr id="32" name="TextBox 31">
            <a:extLst>
              <a:ext uri="{FF2B5EF4-FFF2-40B4-BE49-F238E27FC236}">
                <a16:creationId xmlns:a16="http://schemas.microsoft.com/office/drawing/2014/main" id="{00E0F258-3AD6-4310-96A5-A96A913E7580}"/>
              </a:ext>
            </a:extLst>
          </p:cNvPr>
          <p:cNvSpPr txBox="1"/>
          <p:nvPr/>
        </p:nvSpPr>
        <p:spPr>
          <a:xfrm>
            <a:off x="7737662" y="1955457"/>
            <a:ext cx="3749487" cy="246221"/>
          </a:xfrm>
          <a:prstGeom prst="rect">
            <a:avLst/>
          </a:prstGeom>
          <a:noFill/>
        </p:spPr>
        <p:txBody>
          <a:bodyPr wrap="square" lIns="0" tIns="0" rIns="0" bIns="0">
            <a:spAutoFit/>
          </a:bodyPr>
          <a:lstStyle/>
          <a:p>
            <a:r>
              <a:rPr lang="en-ID" sz="1600" b="1" i="0" dirty="0">
                <a:solidFill>
                  <a:schemeClr val="bg1"/>
                </a:solidFill>
                <a:effectLst/>
                <a:latin typeface="+mj-lt"/>
              </a:rPr>
              <a:t>Lorem </a:t>
            </a:r>
            <a:r>
              <a:rPr lang="en-ID" sz="1600" b="1" dirty="0">
                <a:solidFill>
                  <a:schemeClr val="bg1"/>
                </a:solidFill>
                <a:latin typeface="+mj-lt"/>
              </a:rPr>
              <a:t>Ipsum </a:t>
            </a:r>
            <a:r>
              <a:rPr lang="en-ID" sz="1600" b="1" dirty="0" err="1">
                <a:solidFill>
                  <a:schemeClr val="bg1"/>
                </a:solidFill>
                <a:latin typeface="+mj-lt"/>
              </a:rPr>
              <a:t>Dolor</a:t>
            </a:r>
            <a:endParaRPr lang="en-ID" sz="1600" b="1" dirty="0">
              <a:solidFill>
                <a:schemeClr val="bg1"/>
              </a:solidFill>
              <a:latin typeface="+mj-lt"/>
            </a:endParaRPr>
          </a:p>
        </p:txBody>
      </p:sp>
      <p:sp>
        <p:nvSpPr>
          <p:cNvPr id="34" name="Rectangle 33">
            <a:extLst>
              <a:ext uri="{FF2B5EF4-FFF2-40B4-BE49-F238E27FC236}">
                <a16:creationId xmlns:a16="http://schemas.microsoft.com/office/drawing/2014/main" id="{B72600A6-6CB3-4506-A4BB-F2813198660E}"/>
              </a:ext>
            </a:extLst>
          </p:cNvPr>
          <p:cNvSpPr/>
          <p:nvPr/>
        </p:nvSpPr>
        <p:spPr>
          <a:xfrm>
            <a:off x="6229350" y="3405187"/>
            <a:ext cx="5429250" cy="1249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6" name="TextBox 35">
            <a:extLst>
              <a:ext uri="{FF2B5EF4-FFF2-40B4-BE49-F238E27FC236}">
                <a16:creationId xmlns:a16="http://schemas.microsoft.com/office/drawing/2014/main" id="{EFAA122E-9454-4C93-BF46-A1761150E78D}"/>
              </a:ext>
            </a:extLst>
          </p:cNvPr>
          <p:cNvSpPr txBox="1"/>
          <p:nvPr/>
        </p:nvSpPr>
        <p:spPr>
          <a:xfrm>
            <a:off x="7737662" y="3848693"/>
            <a:ext cx="3749487" cy="646331"/>
          </a:xfrm>
          <a:prstGeom prst="rect">
            <a:avLst/>
          </a:prstGeom>
          <a:noFill/>
        </p:spPr>
        <p:txBody>
          <a:bodyPr wrap="square" lIns="0" tIns="0" rIns="0" bIns="0">
            <a:spAutoFit/>
          </a:bodyPr>
          <a:lstStyle/>
          <a:p>
            <a:r>
              <a:rPr lang="en-ID" sz="1400" b="0" i="0" dirty="0">
                <a:solidFill>
                  <a:schemeClr val="bg1"/>
                </a:solidFill>
                <a:effectLst/>
              </a:rPr>
              <a:t>Lorem ipsum </a:t>
            </a:r>
            <a:r>
              <a:rPr lang="en-ID" sz="1400" b="0" i="0" dirty="0" err="1">
                <a:solidFill>
                  <a:schemeClr val="bg1"/>
                </a:solidFill>
                <a:effectLst/>
              </a:rPr>
              <a:t>dolor</a:t>
            </a:r>
            <a:r>
              <a:rPr lang="en-ID" sz="1400" b="0" i="0" dirty="0">
                <a:solidFill>
                  <a:schemeClr val="bg1"/>
                </a:solidFill>
                <a:effectLst/>
              </a:rPr>
              <a:t> sit </a:t>
            </a:r>
            <a:r>
              <a:rPr lang="en-ID" sz="1400" b="0" i="0" dirty="0" err="1">
                <a:solidFill>
                  <a:schemeClr val="bg1"/>
                </a:solidFill>
                <a:effectLst/>
              </a:rPr>
              <a:t>amet</a:t>
            </a:r>
            <a:r>
              <a:rPr lang="en-ID" sz="1400" b="0" i="0" dirty="0">
                <a:solidFill>
                  <a:schemeClr val="bg1"/>
                </a:solidFill>
                <a:effectLst/>
              </a:rPr>
              <a:t>, </a:t>
            </a:r>
            <a:r>
              <a:rPr lang="en-ID" sz="1400" b="0" i="0" dirty="0" err="1">
                <a:solidFill>
                  <a:schemeClr val="bg1"/>
                </a:solidFill>
                <a:effectLst/>
              </a:rPr>
              <a:t>consectetur</a:t>
            </a:r>
            <a:r>
              <a:rPr lang="en-ID" sz="1400" b="0" i="0" dirty="0">
                <a:solidFill>
                  <a:schemeClr val="bg1"/>
                </a:solidFill>
                <a:effectLst/>
              </a:rPr>
              <a:t> </a:t>
            </a:r>
            <a:r>
              <a:rPr lang="en-ID" sz="1400" b="0" i="0" dirty="0" err="1">
                <a:solidFill>
                  <a:schemeClr val="bg1"/>
                </a:solidFill>
                <a:effectLst/>
              </a:rPr>
              <a:t>adipiscing</a:t>
            </a:r>
            <a:r>
              <a:rPr lang="en-ID" sz="1400" b="0" i="0" dirty="0">
                <a:solidFill>
                  <a:schemeClr val="bg1"/>
                </a:solidFill>
                <a:effectLst/>
              </a:rPr>
              <a:t> </a:t>
            </a:r>
            <a:r>
              <a:rPr lang="en-ID" sz="1400" b="0" i="0" dirty="0" err="1">
                <a:solidFill>
                  <a:schemeClr val="bg1"/>
                </a:solidFill>
                <a:effectLst/>
              </a:rPr>
              <a:t>elit</a:t>
            </a:r>
            <a:r>
              <a:rPr lang="en-ID" sz="1400" b="0" i="0" dirty="0">
                <a:solidFill>
                  <a:schemeClr val="bg1"/>
                </a:solidFill>
                <a:effectLst/>
              </a:rPr>
              <a:t>, </a:t>
            </a:r>
            <a:r>
              <a:rPr lang="en-ID" sz="1400" b="0" i="0" dirty="0" err="1">
                <a:solidFill>
                  <a:schemeClr val="bg1"/>
                </a:solidFill>
                <a:effectLst/>
              </a:rPr>
              <a:t>sed</a:t>
            </a:r>
            <a:r>
              <a:rPr lang="en-ID" sz="1400" b="0" i="0" dirty="0">
                <a:solidFill>
                  <a:schemeClr val="bg1"/>
                </a:solidFill>
                <a:effectLst/>
              </a:rPr>
              <a:t> do </a:t>
            </a:r>
            <a:r>
              <a:rPr lang="en-ID" sz="1400" b="0" i="0" dirty="0" err="1">
                <a:solidFill>
                  <a:schemeClr val="bg1"/>
                </a:solidFill>
                <a:effectLst/>
              </a:rPr>
              <a:t>eiusmod</a:t>
            </a:r>
            <a:r>
              <a:rPr lang="en-ID" sz="1400" b="0" i="0" dirty="0">
                <a:solidFill>
                  <a:schemeClr val="bg1"/>
                </a:solidFill>
                <a:effectLst/>
              </a:rPr>
              <a:t> </a:t>
            </a:r>
            <a:r>
              <a:rPr lang="en-ID" sz="1400" b="0" i="0" dirty="0" err="1">
                <a:solidFill>
                  <a:schemeClr val="bg1"/>
                </a:solidFill>
                <a:effectLst/>
              </a:rPr>
              <a:t>tempor</a:t>
            </a:r>
            <a:r>
              <a:rPr lang="en-ID" sz="1400" b="0" i="0" dirty="0">
                <a:solidFill>
                  <a:schemeClr val="bg1"/>
                </a:solidFill>
                <a:effectLst/>
              </a:rPr>
              <a:t> </a:t>
            </a:r>
            <a:r>
              <a:rPr lang="en-ID" sz="1400" b="0" i="0" dirty="0" err="1">
                <a:solidFill>
                  <a:schemeClr val="bg1"/>
                </a:solidFill>
                <a:effectLst/>
              </a:rPr>
              <a:t>incididunt</a:t>
            </a:r>
            <a:r>
              <a:rPr lang="en-ID" sz="1400" b="0" i="0" dirty="0">
                <a:solidFill>
                  <a:schemeClr val="bg1"/>
                </a:solidFill>
                <a:effectLst/>
              </a:rPr>
              <a:t> </a:t>
            </a:r>
            <a:r>
              <a:rPr lang="en-ID" sz="1400" b="0" i="0" dirty="0" err="1">
                <a:solidFill>
                  <a:schemeClr val="bg1"/>
                </a:solidFill>
                <a:effectLst/>
              </a:rPr>
              <a:t>ut</a:t>
            </a:r>
            <a:r>
              <a:rPr lang="en-ID" sz="1400" b="0" i="0" dirty="0">
                <a:solidFill>
                  <a:schemeClr val="bg1"/>
                </a:solidFill>
                <a:effectLst/>
              </a:rPr>
              <a:t> </a:t>
            </a:r>
            <a:r>
              <a:rPr lang="en-ID" sz="1400" b="0" i="0" dirty="0" err="1">
                <a:solidFill>
                  <a:schemeClr val="bg1"/>
                </a:solidFill>
                <a:effectLst/>
              </a:rPr>
              <a:t>labore</a:t>
            </a:r>
            <a:r>
              <a:rPr lang="en-ID" sz="1400" b="0" i="0" dirty="0">
                <a:solidFill>
                  <a:schemeClr val="bg1"/>
                </a:solidFill>
                <a:effectLst/>
              </a:rPr>
              <a:t> et dolore magna </a:t>
            </a:r>
            <a:r>
              <a:rPr lang="en-ID" sz="1400" b="0" i="0" dirty="0" err="1">
                <a:solidFill>
                  <a:schemeClr val="bg1"/>
                </a:solidFill>
                <a:effectLst/>
              </a:rPr>
              <a:t>aliqua</a:t>
            </a:r>
            <a:r>
              <a:rPr lang="en-ID" sz="1400" b="0" i="0" dirty="0">
                <a:solidFill>
                  <a:schemeClr val="bg1"/>
                </a:solidFill>
                <a:effectLst/>
              </a:rPr>
              <a:t>. </a:t>
            </a:r>
          </a:p>
        </p:txBody>
      </p:sp>
      <p:sp>
        <p:nvSpPr>
          <p:cNvPr id="37" name="TextBox 36">
            <a:extLst>
              <a:ext uri="{FF2B5EF4-FFF2-40B4-BE49-F238E27FC236}">
                <a16:creationId xmlns:a16="http://schemas.microsoft.com/office/drawing/2014/main" id="{0DBB34B9-CDC5-4B72-91EB-5D2CD277D7F1}"/>
              </a:ext>
            </a:extLst>
          </p:cNvPr>
          <p:cNvSpPr txBox="1"/>
          <p:nvPr/>
        </p:nvSpPr>
        <p:spPr>
          <a:xfrm>
            <a:off x="7737662" y="3549308"/>
            <a:ext cx="3749487" cy="246221"/>
          </a:xfrm>
          <a:prstGeom prst="rect">
            <a:avLst/>
          </a:prstGeom>
          <a:noFill/>
        </p:spPr>
        <p:txBody>
          <a:bodyPr wrap="square" lIns="0" tIns="0" rIns="0" bIns="0">
            <a:spAutoFit/>
          </a:bodyPr>
          <a:lstStyle/>
          <a:p>
            <a:r>
              <a:rPr lang="en-ID" sz="1600" b="1" i="0" dirty="0">
                <a:solidFill>
                  <a:schemeClr val="bg1"/>
                </a:solidFill>
                <a:effectLst/>
                <a:latin typeface="+mj-lt"/>
              </a:rPr>
              <a:t>Lorem </a:t>
            </a:r>
            <a:r>
              <a:rPr lang="en-ID" sz="1600" b="1" dirty="0">
                <a:solidFill>
                  <a:schemeClr val="bg1"/>
                </a:solidFill>
                <a:latin typeface="+mj-lt"/>
              </a:rPr>
              <a:t>Ipsum </a:t>
            </a:r>
            <a:r>
              <a:rPr lang="en-ID" sz="1600" b="1" dirty="0" err="1">
                <a:solidFill>
                  <a:schemeClr val="bg1"/>
                </a:solidFill>
                <a:latin typeface="+mj-lt"/>
              </a:rPr>
              <a:t>Dolor</a:t>
            </a:r>
            <a:endParaRPr lang="en-ID" sz="1600" b="1" dirty="0">
              <a:solidFill>
                <a:schemeClr val="bg1"/>
              </a:solidFill>
              <a:latin typeface="+mj-lt"/>
            </a:endParaRPr>
          </a:p>
        </p:txBody>
      </p:sp>
      <p:sp>
        <p:nvSpPr>
          <p:cNvPr id="39" name="Rectangle 38">
            <a:extLst>
              <a:ext uri="{FF2B5EF4-FFF2-40B4-BE49-F238E27FC236}">
                <a16:creationId xmlns:a16="http://schemas.microsoft.com/office/drawing/2014/main" id="{B25B3937-993E-4DF7-BE5A-1795223F2588}"/>
              </a:ext>
            </a:extLst>
          </p:cNvPr>
          <p:cNvSpPr/>
          <p:nvPr/>
        </p:nvSpPr>
        <p:spPr>
          <a:xfrm>
            <a:off x="6229350" y="4999037"/>
            <a:ext cx="5429250" cy="1249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1" name="TextBox 40">
            <a:extLst>
              <a:ext uri="{FF2B5EF4-FFF2-40B4-BE49-F238E27FC236}">
                <a16:creationId xmlns:a16="http://schemas.microsoft.com/office/drawing/2014/main" id="{2FF707CD-3858-4F43-9EE0-265E69AB3C0D}"/>
              </a:ext>
            </a:extLst>
          </p:cNvPr>
          <p:cNvSpPr txBox="1"/>
          <p:nvPr/>
        </p:nvSpPr>
        <p:spPr>
          <a:xfrm>
            <a:off x="7737662" y="5442543"/>
            <a:ext cx="3749487" cy="646331"/>
          </a:xfrm>
          <a:prstGeom prst="rect">
            <a:avLst/>
          </a:prstGeom>
          <a:noFill/>
        </p:spPr>
        <p:txBody>
          <a:bodyPr wrap="square" lIns="0" tIns="0" rIns="0" bIns="0">
            <a:spAutoFit/>
          </a:bodyPr>
          <a:lstStyle/>
          <a:p>
            <a:r>
              <a:rPr lang="en-ID" sz="1400" b="0" i="0" dirty="0">
                <a:solidFill>
                  <a:schemeClr val="bg1"/>
                </a:solidFill>
                <a:effectLst/>
              </a:rPr>
              <a:t>Lorem ipsum </a:t>
            </a:r>
            <a:r>
              <a:rPr lang="en-ID" sz="1400" b="0" i="0" dirty="0" err="1">
                <a:solidFill>
                  <a:schemeClr val="bg1"/>
                </a:solidFill>
                <a:effectLst/>
              </a:rPr>
              <a:t>dolor</a:t>
            </a:r>
            <a:r>
              <a:rPr lang="en-ID" sz="1400" b="0" i="0" dirty="0">
                <a:solidFill>
                  <a:schemeClr val="bg1"/>
                </a:solidFill>
                <a:effectLst/>
              </a:rPr>
              <a:t> sit </a:t>
            </a:r>
            <a:r>
              <a:rPr lang="en-ID" sz="1400" b="0" i="0" dirty="0" err="1">
                <a:solidFill>
                  <a:schemeClr val="bg1"/>
                </a:solidFill>
                <a:effectLst/>
              </a:rPr>
              <a:t>amet</a:t>
            </a:r>
            <a:r>
              <a:rPr lang="en-ID" sz="1400" b="0" i="0" dirty="0">
                <a:solidFill>
                  <a:schemeClr val="bg1"/>
                </a:solidFill>
                <a:effectLst/>
              </a:rPr>
              <a:t>, </a:t>
            </a:r>
            <a:r>
              <a:rPr lang="en-ID" sz="1400" b="0" i="0" dirty="0" err="1">
                <a:solidFill>
                  <a:schemeClr val="bg1"/>
                </a:solidFill>
                <a:effectLst/>
              </a:rPr>
              <a:t>consectetur</a:t>
            </a:r>
            <a:r>
              <a:rPr lang="en-ID" sz="1400" b="0" i="0" dirty="0">
                <a:solidFill>
                  <a:schemeClr val="bg1"/>
                </a:solidFill>
                <a:effectLst/>
              </a:rPr>
              <a:t> </a:t>
            </a:r>
            <a:r>
              <a:rPr lang="en-ID" sz="1400" b="0" i="0" dirty="0" err="1">
                <a:solidFill>
                  <a:schemeClr val="bg1"/>
                </a:solidFill>
                <a:effectLst/>
              </a:rPr>
              <a:t>adipiscing</a:t>
            </a:r>
            <a:r>
              <a:rPr lang="en-ID" sz="1400" b="0" i="0" dirty="0">
                <a:solidFill>
                  <a:schemeClr val="bg1"/>
                </a:solidFill>
                <a:effectLst/>
              </a:rPr>
              <a:t> </a:t>
            </a:r>
            <a:r>
              <a:rPr lang="en-ID" sz="1400" b="0" i="0" dirty="0" err="1">
                <a:solidFill>
                  <a:schemeClr val="bg1"/>
                </a:solidFill>
                <a:effectLst/>
              </a:rPr>
              <a:t>elit</a:t>
            </a:r>
            <a:r>
              <a:rPr lang="en-ID" sz="1400" b="0" i="0" dirty="0">
                <a:solidFill>
                  <a:schemeClr val="bg1"/>
                </a:solidFill>
                <a:effectLst/>
              </a:rPr>
              <a:t>, </a:t>
            </a:r>
            <a:r>
              <a:rPr lang="en-ID" sz="1400" b="0" i="0" dirty="0" err="1">
                <a:solidFill>
                  <a:schemeClr val="bg1"/>
                </a:solidFill>
                <a:effectLst/>
              </a:rPr>
              <a:t>sed</a:t>
            </a:r>
            <a:r>
              <a:rPr lang="en-ID" sz="1400" b="0" i="0" dirty="0">
                <a:solidFill>
                  <a:schemeClr val="bg1"/>
                </a:solidFill>
                <a:effectLst/>
              </a:rPr>
              <a:t> do </a:t>
            </a:r>
            <a:r>
              <a:rPr lang="en-ID" sz="1400" b="0" i="0" dirty="0" err="1">
                <a:solidFill>
                  <a:schemeClr val="bg1"/>
                </a:solidFill>
                <a:effectLst/>
              </a:rPr>
              <a:t>eiusmod</a:t>
            </a:r>
            <a:r>
              <a:rPr lang="en-ID" sz="1400" b="0" i="0" dirty="0">
                <a:solidFill>
                  <a:schemeClr val="bg1"/>
                </a:solidFill>
                <a:effectLst/>
              </a:rPr>
              <a:t> </a:t>
            </a:r>
            <a:r>
              <a:rPr lang="en-ID" sz="1400" b="0" i="0" dirty="0" err="1">
                <a:solidFill>
                  <a:schemeClr val="bg1"/>
                </a:solidFill>
                <a:effectLst/>
              </a:rPr>
              <a:t>tempor</a:t>
            </a:r>
            <a:r>
              <a:rPr lang="en-ID" sz="1400" b="0" i="0" dirty="0">
                <a:solidFill>
                  <a:schemeClr val="bg1"/>
                </a:solidFill>
                <a:effectLst/>
              </a:rPr>
              <a:t> </a:t>
            </a:r>
            <a:r>
              <a:rPr lang="en-ID" sz="1400" b="0" i="0" dirty="0" err="1">
                <a:solidFill>
                  <a:schemeClr val="bg1"/>
                </a:solidFill>
                <a:effectLst/>
              </a:rPr>
              <a:t>incididunt</a:t>
            </a:r>
            <a:r>
              <a:rPr lang="en-ID" sz="1400" b="0" i="0" dirty="0">
                <a:solidFill>
                  <a:schemeClr val="bg1"/>
                </a:solidFill>
                <a:effectLst/>
              </a:rPr>
              <a:t> </a:t>
            </a:r>
            <a:r>
              <a:rPr lang="en-ID" sz="1400" b="0" i="0" dirty="0" err="1">
                <a:solidFill>
                  <a:schemeClr val="bg1"/>
                </a:solidFill>
                <a:effectLst/>
              </a:rPr>
              <a:t>ut</a:t>
            </a:r>
            <a:r>
              <a:rPr lang="en-ID" sz="1400" b="0" i="0" dirty="0">
                <a:solidFill>
                  <a:schemeClr val="bg1"/>
                </a:solidFill>
                <a:effectLst/>
              </a:rPr>
              <a:t> </a:t>
            </a:r>
            <a:r>
              <a:rPr lang="en-ID" sz="1400" b="0" i="0" dirty="0" err="1">
                <a:solidFill>
                  <a:schemeClr val="bg1"/>
                </a:solidFill>
                <a:effectLst/>
              </a:rPr>
              <a:t>labore</a:t>
            </a:r>
            <a:r>
              <a:rPr lang="en-ID" sz="1400" b="0" i="0" dirty="0">
                <a:solidFill>
                  <a:schemeClr val="bg1"/>
                </a:solidFill>
                <a:effectLst/>
              </a:rPr>
              <a:t> et dolore magna </a:t>
            </a:r>
            <a:r>
              <a:rPr lang="en-ID" sz="1400" b="0" i="0" dirty="0" err="1">
                <a:solidFill>
                  <a:schemeClr val="bg1"/>
                </a:solidFill>
                <a:effectLst/>
              </a:rPr>
              <a:t>aliqua</a:t>
            </a:r>
            <a:r>
              <a:rPr lang="en-ID" sz="1400" b="0" i="0" dirty="0">
                <a:solidFill>
                  <a:schemeClr val="bg1"/>
                </a:solidFill>
                <a:effectLst/>
              </a:rPr>
              <a:t>. </a:t>
            </a:r>
          </a:p>
        </p:txBody>
      </p:sp>
      <p:sp>
        <p:nvSpPr>
          <p:cNvPr id="42" name="TextBox 41">
            <a:extLst>
              <a:ext uri="{FF2B5EF4-FFF2-40B4-BE49-F238E27FC236}">
                <a16:creationId xmlns:a16="http://schemas.microsoft.com/office/drawing/2014/main" id="{215D1E30-882F-4190-AB75-CAC23375E66F}"/>
              </a:ext>
            </a:extLst>
          </p:cNvPr>
          <p:cNvSpPr txBox="1"/>
          <p:nvPr/>
        </p:nvSpPr>
        <p:spPr>
          <a:xfrm>
            <a:off x="7737662" y="5143158"/>
            <a:ext cx="3749487" cy="246221"/>
          </a:xfrm>
          <a:prstGeom prst="rect">
            <a:avLst/>
          </a:prstGeom>
          <a:noFill/>
        </p:spPr>
        <p:txBody>
          <a:bodyPr wrap="square" lIns="0" tIns="0" rIns="0" bIns="0">
            <a:spAutoFit/>
          </a:bodyPr>
          <a:lstStyle/>
          <a:p>
            <a:r>
              <a:rPr lang="en-ID" sz="1600" b="1" i="0" dirty="0">
                <a:solidFill>
                  <a:schemeClr val="bg1"/>
                </a:solidFill>
                <a:effectLst/>
                <a:latin typeface="+mj-lt"/>
              </a:rPr>
              <a:t>Lorem </a:t>
            </a:r>
            <a:r>
              <a:rPr lang="en-ID" sz="1600" b="1" dirty="0">
                <a:solidFill>
                  <a:schemeClr val="bg1"/>
                </a:solidFill>
                <a:latin typeface="+mj-lt"/>
              </a:rPr>
              <a:t>Ipsum </a:t>
            </a:r>
            <a:r>
              <a:rPr lang="en-ID" sz="1600" b="1" dirty="0" err="1">
                <a:solidFill>
                  <a:schemeClr val="bg1"/>
                </a:solidFill>
                <a:latin typeface="+mj-lt"/>
              </a:rPr>
              <a:t>Dolor</a:t>
            </a:r>
            <a:endParaRPr lang="en-ID" sz="1600" b="1" dirty="0">
              <a:solidFill>
                <a:schemeClr val="bg1"/>
              </a:solidFill>
              <a:latin typeface="+mj-lt"/>
            </a:endParaRPr>
          </a:p>
        </p:txBody>
      </p:sp>
      <p:pic>
        <p:nvPicPr>
          <p:cNvPr id="45" name="Picture 44" descr="A person in a suit and tie&#10;&#10;Description automatically generated">
            <a:extLst>
              <a:ext uri="{FF2B5EF4-FFF2-40B4-BE49-F238E27FC236}">
                <a16:creationId xmlns:a16="http://schemas.microsoft.com/office/drawing/2014/main" id="{4A798ECF-CBBC-4DA7-A9F8-C73725E50C4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062" t="10612" r="22001" b="52939"/>
          <a:stretch/>
        </p:blipFill>
        <p:spPr>
          <a:xfrm>
            <a:off x="704850" y="1624012"/>
            <a:ext cx="1123950" cy="1281923"/>
          </a:xfrm>
          <a:custGeom>
            <a:avLst/>
            <a:gdLst>
              <a:gd name="connsiteX0" fmla="*/ 0 w 1123950"/>
              <a:gd name="connsiteY0" fmla="*/ 0 h 1281923"/>
              <a:gd name="connsiteX1" fmla="*/ 936621 w 1123950"/>
              <a:gd name="connsiteY1" fmla="*/ 0 h 1281923"/>
              <a:gd name="connsiteX2" fmla="*/ 1123950 w 1123950"/>
              <a:gd name="connsiteY2" fmla="*/ 187329 h 1281923"/>
              <a:gd name="connsiteX3" fmla="*/ 1123950 w 1123950"/>
              <a:gd name="connsiteY3" fmla="*/ 1281923 h 1281923"/>
              <a:gd name="connsiteX4" fmla="*/ 0 w 1123950"/>
              <a:gd name="connsiteY4" fmla="*/ 1281923 h 128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1281923">
                <a:moveTo>
                  <a:pt x="0" y="0"/>
                </a:moveTo>
                <a:lnTo>
                  <a:pt x="936621" y="0"/>
                </a:lnTo>
                <a:lnTo>
                  <a:pt x="1123950" y="187329"/>
                </a:lnTo>
                <a:lnTo>
                  <a:pt x="1123950" y="1281923"/>
                </a:lnTo>
                <a:lnTo>
                  <a:pt x="0" y="1281923"/>
                </a:lnTo>
                <a:close/>
              </a:path>
            </a:pathLst>
          </a:custGeom>
        </p:spPr>
      </p:pic>
      <p:pic>
        <p:nvPicPr>
          <p:cNvPr id="48" name="Picture 47" descr="A person wearing glasses&#10;&#10;Description automatically generated with medium confidence">
            <a:extLst>
              <a:ext uri="{FF2B5EF4-FFF2-40B4-BE49-F238E27FC236}">
                <a16:creationId xmlns:a16="http://schemas.microsoft.com/office/drawing/2014/main" id="{81CA1BBB-D20C-46A7-AADD-66A672E54D5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007" t="642" r="10065" b="36302"/>
          <a:stretch/>
        </p:blipFill>
        <p:spPr>
          <a:xfrm>
            <a:off x="704850" y="3217863"/>
            <a:ext cx="1123950" cy="1281923"/>
          </a:xfrm>
          <a:custGeom>
            <a:avLst/>
            <a:gdLst>
              <a:gd name="connsiteX0" fmla="*/ 0 w 1123950"/>
              <a:gd name="connsiteY0" fmla="*/ 0 h 1281923"/>
              <a:gd name="connsiteX1" fmla="*/ 936621 w 1123950"/>
              <a:gd name="connsiteY1" fmla="*/ 0 h 1281923"/>
              <a:gd name="connsiteX2" fmla="*/ 1123950 w 1123950"/>
              <a:gd name="connsiteY2" fmla="*/ 187329 h 1281923"/>
              <a:gd name="connsiteX3" fmla="*/ 1123950 w 1123950"/>
              <a:gd name="connsiteY3" fmla="*/ 1281923 h 1281923"/>
              <a:gd name="connsiteX4" fmla="*/ 0 w 1123950"/>
              <a:gd name="connsiteY4" fmla="*/ 1281923 h 128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1281923">
                <a:moveTo>
                  <a:pt x="0" y="0"/>
                </a:moveTo>
                <a:lnTo>
                  <a:pt x="936621" y="0"/>
                </a:lnTo>
                <a:lnTo>
                  <a:pt x="1123950" y="187329"/>
                </a:lnTo>
                <a:lnTo>
                  <a:pt x="1123950" y="1281923"/>
                </a:lnTo>
                <a:lnTo>
                  <a:pt x="0" y="1281923"/>
                </a:lnTo>
                <a:close/>
              </a:path>
            </a:pathLst>
          </a:custGeom>
        </p:spPr>
      </p:pic>
      <p:pic>
        <p:nvPicPr>
          <p:cNvPr id="51" name="Picture 50" descr="A person sitting on a bench&#10;&#10;Description automatically generated with medium confidence">
            <a:extLst>
              <a:ext uri="{FF2B5EF4-FFF2-40B4-BE49-F238E27FC236}">
                <a16:creationId xmlns:a16="http://schemas.microsoft.com/office/drawing/2014/main" id="{79BF4DC7-4684-48DF-AE5B-BE89D79A8CB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2960" t="18996" r="38849" b="49884"/>
          <a:stretch/>
        </p:blipFill>
        <p:spPr>
          <a:xfrm>
            <a:off x="704850" y="4811713"/>
            <a:ext cx="1123950" cy="1281923"/>
          </a:xfrm>
          <a:custGeom>
            <a:avLst/>
            <a:gdLst>
              <a:gd name="connsiteX0" fmla="*/ 0 w 1123950"/>
              <a:gd name="connsiteY0" fmla="*/ 0 h 1281923"/>
              <a:gd name="connsiteX1" fmla="*/ 936621 w 1123950"/>
              <a:gd name="connsiteY1" fmla="*/ 0 h 1281923"/>
              <a:gd name="connsiteX2" fmla="*/ 1123950 w 1123950"/>
              <a:gd name="connsiteY2" fmla="*/ 187329 h 1281923"/>
              <a:gd name="connsiteX3" fmla="*/ 1123950 w 1123950"/>
              <a:gd name="connsiteY3" fmla="*/ 1281923 h 1281923"/>
              <a:gd name="connsiteX4" fmla="*/ 0 w 1123950"/>
              <a:gd name="connsiteY4" fmla="*/ 1281923 h 128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1281923">
                <a:moveTo>
                  <a:pt x="0" y="0"/>
                </a:moveTo>
                <a:lnTo>
                  <a:pt x="936621" y="0"/>
                </a:lnTo>
                <a:lnTo>
                  <a:pt x="1123950" y="187329"/>
                </a:lnTo>
                <a:lnTo>
                  <a:pt x="1123950" y="1281923"/>
                </a:lnTo>
                <a:lnTo>
                  <a:pt x="0" y="1281923"/>
                </a:lnTo>
                <a:close/>
              </a:path>
            </a:pathLst>
          </a:custGeom>
        </p:spPr>
      </p:pic>
      <p:pic>
        <p:nvPicPr>
          <p:cNvPr id="54" name="Picture 53" descr="A person in a white dress holding flowers&#10;&#10;Description automatically generated with low confidence">
            <a:extLst>
              <a:ext uri="{FF2B5EF4-FFF2-40B4-BE49-F238E27FC236}">
                <a16:creationId xmlns:a16="http://schemas.microsoft.com/office/drawing/2014/main" id="{9EAF1192-D1BE-49C9-9DA5-B09ADBA4910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504" t="8417" r="50000" b="59941"/>
          <a:stretch/>
        </p:blipFill>
        <p:spPr>
          <a:xfrm>
            <a:off x="6400800" y="1624012"/>
            <a:ext cx="1123950" cy="1281923"/>
          </a:xfrm>
          <a:custGeom>
            <a:avLst/>
            <a:gdLst>
              <a:gd name="connsiteX0" fmla="*/ 0 w 1123950"/>
              <a:gd name="connsiteY0" fmla="*/ 0 h 1281923"/>
              <a:gd name="connsiteX1" fmla="*/ 936621 w 1123950"/>
              <a:gd name="connsiteY1" fmla="*/ 0 h 1281923"/>
              <a:gd name="connsiteX2" fmla="*/ 1123950 w 1123950"/>
              <a:gd name="connsiteY2" fmla="*/ 187329 h 1281923"/>
              <a:gd name="connsiteX3" fmla="*/ 1123950 w 1123950"/>
              <a:gd name="connsiteY3" fmla="*/ 1281923 h 1281923"/>
              <a:gd name="connsiteX4" fmla="*/ 0 w 1123950"/>
              <a:gd name="connsiteY4" fmla="*/ 1281923 h 128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1281923">
                <a:moveTo>
                  <a:pt x="0" y="0"/>
                </a:moveTo>
                <a:lnTo>
                  <a:pt x="936621" y="0"/>
                </a:lnTo>
                <a:lnTo>
                  <a:pt x="1123950" y="187329"/>
                </a:lnTo>
                <a:lnTo>
                  <a:pt x="1123950" y="1281923"/>
                </a:lnTo>
                <a:lnTo>
                  <a:pt x="0" y="1281923"/>
                </a:lnTo>
                <a:close/>
              </a:path>
            </a:pathLst>
          </a:custGeom>
        </p:spPr>
      </p:pic>
      <p:pic>
        <p:nvPicPr>
          <p:cNvPr id="57" name="Picture 56" descr="A person sitting on a bench&#10;&#10;Description automatically generated with low confidence">
            <a:extLst>
              <a:ext uri="{FF2B5EF4-FFF2-40B4-BE49-F238E27FC236}">
                <a16:creationId xmlns:a16="http://schemas.microsoft.com/office/drawing/2014/main" id="{AE26418A-98F1-4C53-B96D-480D126612B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3416" t="25751" r="32194" b="48101"/>
          <a:stretch/>
        </p:blipFill>
        <p:spPr>
          <a:xfrm>
            <a:off x="6400800" y="3217863"/>
            <a:ext cx="1123950" cy="1281923"/>
          </a:xfrm>
          <a:custGeom>
            <a:avLst/>
            <a:gdLst>
              <a:gd name="connsiteX0" fmla="*/ 0 w 1123950"/>
              <a:gd name="connsiteY0" fmla="*/ 0 h 1281923"/>
              <a:gd name="connsiteX1" fmla="*/ 936621 w 1123950"/>
              <a:gd name="connsiteY1" fmla="*/ 0 h 1281923"/>
              <a:gd name="connsiteX2" fmla="*/ 1123950 w 1123950"/>
              <a:gd name="connsiteY2" fmla="*/ 187329 h 1281923"/>
              <a:gd name="connsiteX3" fmla="*/ 1123950 w 1123950"/>
              <a:gd name="connsiteY3" fmla="*/ 1281923 h 1281923"/>
              <a:gd name="connsiteX4" fmla="*/ 0 w 1123950"/>
              <a:gd name="connsiteY4" fmla="*/ 1281923 h 128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1281923">
                <a:moveTo>
                  <a:pt x="0" y="0"/>
                </a:moveTo>
                <a:lnTo>
                  <a:pt x="936621" y="0"/>
                </a:lnTo>
                <a:lnTo>
                  <a:pt x="1123950" y="187329"/>
                </a:lnTo>
                <a:lnTo>
                  <a:pt x="1123950" y="1281923"/>
                </a:lnTo>
                <a:lnTo>
                  <a:pt x="0" y="1281923"/>
                </a:lnTo>
                <a:close/>
              </a:path>
            </a:pathLst>
          </a:custGeom>
        </p:spPr>
      </p:pic>
      <p:pic>
        <p:nvPicPr>
          <p:cNvPr id="60" name="Picture 59" descr="A person smiling at the camera&#10;&#10;Description automatically generated with low confidence">
            <a:extLst>
              <a:ext uri="{FF2B5EF4-FFF2-40B4-BE49-F238E27FC236}">
                <a16:creationId xmlns:a16="http://schemas.microsoft.com/office/drawing/2014/main" id="{FFDF99BB-DBEB-4FAE-998C-D0526B3AFB0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2940" t="12518" r="20785" b="52248"/>
          <a:stretch/>
        </p:blipFill>
        <p:spPr>
          <a:xfrm>
            <a:off x="6400800" y="4811713"/>
            <a:ext cx="1123950" cy="1281923"/>
          </a:xfrm>
          <a:custGeom>
            <a:avLst/>
            <a:gdLst>
              <a:gd name="connsiteX0" fmla="*/ 0 w 1123950"/>
              <a:gd name="connsiteY0" fmla="*/ 0 h 1281923"/>
              <a:gd name="connsiteX1" fmla="*/ 936621 w 1123950"/>
              <a:gd name="connsiteY1" fmla="*/ 0 h 1281923"/>
              <a:gd name="connsiteX2" fmla="*/ 1123950 w 1123950"/>
              <a:gd name="connsiteY2" fmla="*/ 187329 h 1281923"/>
              <a:gd name="connsiteX3" fmla="*/ 1123950 w 1123950"/>
              <a:gd name="connsiteY3" fmla="*/ 1281923 h 1281923"/>
              <a:gd name="connsiteX4" fmla="*/ 0 w 1123950"/>
              <a:gd name="connsiteY4" fmla="*/ 1281923 h 128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950" h="1281923">
                <a:moveTo>
                  <a:pt x="0" y="0"/>
                </a:moveTo>
                <a:lnTo>
                  <a:pt x="936621" y="0"/>
                </a:lnTo>
                <a:lnTo>
                  <a:pt x="1123950" y="187329"/>
                </a:lnTo>
                <a:lnTo>
                  <a:pt x="1123950" y="1281923"/>
                </a:lnTo>
                <a:lnTo>
                  <a:pt x="0" y="1281923"/>
                </a:lnTo>
                <a:close/>
              </a:path>
            </a:pathLst>
          </a:custGeom>
        </p:spPr>
      </p:pic>
    </p:spTree>
    <p:extLst>
      <p:ext uri="{BB962C8B-B14F-4D97-AF65-F5344CB8AC3E}">
        <p14:creationId xmlns:p14="http://schemas.microsoft.com/office/powerpoint/2010/main" val="1938826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person, person&#10;&#10;Description automatically generated">
            <a:extLst>
              <a:ext uri="{FF2B5EF4-FFF2-40B4-BE49-F238E27FC236}">
                <a16:creationId xmlns:a16="http://schemas.microsoft.com/office/drawing/2014/main" id="{4B55AEB8-4FAD-4EAF-910E-0858887A3B38}"/>
              </a:ext>
            </a:extLst>
          </p:cNvPr>
          <p:cNvPicPr>
            <a:picLocks noChangeAspect="1"/>
          </p:cNvPicPr>
          <p:nvPr/>
        </p:nvPicPr>
        <p:blipFill rotWithShape="1">
          <a:blip r:embed="rId3">
            <a:extLst>
              <a:ext uri="{28A0092B-C50C-407E-A947-70E740481C1C}">
                <a14:useLocalDpi xmlns:a14="http://schemas.microsoft.com/office/drawing/2010/main" val="0"/>
              </a:ext>
            </a:extLst>
          </a:blip>
          <a:srcRect t="7812" b="7812"/>
          <a:stretch/>
        </p:blipFill>
        <p:spPr>
          <a:xfrm flipH="1">
            <a:off x="0" y="0"/>
            <a:ext cx="12192000" cy="6858000"/>
          </a:xfrm>
          <a:prstGeom prst="rect">
            <a:avLst/>
          </a:prstGeom>
        </p:spPr>
      </p:pic>
      <p:sp>
        <p:nvSpPr>
          <p:cNvPr id="4" name="Freeform: Shape 3">
            <a:extLst>
              <a:ext uri="{FF2B5EF4-FFF2-40B4-BE49-F238E27FC236}">
                <a16:creationId xmlns:a16="http://schemas.microsoft.com/office/drawing/2014/main" id="{2B05EEC7-94D9-4ADB-85A2-CC755018FD74}"/>
              </a:ext>
            </a:extLst>
          </p:cNvPr>
          <p:cNvSpPr/>
          <p:nvPr/>
        </p:nvSpPr>
        <p:spPr>
          <a:xfrm>
            <a:off x="5743575" y="0"/>
            <a:ext cx="6448425" cy="6858000"/>
          </a:xfrm>
          <a:custGeom>
            <a:avLst/>
            <a:gdLst>
              <a:gd name="connsiteX0" fmla="*/ 6448425 w 6448425"/>
              <a:gd name="connsiteY0" fmla="*/ 0 h 6858000"/>
              <a:gd name="connsiteX1" fmla="*/ 3747417 w 6448425"/>
              <a:gd name="connsiteY1" fmla="*/ 0 h 6858000"/>
              <a:gd name="connsiteX2" fmla="*/ 0 w 6448425"/>
              <a:gd name="connsiteY2" fmla="*/ 6858000 h 6858000"/>
              <a:gd name="connsiteX3" fmla="*/ 6448425 w 64484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48425" h="6858000">
                <a:moveTo>
                  <a:pt x="6448425" y="0"/>
                </a:moveTo>
                <a:lnTo>
                  <a:pt x="3747417" y="0"/>
                </a:lnTo>
                <a:lnTo>
                  <a:pt x="0" y="6858000"/>
                </a:lnTo>
                <a:lnTo>
                  <a:pt x="6448425" y="6858000"/>
                </a:lnTo>
                <a:close/>
              </a:path>
            </a:pathLst>
          </a:cu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5" name="Title 1">
            <a:extLst>
              <a:ext uri="{FF2B5EF4-FFF2-40B4-BE49-F238E27FC236}">
                <a16:creationId xmlns:a16="http://schemas.microsoft.com/office/drawing/2014/main" id="{B7BD570A-0594-4F51-AE88-7009F329B8CE}"/>
              </a:ext>
            </a:extLst>
          </p:cNvPr>
          <p:cNvSpPr txBox="1">
            <a:spLocks/>
          </p:cNvSpPr>
          <p:nvPr/>
        </p:nvSpPr>
        <p:spPr>
          <a:xfrm>
            <a:off x="9042401" y="2431548"/>
            <a:ext cx="2616200" cy="498598"/>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gn="r"/>
            <a:r>
              <a:rPr lang="en-US" sz="3600" dirty="0">
                <a:solidFill>
                  <a:schemeClr val="bg1"/>
                </a:solidFill>
              </a:rPr>
              <a:t>Contact Us</a:t>
            </a:r>
          </a:p>
        </p:txBody>
      </p:sp>
      <p:cxnSp>
        <p:nvCxnSpPr>
          <p:cNvPr id="6" name="Straight Connector 5">
            <a:extLst>
              <a:ext uri="{FF2B5EF4-FFF2-40B4-BE49-F238E27FC236}">
                <a16:creationId xmlns:a16="http://schemas.microsoft.com/office/drawing/2014/main" id="{871E6885-2052-40DA-9FF9-97B90F411DE0}"/>
              </a:ext>
            </a:extLst>
          </p:cNvPr>
          <p:cNvCxnSpPr>
            <a:cxnSpLocks/>
          </p:cNvCxnSpPr>
          <p:nvPr/>
        </p:nvCxnSpPr>
        <p:spPr>
          <a:xfrm flipH="1">
            <a:off x="11088101" y="5804935"/>
            <a:ext cx="570499" cy="105306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DBD8F95-8CED-42B1-B3C4-D061517A79C1}"/>
              </a:ext>
            </a:extLst>
          </p:cNvPr>
          <p:cNvGrpSpPr/>
          <p:nvPr/>
        </p:nvGrpSpPr>
        <p:grpSpPr>
          <a:xfrm>
            <a:off x="10763250" y="1166812"/>
            <a:ext cx="895350" cy="895350"/>
            <a:chOff x="3390900" y="2886076"/>
            <a:chExt cx="361950" cy="361950"/>
          </a:xfrm>
          <a:solidFill>
            <a:schemeClr val="bg1"/>
          </a:solidFill>
        </p:grpSpPr>
        <p:sp>
          <p:nvSpPr>
            <p:cNvPr id="9" name="Freeform 5">
              <a:extLst>
                <a:ext uri="{FF2B5EF4-FFF2-40B4-BE49-F238E27FC236}">
                  <a16:creationId xmlns:a16="http://schemas.microsoft.com/office/drawing/2014/main" id="{67606560-6948-4D29-99C8-3BCE0AC3B2AD}"/>
                </a:ext>
              </a:extLst>
            </p:cNvPr>
            <p:cNvSpPr>
              <a:spLocks/>
            </p:cNvSpPr>
            <p:nvPr/>
          </p:nvSpPr>
          <p:spPr bwMode="auto">
            <a:xfrm>
              <a:off x="3486150" y="2984501"/>
              <a:ext cx="168275" cy="166688"/>
            </a:xfrm>
            <a:custGeom>
              <a:avLst/>
              <a:gdLst>
                <a:gd name="T0" fmla="*/ 45 w 45"/>
                <a:gd name="T1" fmla="*/ 36 h 44"/>
                <a:gd name="T2" fmla="*/ 44 w 45"/>
                <a:gd name="T3" fmla="*/ 34 h 44"/>
                <a:gd name="T4" fmla="*/ 39 w 45"/>
                <a:gd name="T5" fmla="*/ 29 h 44"/>
                <a:gd name="T6" fmla="*/ 37 w 45"/>
                <a:gd name="T7" fmla="*/ 28 h 44"/>
                <a:gd name="T8" fmla="*/ 34 w 45"/>
                <a:gd name="T9" fmla="*/ 29 h 44"/>
                <a:gd name="T10" fmla="*/ 32 w 45"/>
                <a:gd name="T11" fmla="*/ 31 h 44"/>
                <a:gd name="T12" fmla="*/ 30 w 45"/>
                <a:gd name="T13" fmla="*/ 31 h 44"/>
                <a:gd name="T14" fmla="*/ 13 w 45"/>
                <a:gd name="T15" fmla="*/ 15 h 44"/>
                <a:gd name="T16" fmla="*/ 14 w 45"/>
                <a:gd name="T17" fmla="*/ 12 h 44"/>
                <a:gd name="T18" fmla="*/ 16 w 45"/>
                <a:gd name="T19" fmla="*/ 11 h 44"/>
                <a:gd name="T20" fmla="*/ 17 w 45"/>
                <a:gd name="T21" fmla="*/ 8 h 44"/>
                <a:gd name="T22" fmla="*/ 16 w 45"/>
                <a:gd name="T23" fmla="*/ 6 h 44"/>
                <a:gd name="T24" fmla="*/ 11 w 45"/>
                <a:gd name="T25" fmla="*/ 1 h 44"/>
                <a:gd name="T26" fmla="*/ 9 w 45"/>
                <a:gd name="T27" fmla="*/ 0 h 44"/>
                <a:gd name="T28" fmla="*/ 6 w 45"/>
                <a:gd name="T29" fmla="*/ 1 h 44"/>
                <a:gd name="T30" fmla="*/ 3 w 45"/>
                <a:gd name="T31" fmla="*/ 4 h 44"/>
                <a:gd name="T32" fmla="*/ 2 w 45"/>
                <a:gd name="T33" fmla="*/ 12 h 44"/>
                <a:gd name="T34" fmla="*/ 33 w 45"/>
                <a:gd name="T35" fmla="*/ 43 h 44"/>
                <a:gd name="T36" fmla="*/ 41 w 45"/>
                <a:gd name="T37" fmla="*/ 42 h 44"/>
                <a:gd name="T38" fmla="*/ 42 w 45"/>
                <a:gd name="T39" fmla="*/ 41 h 44"/>
                <a:gd name="T40" fmla="*/ 42 w 45"/>
                <a:gd name="T41" fmla="*/ 41 h 44"/>
                <a:gd name="T42" fmla="*/ 42 w 45"/>
                <a:gd name="T43" fmla="*/ 41 h 44"/>
                <a:gd name="T44" fmla="*/ 44 w 45"/>
                <a:gd name="T45" fmla="*/ 39 h 44"/>
                <a:gd name="T46" fmla="*/ 45 w 45"/>
                <a:gd name="T47"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44">
                  <a:moveTo>
                    <a:pt x="45" y="36"/>
                  </a:moveTo>
                  <a:cubicBezTo>
                    <a:pt x="45" y="35"/>
                    <a:pt x="45" y="35"/>
                    <a:pt x="44" y="34"/>
                  </a:cubicBezTo>
                  <a:cubicBezTo>
                    <a:pt x="39" y="29"/>
                    <a:pt x="39" y="29"/>
                    <a:pt x="39" y="29"/>
                  </a:cubicBezTo>
                  <a:cubicBezTo>
                    <a:pt x="38" y="28"/>
                    <a:pt x="38" y="28"/>
                    <a:pt x="37" y="28"/>
                  </a:cubicBezTo>
                  <a:cubicBezTo>
                    <a:pt x="36" y="28"/>
                    <a:pt x="35" y="29"/>
                    <a:pt x="34" y="29"/>
                  </a:cubicBezTo>
                  <a:cubicBezTo>
                    <a:pt x="32" y="31"/>
                    <a:pt x="32" y="31"/>
                    <a:pt x="32" y="31"/>
                  </a:cubicBezTo>
                  <a:cubicBezTo>
                    <a:pt x="32" y="32"/>
                    <a:pt x="31" y="32"/>
                    <a:pt x="30" y="31"/>
                  </a:cubicBezTo>
                  <a:cubicBezTo>
                    <a:pt x="24" y="27"/>
                    <a:pt x="18" y="21"/>
                    <a:pt x="13" y="15"/>
                  </a:cubicBezTo>
                  <a:cubicBezTo>
                    <a:pt x="13" y="14"/>
                    <a:pt x="13" y="13"/>
                    <a:pt x="14" y="12"/>
                  </a:cubicBezTo>
                  <a:cubicBezTo>
                    <a:pt x="16" y="11"/>
                    <a:pt x="16" y="11"/>
                    <a:pt x="16" y="11"/>
                  </a:cubicBezTo>
                  <a:cubicBezTo>
                    <a:pt x="16" y="10"/>
                    <a:pt x="17" y="9"/>
                    <a:pt x="17" y="8"/>
                  </a:cubicBezTo>
                  <a:cubicBezTo>
                    <a:pt x="17" y="7"/>
                    <a:pt x="16" y="6"/>
                    <a:pt x="16" y="6"/>
                  </a:cubicBezTo>
                  <a:cubicBezTo>
                    <a:pt x="11" y="1"/>
                    <a:pt x="11" y="1"/>
                    <a:pt x="11" y="1"/>
                  </a:cubicBezTo>
                  <a:cubicBezTo>
                    <a:pt x="10" y="0"/>
                    <a:pt x="9" y="0"/>
                    <a:pt x="9" y="0"/>
                  </a:cubicBezTo>
                  <a:cubicBezTo>
                    <a:pt x="8" y="0"/>
                    <a:pt x="7" y="0"/>
                    <a:pt x="6" y="1"/>
                  </a:cubicBezTo>
                  <a:cubicBezTo>
                    <a:pt x="3" y="4"/>
                    <a:pt x="3" y="4"/>
                    <a:pt x="3" y="4"/>
                  </a:cubicBezTo>
                  <a:cubicBezTo>
                    <a:pt x="1" y="6"/>
                    <a:pt x="0" y="10"/>
                    <a:pt x="2" y="12"/>
                  </a:cubicBezTo>
                  <a:cubicBezTo>
                    <a:pt x="10" y="24"/>
                    <a:pt x="21" y="35"/>
                    <a:pt x="33" y="43"/>
                  </a:cubicBezTo>
                  <a:cubicBezTo>
                    <a:pt x="35" y="44"/>
                    <a:pt x="39" y="44"/>
                    <a:pt x="41" y="42"/>
                  </a:cubicBezTo>
                  <a:cubicBezTo>
                    <a:pt x="42" y="41"/>
                    <a:pt x="42" y="41"/>
                    <a:pt x="42" y="41"/>
                  </a:cubicBezTo>
                  <a:cubicBezTo>
                    <a:pt x="42" y="41"/>
                    <a:pt x="42" y="41"/>
                    <a:pt x="42" y="41"/>
                  </a:cubicBezTo>
                  <a:cubicBezTo>
                    <a:pt x="42" y="41"/>
                    <a:pt x="42" y="41"/>
                    <a:pt x="42" y="41"/>
                  </a:cubicBezTo>
                  <a:cubicBezTo>
                    <a:pt x="44" y="39"/>
                    <a:pt x="44" y="39"/>
                    <a:pt x="44" y="39"/>
                  </a:cubicBezTo>
                  <a:cubicBezTo>
                    <a:pt x="44" y="38"/>
                    <a:pt x="45" y="37"/>
                    <a:pt x="45"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6">
              <a:extLst>
                <a:ext uri="{FF2B5EF4-FFF2-40B4-BE49-F238E27FC236}">
                  <a16:creationId xmlns:a16="http://schemas.microsoft.com/office/drawing/2014/main" id="{B76BFFCF-92F9-4DD0-8045-9A1359347698}"/>
                </a:ext>
              </a:extLst>
            </p:cNvPr>
            <p:cNvSpPr>
              <a:spLocks noEditPoints="1"/>
            </p:cNvSpPr>
            <p:nvPr/>
          </p:nvSpPr>
          <p:spPr bwMode="auto">
            <a:xfrm>
              <a:off x="3390900" y="2886076"/>
              <a:ext cx="361950" cy="36195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82 w 96"/>
                <a:gd name="T11" fmla="*/ 71 h 96"/>
                <a:gd name="T12" fmla="*/ 79 w 96"/>
                <a:gd name="T13" fmla="*/ 72 h 96"/>
                <a:gd name="T14" fmla="*/ 78 w 96"/>
                <a:gd name="T15" fmla="*/ 69 h 96"/>
                <a:gd name="T16" fmla="*/ 85 w 96"/>
                <a:gd name="T17" fmla="*/ 48 h 96"/>
                <a:gd name="T18" fmla="*/ 48 w 96"/>
                <a:gd name="T19" fmla="*/ 11 h 96"/>
                <a:gd name="T20" fmla="*/ 11 w 96"/>
                <a:gd name="T21" fmla="*/ 48 h 96"/>
                <a:gd name="T22" fmla="*/ 48 w 96"/>
                <a:gd name="T23" fmla="*/ 85 h 96"/>
                <a:gd name="T24" fmla="*/ 66 w 96"/>
                <a:gd name="T25" fmla="*/ 78 h 96"/>
                <a:gd name="T26" fmla="*/ 67 w 96"/>
                <a:gd name="T27" fmla="*/ 72 h 96"/>
                <a:gd name="T28" fmla="*/ 61 w 96"/>
                <a:gd name="T29" fmla="*/ 74 h 96"/>
                <a:gd name="T30" fmla="*/ 56 w 96"/>
                <a:gd name="T31" fmla="*/ 73 h 96"/>
                <a:gd name="T32" fmla="*/ 23 w 96"/>
                <a:gd name="T33" fmla="*/ 40 h 96"/>
                <a:gd name="T34" fmla="*/ 25 w 96"/>
                <a:gd name="T35" fmla="*/ 27 h 96"/>
                <a:gd name="T36" fmla="*/ 28 w 96"/>
                <a:gd name="T37" fmla="*/ 24 h 96"/>
                <a:gd name="T38" fmla="*/ 39 w 96"/>
                <a:gd name="T39" fmla="*/ 24 h 96"/>
                <a:gd name="T40" fmla="*/ 44 w 96"/>
                <a:gd name="T41" fmla="*/ 29 h 96"/>
                <a:gd name="T42" fmla="*/ 46 w 96"/>
                <a:gd name="T43" fmla="*/ 34 h 96"/>
                <a:gd name="T44" fmla="*/ 43 w 96"/>
                <a:gd name="T45" fmla="*/ 39 h 96"/>
                <a:gd name="T46" fmla="*/ 43 w 96"/>
                <a:gd name="T47" fmla="*/ 40 h 96"/>
                <a:gd name="T48" fmla="*/ 56 w 96"/>
                <a:gd name="T49" fmla="*/ 53 h 96"/>
                <a:gd name="T50" fmla="*/ 57 w 96"/>
                <a:gd name="T51" fmla="*/ 53 h 96"/>
                <a:gd name="T52" fmla="*/ 67 w 96"/>
                <a:gd name="T53" fmla="*/ 52 h 96"/>
                <a:gd name="T54" fmla="*/ 72 w 96"/>
                <a:gd name="T55" fmla="*/ 57 h 96"/>
                <a:gd name="T56" fmla="*/ 74 w 96"/>
                <a:gd name="T57" fmla="*/ 62 h 96"/>
                <a:gd name="T58" fmla="*/ 72 w 96"/>
                <a:gd name="T59" fmla="*/ 68 h 96"/>
                <a:gd name="T60" fmla="*/ 71 w 96"/>
                <a:gd name="T61" fmla="*/ 69 h 96"/>
                <a:gd name="T62" fmla="*/ 70 w 96"/>
                <a:gd name="T63" fmla="*/ 78 h 96"/>
                <a:gd name="T64" fmla="*/ 48 w 96"/>
                <a:gd name="T65" fmla="*/ 89 h 96"/>
                <a:gd name="T66" fmla="*/ 7 w 96"/>
                <a:gd name="T67" fmla="*/ 48 h 96"/>
                <a:gd name="T68" fmla="*/ 48 w 96"/>
                <a:gd name="T69" fmla="*/ 7 h 96"/>
                <a:gd name="T70" fmla="*/ 89 w 96"/>
                <a:gd name="T71" fmla="*/ 48 h 96"/>
                <a:gd name="T72" fmla="*/ 82 w 96"/>
                <a:gd name="T73"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82" y="71"/>
                  </a:moveTo>
                  <a:cubicBezTo>
                    <a:pt x="81" y="72"/>
                    <a:pt x="80" y="72"/>
                    <a:pt x="79" y="72"/>
                  </a:cubicBezTo>
                  <a:cubicBezTo>
                    <a:pt x="78" y="71"/>
                    <a:pt x="78" y="70"/>
                    <a:pt x="78" y="69"/>
                  </a:cubicBezTo>
                  <a:cubicBezTo>
                    <a:pt x="83" y="63"/>
                    <a:pt x="85" y="55"/>
                    <a:pt x="85" y="48"/>
                  </a:cubicBezTo>
                  <a:cubicBezTo>
                    <a:pt x="85" y="28"/>
                    <a:pt x="68" y="11"/>
                    <a:pt x="48" y="11"/>
                  </a:cubicBezTo>
                  <a:cubicBezTo>
                    <a:pt x="28" y="11"/>
                    <a:pt x="11" y="28"/>
                    <a:pt x="11" y="48"/>
                  </a:cubicBezTo>
                  <a:cubicBezTo>
                    <a:pt x="11" y="68"/>
                    <a:pt x="28" y="85"/>
                    <a:pt x="48" y="85"/>
                  </a:cubicBezTo>
                  <a:cubicBezTo>
                    <a:pt x="58" y="85"/>
                    <a:pt x="64" y="82"/>
                    <a:pt x="66" y="78"/>
                  </a:cubicBezTo>
                  <a:cubicBezTo>
                    <a:pt x="67" y="75"/>
                    <a:pt x="68" y="73"/>
                    <a:pt x="67" y="72"/>
                  </a:cubicBezTo>
                  <a:cubicBezTo>
                    <a:pt x="65" y="73"/>
                    <a:pt x="63" y="74"/>
                    <a:pt x="61" y="74"/>
                  </a:cubicBezTo>
                  <a:cubicBezTo>
                    <a:pt x="59" y="74"/>
                    <a:pt x="58" y="73"/>
                    <a:pt x="56" y="73"/>
                  </a:cubicBezTo>
                  <a:cubicBezTo>
                    <a:pt x="43" y="64"/>
                    <a:pt x="32" y="53"/>
                    <a:pt x="23" y="40"/>
                  </a:cubicBezTo>
                  <a:cubicBezTo>
                    <a:pt x="21" y="36"/>
                    <a:pt x="22" y="31"/>
                    <a:pt x="25" y="27"/>
                  </a:cubicBezTo>
                  <a:cubicBezTo>
                    <a:pt x="28" y="24"/>
                    <a:pt x="28" y="24"/>
                    <a:pt x="28" y="24"/>
                  </a:cubicBezTo>
                  <a:cubicBezTo>
                    <a:pt x="31" y="21"/>
                    <a:pt x="36" y="21"/>
                    <a:pt x="39" y="24"/>
                  </a:cubicBezTo>
                  <a:cubicBezTo>
                    <a:pt x="44" y="29"/>
                    <a:pt x="44" y="29"/>
                    <a:pt x="44" y="29"/>
                  </a:cubicBezTo>
                  <a:cubicBezTo>
                    <a:pt x="45" y="30"/>
                    <a:pt x="46" y="32"/>
                    <a:pt x="46" y="34"/>
                  </a:cubicBezTo>
                  <a:cubicBezTo>
                    <a:pt x="46" y="36"/>
                    <a:pt x="45" y="38"/>
                    <a:pt x="43" y="39"/>
                  </a:cubicBezTo>
                  <a:cubicBezTo>
                    <a:pt x="43" y="40"/>
                    <a:pt x="43" y="40"/>
                    <a:pt x="43" y="40"/>
                  </a:cubicBezTo>
                  <a:cubicBezTo>
                    <a:pt x="47" y="45"/>
                    <a:pt x="51" y="49"/>
                    <a:pt x="56" y="53"/>
                  </a:cubicBezTo>
                  <a:cubicBezTo>
                    <a:pt x="57" y="53"/>
                    <a:pt x="57" y="53"/>
                    <a:pt x="57" y="53"/>
                  </a:cubicBezTo>
                  <a:cubicBezTo>
                    <a:pt x="59" y="50"/>
                    <a:pt x="64" y="50"/>
                    <a:pt x="67" y="52"/>
                  </a:cubicBezTo>
                  <a:cubicBezTo>
                    <a:pt x="72" y="57"/>
                    <a:pt x="72" y="57"/>
                    <a:pt x="72" y="57"/>
                  </a:cubicBezTo>
                  <a:cubicBezTo>
                    <a:pt x="73" y="59"/>
                    <a:pt x="74" y="61"/>
                    <a:pt x="74" y="62"/>
                  </a:cubicBezTo>
                  <a:cubicBezTo>
                    <a:pt x="74" y="64"/>
                    <a:pt x="73" y="66"/>
                    <a:pt x="72" y="68"/>
                  </a:cubicBezTo>
                  <a:cubicBezTo>
                    <a:pt x="71" y="69"/>
                    <a:pt x="71" y="69"/>
                    <a:pt x="71" y="69"/>
                  </a:cubicBezTo>
                  <a:cubicBezTo>
                    <a:pt x="72" y="71"/>
                    <a:pt x="72" y="75"/>
                    <a:pt x="70" y="78"/>
                  </a:cubicBezTo>
                  <a:cubicBezTo>
                    <a:pt x="68" y="83"/>
                    <a:pt x="63" y="89"/>
                    <a:pt x="48" y="89"/>
                  </a:cubicBezTo>
                  <a:cubicBezTo>
                    <a:pt x="25" y="89"/>
                    <a:pt x="7" y="70"/>
                    <a:pt x="7" y="48"/>
                  </a:cubicBezTo>
                  <a:cubicBezTo>
                    <a:pt x="7" y="25"/>
                    <a:pt x="25" y="7"/>
                    <a:pt x="48" y="7"/>
                  </a:cubicBezTo>
                  <a:cubicBezTo>
                    <a:pt x="70" y="7"/>
                    <a:pt x="89" y="25"/>
                    <a:pt x="89" y="48"/>
                  </a:cubicBezTo>
                  <a:cubicBezTo>
                    <a:pt x="89" y="56"/>
                    <a:pt x="86" y="64"/>
                    <a:pt x="8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1" name="Rectangle: Single Corner Snipped 10">
            <a:extLst>
              <a:ext uri="{FF2B5EF4-FFF2-40B4-BE49-F238E27FC236}">
                <a16:creationId xmlns:a16="http://schemas.microsoft.com/office/drawing/2014/main" id="{C765D0E6-8B27-4C79-86F3-258A558FA03D}"/>
              </a:ext>
            </a:extLst>
          </p:cNvPr>
          <p:cNvSpPr/>
          <p:nvPr/>
        </p:nvSpPr>
        <p:spPr>
          <a:xfrm flipH="1">
            <a:off x="8851900" y="3429079"/>
            <a:ext cx="2806700" cy="398462"/>
          </a:xfrm>
          <a:prstGeom prst="snip1Rect">
            <a:avLst>
              <a:gd name="adj" fmla="val 3544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2" name="TextBox 11">
            <a:extLst>
              <a:ext uri="{FF2B5EF4-FFF2-40B4-BE49-F238E27FC236}">
                <a16:creationId xmlns:a16="http://schemas.microsoft.com/office/drawing/2014/main" id="{E081A03D-D407-4ED9-9077-A1ECDDD8890F}"/>
              </a:ext>
            </a:extLst>
          </p:cNvPr>
          <p:cNvSpPr txBox="1"/>
          <p:nvPr/>
        </p:nvSpPr>
        <p:spPr>
          <a:xfrm>
            <a:off x="9042402" y="3505200"/>
            <a:ext cx="2475668" cy="246221"/>
          </a:xfrm>
          <a:prstGeom prst="rect">
            <a:avLst/>
          </a:prstGeom>
          <a:noFill/>
        </p:spPr>
        <p:txBody>
          <a:bodyPr wrap="square" lIns="0" tIns="0" rIns="0" bIns="0" anchor="ctr">
            <a:spAutoFit/>
          </a:bodyPr>
          <a:lstStyle/>
          <a:p>
            <a:pPr algn="r"/>
            <a:r>
              <a:rPr lang="en-ID" sz="1600" b="1" i="0" dirty="0">
                <a:solidFill>
                  <a:schemeClr val="accent1"/>
                </a:solidFill>
                <a:effectLst/>
                <a:latin typeface="+mj-lt"/>
              </a:rPr>
              <a:t>Lorem </a:t>
            </a:r>
            <a:r>
              <a:rPr lang="en-ID" sz="1600" b="1" dirty="0">
                <a:solidFill>
                  <a:schemeClr val="accent1"/>
                </a:solidFill>
                <a:latin typeface="+mj-lt"/>
              </a:rPr>
              <a:t>Ipsum </a:t>
            </a:r>
            <a:r>
              <a:rPr lang="en-ID" sz="1600" b="1" dirty="0" err="1">
                <a:solidFill>
                  <a:schemeClr val="accent1"/>
                </a:solidFill>
                <a:latin typeface="+mj-lt"/>
              </a:rPr>
              <a:t>Dolor</a:t>
            </a:r>
            <a:endParaRPr lang="en-ID" sz="1600" b="1" dirty="0">
              <a:solidFill>
                <a:schemeClr val="accent1"/>
              </a:solidFill>
              <a:latin typeface="+mj-lt"/>
            </a:endParaRPr>
          </a:p>
        </p:txBody>
      </p:sp>
      <p:sp>
        <p:nvSpPr>
          <p:cNvPr id="13" name="TextBox 12">
            <a:extLst>
              <a:ext uri="{FF2B5EF4-FFF2-40B4-BE49-F238E27FC236}">
                <a16:creationId xmlns:a16="http://schemas.microsoft.com/office/drawing/2014/main" id="{D62993ED-52A6-4D06-AC7A-785E750EF595}"/>
              </a:ext>
            </a:extLst>
          </p:cNvPr>
          <p:cNvSpPr txBox="1"/>
          <p:nvPr/>
        </p:nvSpPr>
        <p:spPr>
          <a:xfrm>
            <a:off x="8851900" y="3942597"/>
            <a:ext cx="2806700" cy="215444"/>
          </a:xfrm>
          <a:prstGeom prst="rect">
            <a:avLst/>
          </a:prstGeom>
          <a:noFill/>
        </p:spPr>
        <p:txBody>
          <a:bodyPr wrap="square" lIns="0" tIns="0" rIns="0" bIns="0">
            <a:spAutoFit/>
          </a:bodyPr>
          <a:lstStyle/>
          <a:p>
            <a:pPr algn="r"/>
            <a:r>
              <a:rPr lang="en-ID" sz="1400" b="0" i="0" dirty="0">
                <a:solidFill>
                  <a:schemeClr val="bg1"/>
                </a:solidFill>
                <a:effectLst/>
              </a:rPr>
              <a:t>loremipsum@dolorsitamet.com</a:t>
            </a:r>
          </a:p>
        </p:txBody>
      </p:sp>
      <p:sp>
        <p:nvSpPr>
          <p:cNvPr id="14" name="Rectangle: Single Corner Snipped 13">
            <a:extLst>
              <a:ext uri="{FF2B5EF4-FFF2-40B4-BE49-F238E27FC236}">
                <a16:creationId xmlns:a16="http://schemas.microsoft.com/office/drawing/2014/main" id="{A3A1B695-2884-4A6B-B53A-9961F0FBC184}"/>
              </a:ext>
            </a:extLst>
          </p:cNvPr>
          <p:cNvSpPr/>
          <p:nvPr/>
        </p:nvSpPr>
        <p:spPr>
          <a:xfrm flipH="1">
            <a:off x="8851900" y="4444709"/>
            <a:ext cx="2806700" cy="398462"/>
          </a:xfrm>
          <a:prstGeom prst="snip1Rect">
            <a:avLst>
              <a:gd name="adj" fmla="val 3544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5" name="TextBox 14">
            <a:extLst>
              <a:ext uri="{FF2B5EF4-FFF2-40B4-BE49-F238E27FC236}">
                <a16:creationId xmlns:a16="http://schemas.microsoft.com/office/drawing/2014/main" id="{254D54DF-9CFA-4F56-B3AA-2870DC0AF032}"/>
              </a:ext>
            </a:extLst>
          </p:cNvPr>
          <p:cNvSpPr txBox="1"/>
          <p:nvPr/>
        </p:nvSpPr>
        <p:spPr>
          <a:xfrm>
            <a:off x="9042402" y="4520830"/>
            <a:ext cx="2475668" cy="246221"/>
          </a:xfrm>
          <a:prstGeom prst="rect">
            <a:avLst/>
          </a:prstGeom>
          <a:noFill/>
        </p:spPr>
        <p:txBody>
          <a:bodyPr wrap="square" lIns="0" tIns="0" rIns="0" bIns="0" anchor="ctr">
            <a:spAutoFit/>
          </a:bodyPr>
          <a:lstStyle/>
          <a:p>
            <a:pPr algn="r"/>
            <a:r>
              <a:rPr lang="en-ID" sz="1600" b="1" i="0" dirty="0">
                <a:solidFill>
                  <a:schemeClr val="accent1"/>
                </a:solidFill>
                <a:effectLst/>
                <a:latin typeface="+mj-lt"/>
              </a:rPr>
              <a:t>Lorem </a:t>
            </a:r>
            <a:r>
              <a:rPr lang="en-ID" sz="1600" b="1" dirty="0">
                <a:solidFill>
                  <a:schemeClr val="accent1"/>
                </a:solidFill>
                <a:latin typeface="+mj-lt"/>
              </a:rPr>
              <a:t>Ipsum </a:t>
            </a:r>
            <a:r>
              <a:rPr lang="en-ID" sz="1600" b="1" dirty="0" err="1">
                <a:solidFill>
                  <a:schemeClr val="accent1"/>
                </a:solidFill>
                <a:latin typeface="+mj-lt"/>
              </a:rPr>
              <a:t>Dolor</a:t>
            </a:r>
            <a:endParaRPr lang="en-ID" sz="1600" b="1" dirty="0">
              <a:solidFill>
                <a:schemeClr val="accent1"/>
              </a:solidFill>
              <a:latin typeface="+mj-lt"/>
            </a:endParaRPr>
          </a:p>
        </p:txBody>
      </p:sp>
      <p:sp>
        <p:nvSpPr>
          <p:cNvPr id="16" name="TextBox 15">
            <a:extLst>
              <a:ext uri="{FF2B5EF4-FFF2-40B4-BE49-F238E27FC236}">
                <a16:creationId xmlns:a16="http://schemas.microsoft.com/office/drawing/2014/main" id="{D0A5DE1C-2985-46BB-B914-BDD934706174}"/>
              </a:ext>
            </a:extLst>
          </p:cNvPr>
          <p:cNvSpPr txBox="1"/>
          <p:nvPr/>
        </p:nvSpPr>
        <p:spPr>
          <a:xfrm>
            <a:off x="8851900" y="4958227"/>
            <a:ext cx="2806700" cy="215444"/>
          </a:xfrm>
          <a:prstGeom prst="rect">
            <a:avLst/>
          </a:prstGeom>
          <a:noFill/>
        </p:spPr>
        <p:txBody>
          <a:bodyPr wrap="square" lIns="0" tIns="0" rIns="0" bIns="0">
            <a:spAutoFit/>
          </a:bodyPr>
          <a:lstStyle/>
          <a:p>
            <a:pPr algn="r"/>
            <a:r>
              <a:rPr lang="en-US" sz="1400" dirty="0">
                <a:solidFill>
                  <a:schemeClr val="bg1"/>
                </a:solidFill>
              </a:rPr>
              <a:t>+</a:t>
            </a:r>
            <a:r>
              <a:rPr lang="en-ID" sz="1400" dirty="0">
                <a:solidFill>
                  <a:schemeClr val="bg1"/>
                </a:solidFill>
              </a:rPr>
              <a:t>62 822 </a:t>
            </a:r>
            <a:r>
              <a:rPr lang="en-ID" sz="1400" dirty="0" err="1">
                <a:solidFill>
                  <a:schemeClr val="bg1"/>
                </a:solidFill>
              </a:rPr>
              <a:t>xxxx</a:t>
            </a:r>
            <a:r>
              <a:rPr lang="en-ID" sz="1400" dirty="0">
                <a:solidFill>
                  <a:schemeClr val="bg1"/>
                </a:solidFill>
              </a:rPr>
              <a:t> </a:t>
            </a:r>
            <a:r>
              <a:rPr lang="en-ID" sz="1400" dirty="0" err="1">
                <a:solidFill>
                  <a:schemeClr val="bg1"/>
                </a:solidFill>
              </a:rPr>
              <a:t>xxxx</a:t>
            </a:r>
            <a:endParaRPr lang="en-ID" sz="1400" b="0" i="0" dirty="0">
              <a:solidFill>
                <a:schemeClr val="bg1"/>
              </a:solidFill>
              <a:effectLst/>
            </a:endParaRPr>
          </a:p>
        </p:txBody>
      </p:sp>
    </p:spTree>
    <p:extLst>
      <p:ext uri="{BB962C8B-B14F-4D97-AF65-F5344CB8AC3E}">
        <p14:creationId xmlns:p14="http://schemas.microsoft.com/office/powerpoint/2010/main" val="15957547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7141D334-8434-4AF3-8014-473FA6D366EC}"/>
              </a:ext>
            </a:extLst>
          </p:cNvPr>
          <p:cNvSpPr/>
          <p:nvPr/>
        </p:nvSpPr>
        <p:spPr>
          <a:xfrm rot="16200000" flipH="1">
            <a:off x="5338916" y="-1"/>
            <a:ext cx="6853083" cy="6853083"/>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5F109F2C-FA85-4317-916E-0B4E5F44B020}"/>
              </a:ext>
            </a:extLst>
          </p:cNvPr>
          <p:cNvCxnSpPr>
            <a:cxnSpLocks/>
          </p:cNvCxnSpPr>
          <p:nvPr/>
        </p:nvCxnSpPr>
        <p:spPr>
          <a:xfrm>
            <a:off x="0" y="2844800"/>
            <a:ext cx="1219199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4FAA3927-C37E-494D-8BDF-527955E5174E}"/>
              </a:ext>
            </a:extLst>
          </p:cNvPr>
          <p:cNvSpPr/>
          <p:nvPr/>
        </p:nvSpPr>
        <p:spPr>
          <a:xfrm rot="5400000" flipH="1">
            <a:off x="0" y="5372100"/>
            <a:ext cx="1485900" cy="1485900"/>
          </a:xfrm>
          <a:prstGeom prst="r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A9DEFB15-FA52-4367-BCB9-66BC78D94E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570" t="10000" r="17737" b="10444"/>
          <a:stretch/>
        </p:blipFill>
        <p:spPr>
          <a:xfrm>
            <a:off x="5905500" y="571500"/>
            <a:ext cx="4546600" cy="4546600"/>
          </a:xfrm>
          <a:custGeom>
            <a:avLst/>
            <a:gdLst>
              <a:gd name="connsiteX0" fmla="*/ 2273300 w 4546600"/>
              <a:gd name="connsiteY0" fmla="*/ 0 h 4546600"/>
              <a:gd name="connsiteX1" fmla="*/ 4546600 w 4546600"/>
              <a:gd name="connsiteY1" fmla="*/ 2273300 h 4546600"/>
              <a:gd name="connsiteX2" fmla="*/ 2273300 w 4546600"/>
              <a:gd name="connsiteY2" fmla="*/ 4546600 h 4546600"/>
              <a:gd name="connsiteX3" fmla="*/ 0 w 4546600"/>
              <a:gd name="connsiteY3" fmla="*/ 2273300 h 4546600"/>
            </a:gdLst>
            <a:ahLst/>
            <a:cxnLst>
              <a:cxn ang="0">
                <a:pos x="connsiteX0" y="connsiteY0"/>
              </a:cxn>
              <a:cxn ang="0">
                <a:pos x="connsiteX1" y="connsiteY1"/>
              </a:cxn>
              <a:cxn ang="0">
                <a:pos x="connsiteX2" y="connsiteY2"/>
              </a:cxn>
              <a:cxn ang="0">
                <a:pos x="connsiteX3" y="connsiteY3"/>
              </a:cxn>
            </a:cxnLst>
            <a:rect l="l" t="t" r="r" b="b"/>
            <a:pathLst>
              <a:path w="4546600" h="4546600">
                <a:moveTo>
                  <a:pt x="2273300" y="0"/>
                </a:moveTo>
                <a:lnTo>
                  <a:pt x="4546600" y="2273300"/>
                </a:lnTo>
                <a:lnTo>
                  <a:pt x="2273300" y="4546600"/>
                </a:lnTo>
                <a:lnTo>
                  <a:pt x="0" y="2273300"/>
                </a:lnTo>
                <a:close/>
              </a:path>
            </a:pathLst>
          </a:custGeom>
        </p:spPr>
      </p:pic>
      <p:sp>
        <p:nvSpPr>
          <p:cNvPr id="10" name="Rectangle 9">
            <a:extLst>
              <a:ext uri="{FF2B5EF4-FFF2-40B4-BE49-F238E27FC236}">
                <a16:creationId xmlns:a16="http://schemas.microsoft.com/office/drawing/2014/main" id="{B8B34CAC-2B52-47E8-9B57-E3B791389FE1}"/>
              </a:ext>
            </a:extLst>
          </p:cNvPr>
          <p:cNvSpPr/>
          <p:nvPr/>
        </p:nvSpPr>
        <p:spPr>
          <a:xfrm>
            <a:off x="10058400" y="257175"/>
            <a:ext cx="2133600" cy="62865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iamond 10">
            <a:extLst>
              <a:ext uri="{FF2B5EF4-FFF2-40B4-BE49-F238E27FC236}">
                <a16:creationId xmlns:a16="http://schemas.microsoft.com/office/drawing/2014/main" id="{F98AFC32-7F02-43CB-8485-44B6B2E13FCA}"/>
              </a:ext>
            </a:extLst>
          </p:cNvPr>
          <p:cNvSpPr/>
          <p:nvPr/>
        </p:nvSpPr>
        <p:spPr>
          <a:xfrm>
            <a:off x="6013450" y="679450"/>
            <a:ext cx="4330700" cy="4330700"/>
          </a:xfrm>
          <a:prstGeom prst="diamond">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E5E1F35E-9892-4FEF-BD72-1351948704E9}"/>
              </a:ext>
            </a:extLst>
          </p:cNvPr>
          <p:cNvSpPr txBox="1"/>
          <p:nvPr/>
        </p:nvSpPr>
        <p:spPr>
          <a:xfrm>
            <a:off x="742950" y="3230502"/>
            <a:ext cx="6083300" cy="923330"/>
          </a:xfrm>
          <a:prstGeom prst="rect">
            <a:avLst/>
          </a:prstGeom>
          <a:noFill/>
        </p:spPr>
        <p:txBody>
          <a:bodyPr wrap="square" rtlCol="0" anchor="ctr">
            <a:spAutoFit/>
          </a:bodyPr>
          <a:lstStyle/>
          <a:p>
            <a:r>
              <a:rPr lang="en-US" sz="5400" b="1" dirty="0">
                <a:latin typeface="+mj-lt"/>
              </a:rPr>
              <a:t>CSR </a:t>
            </a:r>
            <a:r>
              <a:rPr lang="en-US" sz="5400" dirty="0">
                <a:latin typeface="+mj-lt"/>
              </a:rPr>
              <a:t>ANALYSIS</a:t>
            </a:r>
          </a:p>
        </p:txBody>
      </p:sp>
      <p:sp>
        <p:nvSpPr>
          <p:cNvPr id="14" name="TextBox 13">
            <a:extLst>
              <a:ext uri="{FF2B5EF4-FFF2-40B4-BE49-F238E27FC236}">
                <a16:creationId xmlns:a16="http://schemas.microsoft.com/office/drawing/2014/main" id="{EF7CFD82-E86B-4261-9469-377E92B8D299}"/>
              </a:ext>
            </a:extLst>
          </p:cNvPr>
          <p:cNvSpPr txBox="1"/>
          <p:nvPr/>
        </p:nvSpPr>
        <p:spPr>
          <a:xfrm>
            <a:off x="742950" y="4153832"/>
            <a:ext cx="5162549" cy="984885"/>
          </a:xfrm>
          <a:prstGeom prst="rect">
            <a:avLst/>
          </a:prstGeom>
          <a:noFill/>
        </p:spPr>
        <p:txBody>
          <a:bodyPr wrap="square" lIns="0" tIns="0" rIns="0" bIns="0" rtlCol="0">
            <a:spAutoFit/>
          </a:bodyPr>
          <a:lstStyle/>
          <a:p>
            <a:r>
              <a:rPr lang="en-US" sz="1600" b="1" dirty="0"/>
              <a:t>24Slides</a:t>
            </a:r>
            <a:r>
              <a:rPr lang="en-US" sz="1600" dirty="0"/>
              <a:t> is the world’s largest presentation design company with over 200 team members across the globe and we support thousands of companies and professionals each month, allowing them to give powerful on-brand presentations.</a:t>
            </a:r>
          </a:p>
        </p:txBody>
      </p:sp>
      <p:pic>
        <p:nvPicPr>
          <p:cNvPr id="15" name="Picture 14">
            <a:extLst>
              <a:ext uri="{FF2B5EF4-FFF2-40B4-BE49-F238E27FC236}">
                <a16:creationId xmlns:a16="http://schemas.microsoft.com/office/drawing/2014/main" id="{EB6224FF-D6BE-46FB-9C28-0F5E9B5D82A7}"/>
              </a:ext>
            </a:extLst>
          </p:cNvPr>
          <p:cNvPicPr>
            <a:picLocks noChangeAspect="1"/>
          </p:cNvPicPr>
          <p:nvPr/>
        </p:nvPicPr>
        <p:blipFill>
          <a:blip r:embed="rId4"/>
          <a:stretch>
            <a:fillRect/>
          </a:stretch>
        </p:blipFill>
        <p:spPr>
          <a:xfrm>
            <a:off x="10610850" y="424549"/>
            <a:ext cx="1028700" cy="293902"/>
          </a:xfrm>
          <a:prstGeom prst="rect">
            <a:avLst/>
          </a:prstGeom>
          <a:effectLst/>
        </p:spPr>
      </p:pic>
      <p:sp>
        <p:nvSpPr>
          <p:cNvPr id="20" name="Freeform 3886">
            <a:extLst>
              <a:ext uri="{FF2B5EF4-FFF2-40B4-BE49-F238E27FC236}">
                <a16:creationId xmlns:a16="http://schemas.microsoft.com/office/drawing/2014/main" id="{406669C8-019B-46E5-82CC-1541BDB827B3}"/>
              </a:ext>
            </a:extLst>
          </p:cNvPr>
          <p:cNvSpPr>
            <a:spLocks noEditPoints="1"/>
          </p:cNvSpPr>
          <p:nvPr/>
        </p:nvSpPr>
        <p:spPr bwMode="auto">
          <a:xfrm>
            <a:off x="7785101" y="2453276"/>
            <a:ext cx="787400" cy="783048"/>
          </a:xfrm>
          <a:custGeom>
            <a:avLst/>
            <a:gdLst>
              <a:gd name="T0" fmla="*/ 268 w 902"/>
              <a:gd name="T1" fmla="*/ 575 h 901"/>
              <a:gd name="T2" fmla="*/ 207 w 902"/>
              <a:gd name="T3" fmla="*/ 555 h 901"/>
              <a:gd name="T4" fmla="*/ 155 w 902"/>
              <a:gd name="T5" fmla="*/ 520 h 901"/>
              <a:gd name="T6" fmla="*/ 112 w 902"/>
              <a:gd name="T7" fmla="*/ 475 h 901"/>
              <a:gd name="T8" fmla="*/ 81 w 902"/>
              <a:gd name="T9" fmla="*/ 422 h 901"/>
              <a:gd name="T10" fmla="*/ 64 w 902"/>
              <a:gd name="T11" fmla="*/ 360 h 901"/>
              <a:gd name="T12" fmla="*/ 61 w 902"/>
              <a:gd name="T13" fmla="*/ 294 h 901"/>
              <a:gd name="T14" fmla="*/ 76 w 902"/>
              <a:gd name="T15" fmla="*/ 231 h 901"/>
              <a:gd name="T16" fmla="*/ 104 w 902"/>
              <a:gd name="T17" fmla="*/ 175 h 901"/>
              <a:gd name="T18" fmla="*/ 145 w 902"/>
              <a:gd name="T19" fmla="*/ 128 h 901"/>
              <a:gd name="T20" fmla="*/ 197 w 902"/>
              <a:gd name="T21" fmla="*/ 92 h 901"/>
              <a:gd name="T22" fmla="*/ 256 w 902"/>
              <a:gd name="T23" fmla="*/ 69 h 901"/>
              <a:gd name="T24" fmla="*/ 320 w 902"/>
              <a:gd name="T25" fmla="*/ 60 h 901"/>
              <a:gd name="T26" fmla="*/ 385 w 902"/>
              <a:gd name="T27" fmla="*/ 69 h 901"/>
              <a:gd name="T28" fmla="*/ 444 w 902"/>
              <a:gd name="T29" fmla="*/ 92 h 901"/>
              <a:gd name="T30" fmla="*/ 495 w 902"/>
              <a:gd name="T31" fmla="*/ 128 h 901"/>
              <a:gd name="T32" fmla="*/ 537 w 902"/>
              <a:gd name="T33" fmla="*/ 175 h 901"/>
              <a:gd name="T34" fmla="*/ 564 w 902"/>
              <a:gd name="T35" fmla="*/ 231 h 901"/>
              <a:gd name="T36" fmla="*/ 579 w 902"/>
              <a:gd name="T37" fmla="*/ 294 h 901"/>
              <a:gd name="T38" fmla="*/ 577 w 902"/>
              <a:gd name="T39" fmla="*/ 360 h 901"/>
              <a:gd name="T40" fmla="*/ 560 w 902"/>
              <a:gd name="T41" fmla="*/ 422 h 901"/>
              <a:gd name="T42" fmla="*/ 529 w 902"/>
              <a:gd name="T43" fmla="*/ 475 h 901"/>
              <a:gd name="T44" fmla="*/ 486 w 902"/>
              <a:gd name="T45" fmla="*/ 520 h 901"/>
              <a:gd name="T46" fmla="*/ 432 w 902"/>
              <a:gd name="T47" fmla="*/ 555 h 901"/>
              <a:gd name="T48" fmla="*/ 372 w 902"/>
              <a:gd name="T49" fmla="*/ 575 h 901"/>
              <a:gd name="T50" fmla="*/ 320 w 902"/>
              <a:gd name="T51" fmla="*/ 580 h 901"/>
              <a:gd name="T52" fmla="*/ 591 w 902"/>
              <a:gd name="T53" fmla="*/ 491 h 901"/>
              <a:gd name="T54" fmla="*/ 621 w 902"/>
              <a:gd name="T55" fmla="*/ 430 h 901"/>
              <a:gd name="T56" fmla="*/ 637 w 902"/>
              <a:gd name="T57" fmla="*/ 363 h 901"/>
              <a:gd name="T58" fmla="*/ 638 w 902"/>
              <a:gd name="T59" fmla="*/ 288 h 901"/>
              <a:gd name="T60" fmla="*/ 621 w 902"/>
              <a:gd name="T61" fmla="*/ 211 h 901"/>
              <a:gd name="T62" fmla="*/ 586 w 902"/>
              <a:gd name="T63" fmla="*/ 142 h 901"/>
              <a:gd name="T64" fmla="*/ 535 w 902"/>
              <a:gd name="T65" fmla="*/ 83 h 901"/>
              <a:gd name="T66" fmla="*/ 473 w 902"/>
              <a:gd name="T67" fmla="*/ 39 h 901"/>
              <a:gd name="T68" fmla="*/ 400 w 902"/>
              <a:gd name="T69" fmla="*/ 10 h 901"/>
              <a:gd name="T70" fmla="*/ 320 w 902"/>
              <a:gd name="T71" fmla="*/ 0 h 901"/>
              <a:gd name="T72" fmla="*/ 241 w 902"/>
              <a:gd name="T73" fmla="*/ 10 h 901"/>
              <a:gd name="T74" fmla="*/ 168 w 902"/>
              <a:gd name="T75" fmla="*/ 39 h 901"/>
              <a:gd name="T76" fmla="*/ 105 w 902"/>
              <a:gd name="T77" fmla="*/ 83 h 901"/>
              <a:gd name="T78" fmla="*/ 55 w 902"/>
              <a:gd name="T79" fmla="*/ 142 h 901"/>
              <a:gd name="T80" fmla="*/ 20 w 902"/>
              <a:gd name="T81" fmla="*/ 211 h 901"/>
              <a:gd name="T82" fmla="*/ 1 w 902"/>
              <a:gd name="T83" fmla="*/ 288 h 901"/>
              <a:gd name="T84" fmla="*/ 3 w 902"/>
              <a:gd name="T85" fmla="*/ 369 h 901"/>
              <a:gd name="T86" fmla="*/ 25 w 902"/>
              <a:gd name="T87" fmla="*/ 445 h 901"/>
              <a:gd name="T88" fmla="*/ 64 w 902"/>
              <a:gd name="T89" fmla="*/ 512 h 901"/>
              <a:gd name="T90" fmla="*/ 117 w 902"/>
              <a:gd name="T91" fmla="*/ 568 h 901"/>
              <a:gd name="T92" fmla="*/ 182 w 902"/>
              <a:gd name="T93" fmla="*/ 608 h 901"/>
              <a:gd name="T94" fmla="*/ 256 w 902"/>
              <a:gd name="T95" fmla="*/ 634 h 901"/>
              <a:gd name="T96" fmla="*/ 335 w 902"/>
              <a:gd name="T97" fmla="*/ 641 h 901"/>
              <a:gd name="T98" fmla="*/ 405 w 902"/>
              <a:gd name="T99" fmla="*/ 630 h 901"/>
              <a:gd name="T100" fmla="*/ 468 w 902"/>
              <a:gd name="T101" fmla="*/ 604 h 901"/>
              <a:gd name="T102" fmla="*/ 525 w 902"/>
              <a:gd name="T103" fmla="*/ 567 h 901"/>
              <a:gd name="T104" fmla="*/ 871 w 902"/>
              <a:gd name="T105" fmla="*/ 901 h 901"/>
              <a:gd name="T106" fmla="*/ 897 w 902"/>
              <a:gd name="T107" fmla="*/ 888 h 901"/>
              <a:gd name="T108" fmla="*/ 899 w 902"/>
              <a:gd name="T109" fmla="*/ 86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2" h="901">
                <a:moveTo>
                  <a:pt x="320" y="580"/>
                </a:moveTo>
                <a:lnTo>
                  <a:pt x="307" y="580"/>
                </a:lnTo>
                <a:lnTo>
                  <a:pt x="294" y="579"/>
                </a:lnTo>
                <a:lnTo>
                  <a:pt x="281" y="577"/>
                </a:lnTo>
                <a:lnTo>
                  <a:pt x="268" y="575"/>
                </a:lnTo>
                <a:lnTo>
                  <a:pt x="256" y="572"/>
                </a:lnTo>
                <a:lnTo>
                  <a:pt x="243" y="569"/>
                </a:lnTo>
                <a:lnTo>
                  <a:pt x="231" y="564"/>
                </a:lnTo>
                <a:lnTo>
                  <a:pt x="219" y="560"/>
                </a:lnTo>
                <a:lnTo>
                  <a:pt x="207" y="555"/>
                </a:lnTo>
                <a:lnTo>
                  <a:pt x="197" y="549"/>
                </a:lnTo>
                <a:lnTo>
                  <a:pt x="186" y="543"/>
                </a:lnTo>
                <a:lnTo>
                  <a:pt x="175" y="535"/>
                </a:lnTo>
                <a:lnTo>
                  <a:pt x="164" y="529"/>
                </a:lnTo>
                <a:lnTo>
                  <a:pt x="155" y="520"/>
                </a:lnTo>
                <a:lnTo>
                  <a:pt x="145" y="513"/>
                </a:lnTo>
                <a:lnTo>
                  <a:pt x="136" y="504"/>
                </a:lnTo>
                <a:lnTo>
                  <a:pt x="128" y="495"/>
                </a:lnTo>
                <a:lnTo>
                  <a:pt x="119" y="486"/>
                </a:lnTo>
                <a:lnTo>
                  <a:pt x="112" y="475"/>
                </a:lnTo>
                <a:lnTo>
                  <a:pt x="104" y="466"/>
                </a:lnTo>
                <a:lnTo>
                  <a:pt x="98" y="455"/>
                </a:lnTo>
                <a:lnTo>
                  <a:pt x="91" y="444"/>
                </a:lnTo>
                <a:lnTo>
                  <a:pt x="86" y="432"/>
                </a:lnTo>
                <a:lnTo>
                  <a:pt x="81" y="422"/>
                </a:lnTo>
                <a:lnTo>
                  <a:pt x="76" y="410"/>
                </a:lnTo>
                <a:lnTo>
                  <a:pt x="72" y="397"/>
                </a:lnTo>
                <a:lnTo>
                  <a:pt x="69" y="385"/>
                </a:lnTo>
                <a:lnTo>
                  <a:pt x="66" y="372"/>
                </a:lnTo>
                <a:lnTo>
                  <a:pt x="64" y="360"/>
                </a:lnTo>
                <a:lnTo>
                  <a:pt x="61" y="347"/>
                </a:lnTo>
                <a:lnTo>
                  <a:pt x="60" y="334"/>
                </a:lnTo>
                <a:lnTo>
                  <a:pt x="60" y="320"/>
                </a:lnTo>
                <a:lnTo>
                  <a:pt x="60" y="307"/>
                </a:lnTo>
                <a:lnTo>
                  <a:pt x="61" y="294"/>
                </a:lnTo>
                <a:lnTo>
                  <a:pt x="64" y="281"/>
                </a:lnTo>
                <a:lnTo>
                  <a:pt x="66" y="268"/>
                </a:lnTo>
                <a:lnTo>
                  <a:pt x="69" y="256"/>
                </a:lnTo>
                <a:lnTo>
                  <a:pt x="72" y="243"/>
                </a:lnTo>
                <a:lnTo>
                  <a:pt x="76" y="231"/>
                </a:lnTo>
                <a:lnTo>
                  <a:pt x="81" y="219"/>
                </a:lnTo>
                <a:lnTo>
                  <a:pt x="86" y="207"/>
                </a:lnTo>
                <a:lnTo>
                  <a:pt x="91" y="197"/>
                </a:lnTo>
                <a:lnTo>
                  <a:pt x="98" y="186"/>
                </a:lnTo>
                <a:lnTo>
                  <a:pt x="104" y="175"/>
                </a:lnTo>
                <a:lnTo>
                  <a:pt x="112" y="164"/>
                </a:lnTo>
                <a:lnTo>
                  <a:pt x="119" y="155"/>
                </a:lnTo>
                <a:lnTo>
                  <a:pt x="128" y="145"/>
                </a:lnTo>
                <a:lnTo>
                  <a:pt x="136" y="137"/>
                </a:lnTo>
                <a:lnTo>
                  <a:pt x="145" y="128"/>
                </a:lnTo>
                <a:lnTo>
                  <a:pt x="155" y="119"/>
                </a:lnTo>
                <a:lnTo>
                  <a:pt x="164" y="112"/>
                </a:lnTo>
                <a:lnTo>
                  <a:pt x="175" y="104"/>
                </a:lnTo>
                <a:lnTo>
                  <a:pt x="186" y="98"/>
                </a:lnTo>
                <a:lnTo>
                  <a:pt x="197" y="92"/>
                </a:lnTo>
                <a:lnTo>
                  <a:pt x="207" y="86"/>
                </a:lnTo>
                <a:lnTo>
                  <a:pt x="219" y="81"/>
                </a:lnTo>
                <a:lnTo>
                  <a:pt x="231" y="77"/>
                </a:lnTo>
                <a:lnTo>
                  <a:pt x="243" y="72"/>
                </a:lnTo>
                <a:lnTo>
                  <a:pt x="256" y="69"/>
                </a:lnTo>
                <a:lnTo>
                  <a:pt x="268" y="66"/>
                </a:lnTo>
                <a:lnTo>
                  <a:pt x="281" y="64"/>
                </a:lnTo>
                <a:lnTo>
                  <a:pt x="294" y="61"/>
                </a:lnTo>
                <a:lnTo>
                  <a:pt x="307" y="60"/>
                </a:lnTo>
                <a:lnTo>
                  <a:pt x="320" y="60"/>
                </a:lnTo>
                <a:lnTo>
                  <a:pt x="334" y="60"/>
                </a:lnTo>
                <a:lnTo>
                  <a:pt x="347" y="61"/>
                </a:lnTo>
                <a:lnTo>
                  <a:pt x="360" y="64"/>
                </a:lnTo>
                <a:lnTo>
                  <a:pt x="372" y="66"/>
                </a:lnTo>
                <a:lnTo>
                  <a:pt x="385" y="69"/>
                </a:lnTo>
                <a:lnTo>
                  <a:pt x="397" y="72"/>
                </a:lnTo>
                <a:lnTo>
                  <a:pt x="410" y="77"/>
                </a:lnTo>
                <a:lnTo>
                  <a:pt x="422" y="81"/>
                </a:lnTo>
                <a:lnTo>
                  <a:pt x="432" y="86"/>
                </a:lnTo>
                <a:lnTo>
                  <a:pt x="444" y="92"/>
                </a:lnTo>
                <a:lnTo>
                  <a:pt x="455" y="98"/>
                </a:lnTo>
                <a:lnTo>
                  <a:pt x="466" y="104"/>
                </a:lnTo>
                <a:lnTo>
                  <a:pt x="475" y="112"/>
                </a:lnTo>
                <a:lnTo>
                  <a:pt x="486" y="119"/>
                </a:lnTo>
                <a:lnTo>
                  <a:pt x="495" y="128"/>
                </a:lnTo>
                <a:lnTo>
                  <a:pt x="504" y="137"/>
                </a:lnTo>
                <a:lnTo>
                  <a:pt x="513" y="145"/>
                </a:lnTo>
                <a:lnTo>
                  <a:pt x="522" y="155"/>
                </a:lnTo>
                <a:lnTo>
                  <a:pt x="529" y="164"/>
                </a:lnTo>
                <a:lnTo>
                  <a:pt x="537" y="175"/>
                </a:lnTo>
                <a:lnTo>
                  <a:pt x="543" y="186"/>
                </a:lnTo>
                <a:lnTo>
                  <a:pt x="549" y="197"/>
                </a:lnTo>
                <a:lnTo>
                  <a:pt x="555" y="207"/>
                </a:lnTo>
                <a:lnTo>
                  <a:pt x="560" y="219"/>
                </a:lnTo>
                <a:lnTo>
                  <a:pt x="564" y="231"/>
                </a:lnTo>
                <a:lnTo>
                  <a:pt x="569" y="243"/>
                </a:lnTo>
                <a:lnTo>
                  <a:pt x="572" y="256"/>
                </a:lnTo>
                <a:lnTo>
                  <a:pt x="575" y="268"/>
                </a:lnTo>
                <a:lnTo>
                  <a:pt x="577" y="281"/>
                </a:lnTo>
                <a:lnTo>
                  <a:pt x="579" y="294"/>
                </a:lnTo>
                <a:lnTo>
                  <a:pt x="580" y="307"/>
                </a:lnTo>
                <a:lnTo>
                  <a:pt x="580" y="320"/>
                </a:lnTo>
                <a:lnTo>
                  <a:pt x="580" y="334"/>
                </a:lnTo>
                <a:lnTo>
                  <a:pt x="579" y="347"/>
                </a:lnTo>
                <a:lnTo>
                  <a:pt x="577" y="360"/>
                </a:lnTo>
                <a:lnTo>
                  <a:pt x="575" y="372"/>
                </a:lnTo>
                <a:lnTo>
                  <a:pt x="572" y="385"/>
                </a:lnTo>
                <a:lnTo>
                  <a:pt x="569" y="397"/>
                </a:lnTo>
                <a:lnTo>
                  <a:pt x="564" y="410"/>
                </a:lnTo>
                <a:lnTo>
                  <a:pt x="560" y="422"/>
                </a:lnTo>
                <a:lnTo>
                  <a:pt x="555" y="432"/>
                </a:lnTo>
                <a:lnTo>
                  <a:pt x="549" y="444"/>
                </a:lnTo>
                <a:lnTo>
                  <a:pt x="543" y="455"/>
                </a:lnTo>
                <a:lnTo>
                  <a:pt x="537" y="466"/>
                </a:lnTo>
                <a:lnTo>
                  <a:pt x="529" y="475"/>
                </a:lnTo>
                <a:lnTo>
                  <a:pt x="522" y="486"/>
                </a:lnTo>
                <a:lnTo>
                  <a:pt x="513" y="495"/>
                </a:lnTo>
                <a:lnTo>
                  <a:pt x="504" y="504"/>
                </a:lnTo>
                <a:lnTo>
                  <a:pt x="495" y="513"/>
                </a:lnTo>
                <a:lnTo>
                  <a:pt x="486" y="520"/>
                </a:lnTo>
                <a:lnTo>
                  <a:pt x="475" y="529"/>
                </a:lnTo>
                <a:lnTo>
                  <a:pt x="466" y="535"/>
                </a:lnTo>
                <a:lnTo>
                  <a:pt x="455" y="543"/>
                </a:lnTo>
                <a:lnTo>
                  <a:pt x="444" y="549"/>
                </a:lnTo>
                <a:lnTo>
                  <a:pt x="432" y="555"/>
                </a:lnTo>
                <a:lnTo>
                  <a:pt x="422" y="560"/>
                </a:lnTo>
                <a:lnTo>
                  <a:pt x="410" y="564"/>
                </a:lnTo>
                <a:lnTo>
                  <a:pt x="397" y="569"/>
                </a:lnTo>
                <a:lnTo>
                  <a:pt x="385" y="572"/>
                </a:lnTo>
                <a:lnTo>
                  <a:pt x="372" y="575"/>
                </a:lnTo>
                <a:lnTo>
                  <a:pt x="360" y="577"/>
                </a:lnTo>
                <a:lnTo>
                  <a:pt x="347" y="579"/>
                </a:lnTo>
                <a:lnTo>
                  <a:pt x="334" y="580"/>
                </a:lnTo>
                <a:lnTo>
                  <a:pt x="320" y="580"/>
                </a:lnTo>
                <a:lnTo>
                  <a:pt x="320" y="580"/>
                </a:lnTo>
                <a:close/>
                <a:moveTo>
                  <a:pt x="893" y="851"/>
                </a:moveTo>
                <a:lnTo>
                  <a:pt x="567" y="525"/>
                </a:lnTo>
                <a:lnTo>
                  <a:pt x="575" y="514"/>
                </a:lnTo>
                <a:lnTo>
                  <a:pt x="584" y="503"/>
                </a:lnTo>
                <a:lnTo>
                  <a:pt x="591" y="491"/>
                </a:lnTo>
                <a:lnTo>
                  <a:pt x="598" y="480"/>
                </a:lnTo>
                <a:lnTo>
                  <a:pt x="604" y="468"/>
                </a:lnTo>
                <a:lnTo>
                  <a:pt x="611" y="456"/>
                </a:lnTo>
                <a:lnTo>
                  <a:pt x="616" y="443"/>
                </a:lnTo>
                <a:lnTo>
                  <a:pt x="621" y="430"/>
                </a:lnTo>
                <a:lnTo>
                  <a:pt x="626" y="417"/>
                </a:lnTo>
                <a:lnTo>
                  <a:pt x="630" y="405"/>
                </a:lnTo>
                <a:lnTo>
                  <a:pt x="633" y="391"/>
                </a:lnTo>
                <a:lnTo>
                  <a:pt x="635" y="377"/>
                </a:lnTo>
                <a:lnTo>
                  <a:pt x="637" y="363"/>
                </a:lnTo>
                <a:lnTo>
                  <a:pt x="639" y="349"/>
                </a:lnTo>
                <a:lnTo>
                  <a:pt x="641" y="335"/>
                </a:lnTo>
                <a:lnTo>
                  <a:pt x="641" y="320"/>
                </a:lnTo>
                <a:lnTo>
                  <a:pt x="641" y="304"/>
                </a:lnTo>
                <a:lnTo>
                  <a:pt x="638" y="288"/>
                </a:lnTo>
                <a:lnTo>
                  <a:pt x="637" y="272"/>
                </a:lnTo>
                <a:lnTo>
                  <a:pt x="634" y="256"/>
                </a:lnTo>
                <a:lnTo>
                  <a:pt x="631" y="241"/>
                </a:lnTo>
                <a:lnTo>
                  <a:pt x="627" y="226"/>
                </a:lnTo>
                <a:lnTo>
                  <a:pt x="621" y="211"/>
                </a:lnTo>
                <a:lnTo>
                  <a:pt x="616" y="196"/>
                </a:lnTo>
                <a:lnTo>
                  <a:pt x="609" y="182"/>
                </a:lnTo>
                <a:lnTo>
                  <a:pt x="602" y="168"/>
                </a:lnTo>
                <a:lnTo>
                  <a:pt x="594" y="155"/>
                </a:lnTo>
                <a:lnTo>
                  <a:pt x="586" y="142"/>
                </a:lnTo>
                <a:lnTo>
                  <a:pt x="577" y="129"/>
                </a:lnTo>
                <a:lnTo>
                  <a:pt x="568" y="117"/>
                </a:lnTo>
                <a:lnTo>
                  <a:pt x="557" y="105"/>
                </a:lnTo>
                <a:lnTo>
                  <a:pt x="546" y="94"/>
                </a:lnTo>
                <a:lnTo>
                  <a:pt x="535" y="83"/>
                </a:lnTo>
                <a:lnTo>
                  <a:pt x="524" y="73"/>
                </a:lnTo>
                <a:lnTo>
                  <a:pt x="512" y="64"/>
                </a:lnTo>
                <a:lnTo>
                  <a:pt x="499" y="55"/>
                </a:lnTo>
                <a:lnTo>
                  <a:pt x="486" y="46"/>
                </a:lnTo>
                <a:lnTo>
                  <a:pt x="473" y="39"/>
                </a:lnTo>
                <a:lnTo>
                  <a:pt x="459" y="31"/>
                </a:lnTo>
                <a:lnTo>
                  <a:pt x="445" y="25"/>
                </a:lnTo>
                <a:lnTo>
                  <a:pt x="430" y="20"/>
                </a:lnTo>
                <a:lnTo>
                  <a:pt x="415" y="14"/>
                </a:lnTo>
                <a:lnTo>
                  <a:pt x="400" y="10"/>
                </a:lnTo>
                <a:lnTo>
                  <a:pt x="385" y="7"/>
                </a:lnTo>
                <a:lnTo>
                  <a:pt x="369" y="4"/>
                </a:lnTo>
                <a:lnTo>
                  <a:pt x="353" y="1"/>
                </a:lnTo>
                <a:lnTo>
                  <a:pt x="337" y="0"/>
                </a:lnTo>
                <a:lnTo>
                  <a:pt x="320" y="0"/>
                </a:lnTo>
                <a:lnTo>
                  <a:pt x="304" y="0"/>
                </a:lnTo>
                <a:lnTo>
                  <a:pt x="288" y="1"/>
                </a:lnTo>
                <a:lnTo>
                  <a:pt x="272" y="4"/>
                </a:lnTo>
                <a:lnTo>
                  <a:pt x="256" y="7"/>
                </a:lnTo>
                <a:lnTo>
                  <a:pt x="241" y="10"/>
                </a:lnTo>
                <a:lnTo>
                  <a:pt x="225" y="14"/>
                </a:lnTo>
                <a:lnTo>
                  <a:pt x="210" y="20"/>
                </a:lnTo>
                <a:lnTo>
                  <a:pt x="195" y="25"/>
                </a:lnTo>
                <a:lnTo>
                  <a:pt x="182" y="31"/>
                </a:lnTo>
                <a:lnTo>
                  <a:pt x="168" y="39"/>
                </a:lnTo>
                <a:lnTo>
                  <a:pt x="155" y="46"/>
                </a:lnTo>
                <a:lnTo>
                  <a:pt x="142" y="55"/>
                </a:lnTo>
                <a:lnTo>
                  <a:pt x="129" y="64"/>
                </a:lnTo>
                <a:lnTo>
                  <a:pt x="117" y="73"/>
                </a:lnTo>
                <a:lnTo>
                  <a:pt x="105" y="83"/>
                </a:lnTo>
                <a:lnTo>
                  <a:pt x="94" y="94"/>
                </a:lnTo>
                <a:lnTo>
                  <a:pt x="84" y="105"/>
                </a:lnTo>
                <a:lnTo>
                  <a:pt x="73" y="117"/>
                </a:lnTo>
                <a:lnTo>
                  <a:pt x="64" y="129"/>
                </a:lnTo>
                <a:lnTo>
                  <a:pt x="55" y="142"/>
                </a:lnTo>
                <a:lnTo>
                  <a:pt x="46" y="155"/>
                </a:lnTo>
                <a:lnTo>
                  <a:pt x="39" y="168"/>
                </a:lnTo>
                <a:lnTo>
                  <a:pt x="31" y="182"/>
                </a:lnTo>
                <a:lnTo>
                  <a:pt x="25" y="196"/>
                </a:lnTo>
                <a:lnTo>
                  <a:pt x="20" y="211"/>
                </a:lnTo>
                <a:lnTo>
                  <a:pt x="14" y="226"/>
                </a:lnTo>
                <a:lnTo>
                  <a:pt x="10" y="241"/>
                </a:lnTo>
                <a:lnTo>
                  <a:pt x="7" y="256"/>
                </a:lnTo>
                <a:lnTo>
                  <a:pt x="3" y="272"/>
                </a:lnTo>
                <a:lnTo>
                  <a:pt x="1" y="288"/>
                </a:lnTo>
                <a:lnTo>
                  <a:pt x="0" y="304"/>
                </a:lnTo>
                <a:lnTo>
                  <a:pt x="0" y="320"/>
                </a:lnTo>
                <a:lnTo>
                  <a:pt x="0" y="337"/>
                </a:lnTo>
                <a:lnTo>
                  <a:pt x="1" y="353"/>
                </a:lnTo>
                <a:lnTo>
                  <a:pt x="3" y="369"/>
                </a:lnTo>
                <a:lnTo>
                  <a:pt x="7" y="385"/>
                </a:lnTo>
                <a:lnTo>
                  <a:pt x="10" y="400"/>
                </a:lnTo>
                <a:lnTo>
                  <a:pt x="14" y="415"/>
                </a:lnTo>
                <a:lnTo>
                  <a:pt x="20" y="430"/>
                </a:lnTo>
                <a:lnTo>
                  <a:pt x="25" y="445"/>
                </a:lnTo>
                <a:lnTo>
                  <a:pt x="31" y="459"/>
                </a:lnTo>
                <a:lnTo>
                  <a:pt x="39" y="473"/>
                </a:lnTo>
                <a:lnTo>
                  <a:pt x="46" y="486"/>
                </a:lnTo>
                <a:lnTo>
                  <a:pt x="55" y="499"/>
                </a:lnTo>
                <a:lnTo>
                  <a:pt x="64" y="512"/>
                </a:lnTo>
                <a:lnTo>
                  <a:pt x="73" y="524"/>
                </a:lnTo>
                <a:lnTo>
                  <a:pt x="84" y="535"/>
                </a:lnTo>
                <a:lnTo>
                  <a:pt x="94" y="546"/>
                </a:lnTo>
                <a:lnTo>
                  <a:pt x="105" y="557"/>
                </a:lnTo>
                <a:lnTo>
                  <a:pt x="117" y="568"/>
                </a:lnTo>
                <a:lnTo>
                  <a:pt x="129" y="577"/>
                </a:lnTo>
                <a:lnTo>
                  <a:pt x="142" y="586"/>
                </a:lnTo>
                <a:lnTo>
                  <a:pt x="155" y="594"/>
                </a:lnTo>
                <a:lnTo>
                  <a:pt x="168" y="602"/>
                </a:lnTo>
                <a:lnTo>
                  <a:pt x="182" y="608"/>
                </a:lnTo>
                <a:lnTo>
                  <a:pt x="195" y="615"/>
                </a:lnTo>
                <a:lnTo>
                  <a:pt x="210" y="621"/>
                </a:lnTo>
                <a:lnTo>
                  <a:pt x="225" y="627"/>
                </a:lnTo>
                <a:lnTo>
                  <a:pt x="241" y="631"/>
                </a:lnTo>
                <a:lnTo>
                  <a:pt x="256" y="634"/>
                </a:lnTo>
                <a:lnTo>
                  <a:pt x="272" y="637"/>
                </a:lnTo>
                <a:lnTo>
                  <a:pt x="288" y="638"/>
                </a:lnTo>
                <a:lnTo>
                  <a:pt x="304" y="641"/>
                </a:lnTo>
                <a:lnTo>
                  <a:pt x="320" y="641"/>
                </a:lnTo>
                <a:lnTo>
                  <a:pt x="335" y="641"/>
                </a:lnTo>
                <a:lnTo>
                  <a:pt x="349" y="639"/>
                </a:lnTo>
                <a:lnTo>
                  <a:pt x="363" y="637"/>
                </a:lnTo>
                <a:lnTo>
                  <a:pt x="377" y="635"/>
                </a:lnTo>
                <a:lnTo>
                  <a:pt x="391" y="633"/>
                </a:lnTo>
                <a:lnTo>
                  <a:pt x="405" y="630"/>
                </a:lnTo>
                <a:lnTo>
                  <a:pt x="417" y="625"/>
                </a:lnTo>
                <a:lnTo>
                  <a:pt x="430" y="621"/>
                </a:lnTo>
                <a:lnTo>
                  <a:pt x="443" y="616"/>
                </a:lnTo>
                <a:lnTo>
                  <a:pt x="456" y="610"/>
                </a:lnTo>
                <a:lnTo>
                  <a:pt x="468" y="604"/>
                </a:lnTo>
                <a:lnTo>
                  <a:pt x="480" y="598"/>
                </a:lnTo>
                <a:lnTo>
                  <a:pt x="491" y="591"/>
                </a:lnTo>
                <a:lnTo>
                  <a:pt x="503" y="584"/>
                </a:lnTo>
                <a:lnTo>
                  <a:pt x="514" y="575"/>
                </a:lnTo>
                <a:lnTo>
                  <a:pt x="525" y="567"/>
                </a:lnTo>
                <a:lnTo>
                  <a:pt x="851" y="892"/>
                </a:lnTo>
                <a:lnTo>
                  <a:pt x="855" y="897"/>
                </a:lnTo>
                <a:lnTo>
                  <a:pt x="860" y="899"/>
                </a:lnTo>
                <a:lnTo>
                  <a:pt x="866" y="901"/>
                </a:lnTo>
                <a:lnTo>
                  <a:pt x="871" y="901"/>
                </a:lnTo>
                <a:lnTo>
                  <a:pt x="878" y="901"/>
                </a:lnTo>
                <a:lnTo>
                  <a:pt x="883" y="899"/>
                </a:lnTo>
                <a:lnTo>
                  <a:pt x="888" y="897"/>
                </a:lnTo>
                <a:lnTo>
                  <a:pt x="893" y="892"/>
                </a:lnTo>
                <a:lnTo>
                  <a:pt x="897" y="888"/>
                </a:lnTo>
                <a:lnTo>
                  <a:pt x="899" y="883"/>
                </a:lnTo>
                <a:lnTo>
                  <a:pt x="901" y="877"/>
                </a:lnTo>
                <a:lnTo>
                  <a:pt x="902" y="871"/>
                </a:lnTo>
                <a:lnTo>
                  <a:pt x="901" y="866"/>
                </a:lnTo>
                <a:lnTo>
                  <a:pt x="899" y="860"/>
                </a:lnTo>
                <a:lnTo>
                  <a:pt x="897" y="855"/>
                </a:lnTo>
                <a:lnTo>
                  <a:pt x="893" y="8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73331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0891" y="1262987"/>
            <a:ext cx="3058784" cy="2160836"/>
          </a:xfrm>
          <a:prstGeom prst="rect">
            <a:avLst/>
          </a:prstGeom>
          <a:effectLst>
            <a:outerShdw blurRad="381000" dist="190500" dir="5400000" algn="tl" rotWithShape="0">
              <a:prstClr val="black">
                <a:alpha val="12000"/>
              </a:prstClr>
            </a:outerShdw>
          </a:effectLst>
        </p:spPr>
      </p:pic>
      <p:pic>
        <p:nvPicPr>
          <p:cNvPr id="48" name="Picture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0764" y="3615314"/>
            <a:ext cx="3808453" cy="2142255"/>
          </a:xfrm>
          <a:prstGeom prst="rect">
            <a:avLst/>
          </a:prstGeom>
          <a:effectLst>
            <a:outerShdw blurRad="381000" dist="190500" dir="5400000" algn="tl" rotWithShape="0">
              <a:prstClr val="black">
                <a:alpha val="20000"/>
              </a:prstClr>
            </a:outerShdw>
          </a:effectLst>
        </p:spPr>
      </p:pic>
      <p:pic>
        <p:nvPicPr>
          <p:cNvPr id="65" name="Shape 131"/>
          <p:cNvPicPr preferRelativeResize="0"/>
          <p:nvPr/>
        </p:nvPicPr>
        <p:blipFill rotWithShape="1">
          <a:blip r:embed="rId5">
            <a:alphaModFix/>
          </a:blip>
          <a:srcRect t="18724" b="13617"/>
          <a:stretch/>
        </p:blipFill>
        <p:spPr>
          <a:xfrm>
            <a:off x="4118669" y="1283427"/>
            <a:ext cx="3195798" cy="2162276"/>
          </a:xfrm>
          <a:prstGeom prst="rect">
            <a:avLst/>
          </a:prstGeom>
          <a:noFill/>
          <a:ln>
            <a:noFill/>
          </a:ln>
          <a:effectLst>
            <a:outerShdw blurRad="381000" dist="190500" dir="5400000" algn="tl" rotWithShape="0">
              <a:prstClr val="black">
                <a:alpha val="13000"/>
              </a:prstClr>
            </a:outerShdw>
          </a:effectLst>
        </p:spPr>
      </p:pic>
      <p:pic>
        <p:nvPicPr>
          <p:cNvPr id="50" name="Picture 4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31253" y="3418413"/>
            <a:ext cx="4559527" cy="2913376"/>
          </a:xfrm>
          <a:prstGeom prst="rect">
            <a:avLst/>
          </a:prstGeom>
        </p:spPr>
      </p:pic>
      <p:grpSp>
        <p:nvGrpSpPr>
          <p:cNvPr id="34" name="Group 33">
            <a:extLst>
              <a:ext uri="{FF2B5EF4-FFF2-40B4-BE49-F238E27FC236}">
                <a16:creationId xmlns:a16="http://schemas.microsoft.com/office/drawing/2014/main" id="{7CF34645-10AF-4AB4-83EA-BF059F6BEB4D}"/>
              </a:ext>
            </a:extLst>
          </p:cNvPr>
          <p:cNvGrpSpPr/>
          <p:nvPr/>
        </p:nvGrpSpPr>
        <p:grpSpPr>
          <a:xfrm>
            <a:off x="10928712" y="6378850"/>
            <a:ext cx="947290" cy="270982"/>
            <a:chOff x="4103688" y="-2378075"/>
            <a:chExt cx="1309687" cy="374650"/>
          </a:xfrm>
          <a:solidFill>
            <a:srgbClr val="468DC3"/>
          </a:solidFill>
        </p:grpSpPr>
        <p:sp>
          <p:nvSpPr>
            <p:cNvPr id="35" name="Freeform 254">
              <a:extLst>
                <a:ext uri="{FF2B5EF4-FFF2-40B4-BE49-F238E27FC236}">
                  <a16:creationId xmlns:a16="http://schemas.microsoft.com/office/drawing/2014/main" id="{3BD74B41-BA0A-4A11-9DA4-86215036515D}"/>
                </a:ext>
              </a:extLst>
            </p:cNvPr>
            <p:cNvSpPr>
              <a:spLocks/>
            </p:cNvSpPr>
            <p:nvPr/>
          </p:nvSpPr>
          <p:spPr bwMode="auto">
            <a:xfrm>
              <a:off x="4103688" y="-2374900"/>
              <a:ext cx="182562" cy="288925"/>
            </a:xfrm>
            <a:custGeom>
              <a:avLst/>
              <a:gdLst>
                <a:gd name="T0" fmla="*/ 43 w 61"/>
                <a:gd name="T1" fmla="*/ 47 h 95"/>
                <a:gd name="T2" fmla="*/ 30 w 61"/>
                <a:gd name="T3" fmla="*/ 55 h 95"/>
                <a:gd name="T4" fmla="*/ 11 w 61"/>
                <a:gd name="T5" fmla="*/ 83 h 95"/>
                <a:gd name="T6" fmla="*/ 11 w 61"/>
                <a:gd name="T7" fmla="*/ 85 h 95"/>
                <a:gd name="T8" fmla="*/ 57 w 61"/>
                <a:gd name="T9" fmla="*/ 85 h 95"/>
                <a:gd name="T10" fmla="*/ 60 w 61"/>
                <a:gd name="T11" fmla="*/ 88 h 95"/>
                <a:gd name="T12" fmla="*/ 60 w 61"/>
                <a:gd name="T13" fmla="*/ 93 h 95"/>
                <a:gd name="T14" fmla="*/ 57 w 61"/>
                <a:gd name="T15" fmla="*/ 95 h 95"/>
                <a:gd name="T16" fmla="*/ 3 w 61"/>
                <a:gd name="T17" fmla="*/ 95 h 95"/>
                <a:gd name="T18" fmla="*/ 0 w 61"/>
                <a:gd name="T19" fmla="*/ 93 h 95"/>
                <a:gd name="T20" fmla="*/ 0 w 61"/>
                <a:gd name="T21" fmla="*/ 83 h 95"/>
                <a:gd name="T22" fmla="*/ 21 w 61"/>
                <a:gd name="T23" fmla="*/ 49 h 95"/>
                <a:gd name="T24" fmla="*/ 35 w 61"/>
                <a:gd name="T25" fmla="*/ 40 h 95"/>
                <a:gd name="T26" fmla="*/ 49 w 61"/>
                <a:gd name="T27" fmla="*/ 22 h 95"/>
                <a:gd name="T28" fmla="*/ 28 w 61"/>
                <a:gd name="T29" fmla="*/ 9 h 95"/>
                <a:gd name="T30" fmla="*/ 4 w 61"/>
                <a:gd name="T31" fmla="*/ 11 h 95"/>
                <a:gd name="T32" fmla="*/ 3 w 61"/>
                <a:gd name="T33" fmla="*/ 11 h 95"/>
                <a:gd name="T34" fmla="*/ 1 w 61"/>
                <a:gd name="T35" fmla="*/ 9 h 95"/>
                <a:gd name="T36" fmla="*/ 1 w 61"/>
                <a:gd name="T37" fmla="*/ 4 h 95"/>
                <a:gd name="T38" fmla="*/ 4 w 61"/>
                <a:gd name="T39" fmla="*/ 2 h 95"/>
                <a:gd name="T40" fmla="*/ 28 w 61"/>
                <a:gd name="T41" fmla="*/ 0 h 95"/>
                <a:gd name="T42" fmla="*/ 61 w 61"/>
                <a:gd name="T43" fmla="*/ 22 h 95"/>
                <a:gd name="T44" fmla="*/ 43 w 61"/>
                <a:gd name="T45"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5">
                  <a:moveTo>
                    <a:pt x="43" y="47"/>
                  </a:moveTo>
                  <a:cubicBezTo>
                    <a:pt x="30" y="55"/>
                    <a:pt x="30" y="55"/>
                    <a:pt x="30" y="55"/>
                  </a:cubicBezTo>
                  <a:cubicBezTo>
                    <a:pt x="15" y="65"/>
                    <a:pt x="11" y="72"/>
                    <a:pt x="11" y="83"/>
                  </a:cubicBezTo>
                  <a:cubicBezTo>
                    <a:pt x="11" y="85"/>
                    <a:pt x="11" y="85"/>
                    <a:pt x="11" y="85"/>
                  </a:cubicBezTo>
                  <a:cubicBezTo>
                    <a:pt x="57" y="85"/>
                    <a:pt x="57" y="85"/>
                    <a:pt x="57" y="85"/>
                  </a:cubicBezTo>
                  <a:cubicBezTo>
                    <a:pt x="59" y="85"/>
                    <a:pt x="60" y="86"/>
                    <a:pt x="60" y="88"/>
                  </a:cubicBezTo>
                  <a:cubicBezTo>
                    <a:pt x="60" y="93"/>
                    <a:pt x="60" y="93"/>
                    <a:pt x="60" y="93"/>
                  </a:cubicBezTo>
                  <a:cubicBezTo>
                    <a:pt x="60" y="95"/>
                    <a:pt x="59" y="95"/>
                    <a:pt x="57" y="95"/>
                  </a:cubicBezTo>
                  <a:cubicBezTo>
                    <a:pt x="3" y="95"/>
                    <a:pt x="3" y="95"/>
                    <a:pt x="3" y="95"/>
                  </a:cubicBezTo>
                  <a:cubicBezTo>
                    <a:pt x="1" y="95"/>
                    <a:pt x="0" y="94"/>
                    <a:pt x="0" y="93"/>
                  </a:cubicBezTo>
                  <a:cubicBezTo>
                    <a:pt x="0" y="83"/>
                    <a:pt x="0" y="83"/>
                    <a:pt x="0" y="83"/>
                  </a:cubicBezTo>
                  <a:cubicBezTo>
                    <a:pt x="0" y="69"/>
                    <a:pt x="6" y="58"/>
                    <a:pt x="21" y="49"/>
                  </a:cubicBezTo>
                  <a:cubicBezTo>
                    <a:pt x="35" y="40"/>
                    <a:pt x="35" y="40"/>
                    <a:pt x="35" y="40"/>
                  </a:cubicBezTo>
                  <a:cubicBezTo>
                    <a:pt x="46" y="33"/>
                    <a:pt x="49" y="30"/>
                    <a:pt x="49" y="22"/>
                  </a:cubicBezTo>
                  <a:cubicBezTo>
                    <a:pt x="49" y="13"/>
                    <a:pt x="43" y="9"/>
                    <a:pt x="28" y="9"/>
                  </a:cubicBezTo>
                  <a:cubicBezTo>
                    <a:pt x="21" y="9"/>
                    <a:pt x="12" y="10"/>
                    <a:pt x="4" y="11"/>
                  </a:cubicBezTo>
                  <a:cubicBezTo>
                    <a:pt x="4" y="11"/>
                    <a:pt x="4" y="11"/>
                    <a:pt x="3" y="11"/>
                  </a:cubicBezTo>
                  <a:cubicBezTo>
                    <a:pt x="2" y="11"/>
                    <a:pt x="1" y="10"/>
                    <a:pt x="1" y="9"/>
                  </a:cubicBezTo>
                  <a:cubicBezTo>
                    <a:pt x="1" y="4"/>
                    <a:pt x="1" y="4"/>
                    <a:pt x="1" y="4"/>
                  </a:cubicBezTo>
                  <a:cubicBezTo>
                    <a:pt x="1" y="3"/>
                    <a:pt x="3" y="2"/>
                    <a:pt x="4" y="2"/>
                  </a:cubicBezTo>
                  <a:cubicBezTo>
                    <a:pt x="11" y="0"/>
                    <a:pt x="20" y="0"/>
                    <a:pt x="28" y="0"/>
                  </a:cubicBezTo>
                  <a:cubicBezTo>
                    <a:pt x="51" y="0"/>
                    <a:pt x="61" y="7"/>
                    <a:pt x="61" y="22"/>
                  </a:cubicBezTo>
                  <a:cubicBezTo>
                    <a:pt x="61" y="33"/>
                    <a:pt x="56" y="39"/>
                    <a:pt x="4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55">
              <a:extLst>
                <a:ext uri="{FF2B5EF4-FFF2-40B4-BE49-F238E27FC236}">
                  <a16:creationId xmlns:a16="http://schemas.microsoft.com/office/drawing/2014/main" id="{70015F1F-F2D6-4D60-A53E-7C7EDFAFDF96}"/>
                </a:ext>
              </a:extLst>
            </p:cNvPr>
            <p:cNvSpPr>
              <a:spLocks noEditPoints="1"/>
            </p:cNvSpPr>
            <p:nvPr/>
          </p:nvSpPr>
          <p:spPr bwMode="auto">
            <a:xfrm>
              <a:off x="4208463" y="-2308225"/>
              <a:ext cx="211137" cy="304800"/>
            </a:xfrm>
            <a:custGeom>
              <a:avLst/>
              <a:gdLst>
                <a:gd name="T0" fmla="*/ 68 w 70"/>
                <a:gd name="T1" fmla="*/ 74 h 100"/>
                <a:gd name="T2" fmla="*/ 56 w 70"/>
                <a:gd name="T3" fmla="*/ 74 h 100"/>
                <a:gd name="T4" fmla="*/ 56 w 70"/>
                <a:gd name="T5" fmla="*/ 98 h 100"/>
                <a:gd name="T6" fmla="*/ 54 w 70"/>
                <a:gd name="T7" fmla="*/ 100 h 100"/>
                <a:gd name="T8" fmla="*/ 46 w 70"/>
                <a:gd name="T9" fmla="*/ 100 h 100"/>
                <a:gd name="T10" fmla="*/ 44 w 70"/>
                <a:gd name="T11" fmla="*/ 98 h 100"/>
                <a:gd name="T12" fmla="*/ 44 w 70"/>
                <a:gd name="T13" fmla="*/ 74 h 100"/>
                <a:gd name="T14" fmla="*/ 5 w 70"/>
                <a:gd name="T15" fmla="*/ 74 h 100"/>
                <a:gd name="T16" fmla="*/ 0 w 70"/>
                <a:gd name="T17" fmla="*/ 68 h 100"/>
                <a:gd name="T18" fmla="*/ 0 w 70"/>
                <a:gd name="T19" fmla="*/ 63 h 100"/>
                <a:gd name="T20" fmla="*/ 1 w 70"/>
                <a:gd name="T21" fmla="*/ 58 h 100"/>
                <a:gd name="T22" fmla="*/ 41 w 70"/>
                <a:gd name="T23" fmla="*/ 2 h 100"/>
                <a:gd name="T24" fmla="*/ 45 w 70"/>
                <a:gd name="T25" fmla="*/ 0 h 100"/>
                <a:gd name="T26" fmla="*/ 52 w 70"/>
                <a:gd name="T27" fmla="*/ 0 h 100"/>
                <a:gd name="T28" fmla="*/ 56 w 70"/>
                <a:gd name="T29" fmla="*/ 3 h 100"/>
                <a:gd name="T30" fmla="*/ 56 w 70"/>
                <a:gd name="T31" fmla="*/ 63 h 100"/>
                <a:gd name="T32" fmla="*/ 68 w 70"/>
                <a:gd name="T33" fmla="*/ 63 h 100"/>
                <a:gd name="T34" fmla="*/ 70 w 70"/>
                <a:gd name="T35" fmla="*/ 66 h 100"/>
                <a:gd name="T36" fmla="*/ 70 w 70"/>
                <a:gd name="T37" fmla="*/ 71 h 100"/>
                <a:gd name="T38" fmla="*/ 68 w 70"/>
                <a:gd name="T39" fmla="*/ 74 h 100"/>
                <a:gd name="T40" fmla="*/ 44 w 70"/>
                <a:gd name="T41" fmla="*/ 17 h 100"/>
                <a:gd name="T42" fmla="*/ 43 w 70"/>
                <a:gd name="T43" fmla="*/ 17 h 100"/>
                <a:gd name="T44" fmla="*/ 43 w 70"/>
                <a:gd name="T45" fmla="*/ 17 h 100"/>
                <a:gd name="T46" fmla="*/ 42 w 70"/>
                <a:gd name="T47" fmla="*/ 17 h 100"/>
                <a:gd name="T48" fmla="*/ 11 w 70"/>
                <a:gd name="T49" fmla="*/ 61 h 100"/>
                <a:gd name="T50" fmla="*/ 11 w 70"/>
                <a:gd name="T51" fmla="*/ 63 h 100"/>
                <a:gd name="T52" fmla="*/ 12 w 70"/>
                <a:gd name="T53" fmla="*/ 63 h 100"/>
                <a:gd name="T54" fmla="*/ 44 w 70"/>
                <a:gd name="T55" fmla="*/ 63 h 100"/>
                <a:gd name="T56" fmla="*/ 44 w 70"/>
                <a:gd name="T5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 h="100">
                  <a:moveTo>
                    <a:pt x="68" y="74"/>
                  </a:moveTo>
                  <a:cubicBezTo>
                    <a:pt x="56" y="74"/>
                    <a:pt x="56" y="74"/>
                    <a:pt x="56" y="74"/>
                  </a:cubicBezTo>
                  <a:cubicBezTo>
                    <a:pt x="56" y="98"/>
                    <a:pt x="56" y="98"/>
                    <a:pt x="56" y="98"/>
                  </a:cubicBezTo>
                  <a:cubicBezTo>
                    <a:pt x="56" y="99"/>
                    <a:pt x="55" y="100"/>
                    <a:pt x="54" y="100"/>
                  </a:cubicBezTo>
                  <a:cubicBezTo>
                    <a:pt x="46" y="100"/>
                    <a:pt x="46" y="100"/>
                    <a:pt x="46" y="100"/>
                  </a:cubicBezTo>
                  <a:cubicBezTo>
                    <a:pt x="44" y="100"/>
                    <a:pt x="44" y="99"/>
                    <a:pt x="44" y="98"/>
                  </a:cubicBezTo>
                  <a:cubicBezTo>
                    <a:pt x="44" y="74"/>
                    <a:pt x="44" y="74"/>
                    <a:pt x="44" y="74"/>
                  </a:cubicBezTo>
                  <a:cubicBezTo>
                    <a:pt x="5" y="74"/>
                    <a:pt x="5" y="74"/>
                    <a:pt x="5" y="74"/>
                  </a:cubicBezTo>
                  <a:cubicBezTo>
                    <a:pt x="1" y="74"/>
                    <a:pt x="0" y="72"/>
                    <a:pt x="0" y="68"/>
                  </a:cubicBezTo>
                  <a:cubicBezTo>
                    <a:pt x="0" y="63"/>
                    <a:pt x="0" y="63"/>
                    <a:pt x="0" y="63"/>
                  </a:cubicBezTo>
                  <a:cubicBezTo>
                    <a:pt x="0" y="61"/>
                    <a:pt x="0" y="60"/>
                    <a:pt x="1" y="58"/>
                  </a:cubicBezTo>
                  <a:cubicBezTo>
                    <a:pt x="41" y="2"/>
                    <a:pt x="41" y="2"/>
                    <a:pt x="41" y="2"/>
                  </a:cubicBezTo>
                  <a:cubicBezTo>
                    <a:pt x="41" y="1"/>
                    <a:pt x="42" y="0"/>
                    <a:pt x="45" y="0"/>
                  </a:cubicBezTo>
                  <a:cubicBezTo>
                    <a:pt x="52" y="0"/>
                    <a:pt x="52" y="0"/>
                    <a:pt x="52" y="0"/>
                  </a:cubicBezTo>
                  <a:cubicBezTo>
                    <a:pt x="55" y="0"/>
                    <a:pt x="56" y="1"/>
                    <a:pt x="56" y="3"/>
                  </a:cubicBezTo>
                  <a:cubicBezTo>
                    <a:pt x="56" y="63"/>
                    <a:pt x="56" y="63"/>
                    <a:pt x="56" y="63"/>
                  </a:cubicBezTo>
                  <a:cubicBezTo>
                    <a:pt x="68" y="63"/>
                    <a:pt x="68" y="63"/>
                    <a:pt x="68" y="63"/>
                  </a:cubicBezTo>
                  <a:cubicBezTo>
                    <a:pt x="69" y="63"/>
                    <a:pt x="70" y="64"/>
                    <a:pt x="70" y="66"/>
                  </a:cubicBezTo>
                  <a:cubicBezTo>
                    <a:pt x="70" y="71"/>
                    <a:pt x="70" y="71"/>
                    <a:pt x="70" y="71"/>
                  </a:cubicBezTo>
                  <a:cubicBezTo>
                    <a:pt x="70" y="73"/>
                    <a:pt x="69" y="74"/>
                    <a:pt x="68" y="74"/>
                  </a:cubicBezTo>
                  <a:close/>
                  <a:moveTo>
                    <a:pt x="44" y="17"/>
                  </a:moveTo>
                  <a:cubicBezTo>
                    <a:pt x="44" y="17"/>
                    <a:pt x="44" y="17"/>
                    <a:pt x="43" y="17"/>
                  </a:cubicBezTo>
                  <a:cubicBezTo>
                    <a:pt x="43" y="17"/>
                    <a:pt x="43" y="17"/>
                    <a:pt x="43" y="17"/>
                  </a:cubicBezTo>
                  <a:cubicBezTo>
                    <a:pt x="43" y="17"/>
                    <a:pt x="42" y="17"/>
                    <a:pt x="42" y="17"/>
                  </a:cubicBezTo>
                  <a:cubicBezTo>
                    <a:pt x="11" y="61"/>
                    <a:pt x="11" y="61"/>
                    <a:pt x="11" y="61"/>
                  </a:cubicBezTo>
                  <a:cubicBezTo>
                    <a:pt x="11" y="62"/>
                    <a:pt x="11" y="62"/>
                    <a:pt x="11" y="63"/>
                  </a:cubicBezTo>
                  <a:cubicBezTo>
                    <a:pt x="11" y="63"/>
                    <a:pt x="11" y="63"/>
                    <a:pt x="12" y="63"/>
                  </a:cubicBezTo>
                  <a:cubicBezTo>
                    <a:pt x="44" y="63"/>
                    <a:pt x="44" y="63"/>
                    <a:pt x="44" y="63"/>
                  </a:cubicBez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56">
              <a:extLst>
                <a:ext uri="{FF2B5EF4-FFF2-40B4-BE49-F238E27FC236}">
                  <a16:creationId xmlns:a16="http://schemas.microsoft.com/office/drawing/2014/main" id="{C4CE39B4-6254-4FFC-BA20-495537310D7A}"/>
                </a:ext>
              </a:extLst>
            </p:cNvPr>
            <p:cNvSpPr>
              <a:spLocks/>
            </p:cNvSpPr>
            <p:nvPr/>
          </p:nvSpPr>
          <p:spPr bwMode="auto">
            <a:xfrm>
              <a:off x="4645025" y="-2374900"/>
              <a:ext cx="34925" cy="292100"/>
            </a:xfrm>
            <a:custGeom>
              <a:avLst/>
              <a:gdLst>
                <a:gd name="T0" fmla="*/ 11 w 12"/>
                <a:gd name="T1" fmla="*/ 95 h 96"/>
                <a:gd name="T2" fmla="*/ 10 w 12"/>
                <a:gd name="T3" fmla="*/ 96 h 96"/>
                <a:gd name="T4" fmla="*/ 3 w 12"/>
                <a:gd name="T5" fmla="*/ 96 h 96"/>
                <a:gd name="T6" fmla="*/ 1 w 12"/>
                <a:gd name="T7" fmla="*/ 95 h 96"/>
                <a:gd name="T8" fmla="*/ 0 w 12"/>
                <a:gd name="T9" fmla="*/ 93 h 96"/>
                <a:gd name="T10" fmla="*/ 0 w 12"/>
                <a:gd name="T11" fmla="*/ 2 h 96"/>
                <a:gd name="T12" fmla="*/ 1 w 12"/>
                <a:gd name="T13" fmla="*/ 1 h 96"/>
                <a:gd name="T14" fmla="*/ 3 w 12"/>
                <a:gd name="T15" fmla="*/ 0 h 96"/>
                <a:gd name="T16" fmla="*/ 10 w 12"/>
                <a:gd name="T17" fmla="*/ 0 h 96"/>
                <a:gd name="T18" fmla="*/ 11 w 12"/>
                <a:gd name="T19" fmla="*/ 1 h 96"/>
                <a:gd name="T20" fmla="*/ 12 w 12"/>
                <a:gd name="T21" fmla="*/ 2 h 96"/>
                <a:gd name="T22" fmla="*/ 12 w 12"/>
                <a:gd name="T23" fmla="*/ 93 h 96"/>
                <a:gd name="T24" fmla="*/ 11 w 12"/>
                <a:gd name="T25"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6">
                  <a:moveTo>
                    <a:pt x="11" y="95"/>
                  </a:moveTo>
                  <a:cubicBezTo>
                    <a:pt x="11" y="95"/>
                    <a:pt x="10" y="96"/>
                    <a:pt x="10" y="96"/>
                  </a:cubicBezTo>
                  <a:cubicBezTo>
                    <a:pt x="3" y="96"/>
                    <a:pt x="3" y="96"/>
                    <a:pt x="3" y="96"/>
                  </a:cubicBezTo>
                  <a:cubicBezTo>
                    <a:pt x="2" y="96"/>
                    <a:pt x="1" y="95"/>
                    <a:pt x="1" y="95"/>
                  </a:cubicBezTo>
                  <a:cubicBezTo>
                    <a:pt x="0" y="94"/>
                    <a:pt x="0" y="94"/>
                    <a:pt x="0" y="93"/>
                  </a:cubicBezTo>
                  <a:cubicBezTo>
                    <a:pt x="0" y="2"/>
                    <a:pt x="0" y="2"/>
                    <a:pt x="0" y="2"/>
                  </a:cubicBezTo>
                  <a:cubicBezTo>
                    <a:pt x="0" y="2"/>
                    <a:pt x="0" y="1"/>
                    <a:pt x="1" y="1"/>
                  </a:cubicBezTo>
                  <a:cubicBezTo>
                    <a:pt x="1" y="0"/>
                    <a:pt x="2" y="0"/>
                    <a:pt x="3" y="0"/>
                  </a:cubicBezTo>
                  <a:cubicBezTo>
                    <a:pt x="10" y="0"/>
                    <a:pt x="10" y="0"/>
                    <a:pt x="10" y="0"/>
                  </a:cubicBezTo>
                  <a:cubicBezTo>
                    <a:pt x="10" y="0"/>
                    <a:pt x="11" y="0"/>
                    <a:pt x="11" y="1"/>
                  </a:cubicBezTo>
                  <a:cubicBezTo>
                    <a:pt x="12" y="1"/>
                    <a:pt x="12" y="2"/>
                    <a:pt x="12" y="2"/>
                  </a:cubicBezTo>
                  <a:cubicBezTo>
                    <a:pt x="12" y="93"/>
                    <a:pt x="12" y="93"/>
                    <a:pt x="12" y="93"/>
                  </a:cubicBezTo>
                  <a:cubicBezTo>
                    <a:pt x="12" y="94"/>
                    <a:pt x="12" y="94"/>
                    <a:pt x="1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257">
              <a:extLst>
                <a:ext uri="{FF2B5EF4-FFF2-40B4-BE49-F238E27FC236}">
                  <a16:creationId xmlns:a16="http://schemas.microsoft.com/office/drawing/2014/main" id="{39F9AD79-BD1F-4A45-B55C-3517BA91B721}"/>
                </a:ext>
              </a:extLst>
            </p:cNvPr>
            <p:cNvSpPr>
              <a:spLocks noEditPoints="1"/>
            </p:cNvSpPr>
            <p:nvPr/>
          </p:nvSpPr>
          <p:spPr bwMode="auto">
            <a:xfrm>
              <a:off x="4743450" y="-2378075"/>
              <a:ext cx="36512" cy="295275"/>
            </a:xfrm>
            <a:custGeom>
              <a:avLst/>
              <a:gdLst>
                <a:gd name="T0" fmla="*/ 11 w 12"/>
                <a:gd name="T1" fmla="*/ 15 h 97"/>
                <a:gd name="T2" fmla="*/ 9 w 12"/>
                <a:gd name="T3" fmla="*/ 15 h 97"/>
                <a:gd name="T4" fmla="*/ 3 w 12"/>
                <a:gd name="T5" fmla="*/ 15 h 97"/>
                <a:gd name="T6" fmla="*/ 1 w 12"/>
                <a:gd name="T7" fmla="*/ 15 h 97"/>
                <a:gd name="T8" fmla="*/ 0 w 12"/>
                <a:gd name="T9" fmla="*/ 13 h 97"/>
                <a:gd name="T10" fmla="*/ 0 w 12"/>
                <a:gd name="T11" fmla="*/ 3 h 97"/>
                <a:gd name="T12" fmla="*/ 1 w 12"/>
                <a:gd name="T13" fmla="*/ 1 h 97"/>
                <a:gd name="T14" fmla="*/ 3 w 12"/>
                <a:gd name="T15" fmla="*/ 0 h 97"/>
                <a:gd name="T16" fmla="*/ 9 w 12"/>
                <a:gd name="T17" fmla="*/ 0 h 97"/>
                <a:gd name="T18" fmla="*/ 11 w 12"/>
                <a:gd name="T19" fmla="*/ 1 h 97"/>
                <a:gd name="T20" fmla="*/ 12 w 12"/>
                <a:gd name="T21" fmla="*/ 3 h 97"/>
                <a:gd name="T22" fmla="*/ 12 w 12"/>
                <a:gd name="T23" fmla="*/ 13 h 97"/>
                <a:gd name="T24" fmla="*/ 11 w 12"/>
                <a:gd name="T25" fmla="*/ 15 h 97"/>
                <a:gd name="T26" fmla="*/ 11 w 12"/>
                <a:gd name="T27" fmla="*/ 96 h 97"/>
                <a:gd name="T28" fmla="*/ 9 w 12"/>
                <a:gd name="T29" fmla="*/ 97 h 97"/>
                <a:gd name="T30" fmla="*/ 3 w 12"/>
                <a:gd name="T31" fmla="*/ 97 h 97"/>
                <a:gd name="T32" fmla="*/ 1 w 12"/>
                <a:gd name="T33" fmla="*/ 96 h 97"/>
                <a:gd name="T34" fmla="*/ 0 w 12"/>
                <a:gd name="T35" fmla="*/ 94 h 97"/>
                <a:gd name="T36" fmla="*/ 0 w 12"/>
                <a:gd name="T37" fmla="*/ 29 h 97"/>
                <a:gd name="T38" fmla="*/ 1 w 12"/>
                <a:gd name="T39" fmla="*/ 27 h 97"/>
                <a:gd name="T40" fmla="*/ 3 w 12"/>
                <a:gd name="T41" fmla="*/ 27 h 97"/>
                <a:gd name="T42" fmla="*/ 9 w 12"/>
                <a:gd name="T43" fmla="*/ 27 h 97"/>
                <a:gd name="T44" fmla="*/ 11 w 12"/>
                <a:gd name="T45" fmla="*/ 27 h 97"/>
                <a:gd name="T46" fmla="*/ 12 w 12"/>
                <a:gd name="T47" fmla="*/ 29 h 97"/>
                <a:gd name="T48" fmla="*/ 12 w 12"/>
                <a:gd name="T49" fmla="*/ 94 h 97"/>
                <a:gd name="T50" fmla="*/ 11 w 12"/>
                <a:gd name="T51"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97">
                  <a:moveTo>
                    <a:pt x="11" y="15"/>
                  </a:moveTo>
                  <a:cubicBezTo>
                    <a:pt x="11" y="15"/>
                    <a:pt x="10" y="15"/>
                    <a:pt x="9" y="15"/>
                  </a:cubicBezTo>
                  <a:cubicBezTo>
                    <a:pt x="3" y="15"/>
                    <a:pt x="3" y="15"/>
                    <a:pt x="3" y="15"/>
                  </a:cubicBezTo>
                  <a:cubicBezTo>
                    <a:pt x="2" y="15"/>
                    <a:pt x="1" y="15"/>
                    <a:pt x="1" y="15"/>
                  </a:cubicBezTo>
                  <a:cubicBezTo>
                    <a:pt x="0" y="14"/>
                    <a:pt x="0" y="14"/>
                    <a:pt x="0" y="13"/>
                  </a:cubicBezTo>
                  <a:cubicBezTo>
                    <a:pt x="0" y="3"/>
                    <a:pt x="0" y="3"/>
                    <a:pt x="0" y="3"/>
                  </a:cubicBezTo>
                  <a:cubicBezTo>
                    <a:pt x="0" y="2"/>
                    <a:pt x="0" y="1"/>
                    <a:pt x="1" y="1"/>
                  </a:cubicBezTo>
                  <a:cubicBezTo>
                    <a:pt x="1" y="0"/>
                    <a:pt x="2" y="0"/>
                    <a:pt x="3" y="0"/>
                  </a:cubicBezTo>
                  <a:cubicBezTo>
                    <a:pt x="9" y="0"/>
                    <a:pt x="9" y="0"/>
                    <a:pt x="9" y="0"/>
                  </a:cubicBezTo>
                  <a:cubicBezTo>
                    <a:pt x="10" y="0"/>
                    <a:pt x="11" y="0"/>
                    <a:pt x="11" y="1"/>
                  </a:cubicBezTo>
                  <a:cubicBezTo>
                    <a:pt x="12" y="1"/>
                    <a:pt x="12" y="2"/>
                    <a:pt x="12" y="3"/>
                  </a:cubicBezTo>
                  <a:cubicBezTo>
                    <a:pt x="12" y="13"/>
                    <a:pt x="12" y="13"/>
                    <a:pt x="12" y="13"/>
                  </a:cubicBezTo>
                  <a:cubicBezTo>
                    <a:pt x="12" y="14"/>
                    <a:pt x="12" y="14"/>
                    <a:pt x="11" y="15"/>
                  </a:cubicBezTo>
                  <a:close/>
                  <a:moveTo>
                    <a:pt x="11" y="96"/>
                  </a:moveTo>
                  <a:cubicBezTo>
                    <a:pt x="10" y="96"/>
                    <a:pt x="10" y="97"/>
                    <a:pt x="9" y="97"/>
                  </a:cubicBezTo>
                  <a:cubicBezTo>
                    <a:pt x="3" y="97"/>
                    <a:pt x="3" y="97"/>
                    <a:pt x="3" y="97"/>
                  </a:cubicBezTo>
                  <a:cubicBezTo>
                    <a:pt x="2" y="97"/>
                    <a:pt x="1" y="96"/>
                    <a:pt x="1" y="96"/>
                  </a:cubicBezTo>
                  <a:cubicBezTo>
                    <a:pt x="0" y="95"/>
                    <a:pt x="0" y="95"/>
                    <a:pt x="0" y="94"/>
                  </a:cubicBezTo>
                  <a:cubicBezTo>
                    <a:pt x="0" y="29"/>
                    <a:pt x="0" y="29"/>
                    <a:pt x="0" y="29"/>
                  </a:cubicBezTo>
                  <a:cubicBezTo>
                    <a:pt x="0" y="28"/>
                    <a:pt x="0" y="28"/>
                    <a:pt x="1" y="27"/>
                  </a:cubicBezTo>
                  <a:cubicBezTo>
                    <a:pt x="1" y="27"/>
                    <a:pt x="2" y="27"/>
                    <a:pt x="3" y="27"/>
                  </a:cubicBezTo>
                  <a:cubicBezTo>
                    <a:pt x="9" y="27"/>
                    <a:pt x="9" y="27"/>
                    <a:pt x="9" y="27"/>
                  </a:cubicBezTo>
                  <a:cubicBezTo>
                    <a:pt x="10" y="27"/>
                    <a:pt x="10" y="27"/>
                    <a:pt x="11" y="27"/>
                  </a:cubicBezTo>
                  <a:cubicBezTo>
                    <a:pt x="11" y="28"/>
                    <a:pt x="12" y="28"/>
                    <a:pt x="12" y="29"/>
                  </a:cubicBezTo>
                  <a:cubicBezTo>
                    <a:pt x="12" y="94"/>
                    <a:pt x="12" y="94"/>
                    <a:pt x="12" y="94"/>
                  </a:cubicBezTo>
                  <a:cubicBezTo>
                    <a:pt x="12" y="95"/>
                    <a:pt x="11" y="95"/>
                    <a:pt x="1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258">
              <a:extLst>
                <a:ext uri="{FF2B5EF4-FFF2-40B4-BE49-F238E27FC236}">
                  <a16:creationId xmlns:a16="http://schemas.microsoft.com/office/drawing/2014/main" id="{5796D783-CBD6-4483-9C65-B66A3B5093DE}"/>
                </a:ext>
              </a:extLst>
            </p:cNvPr>
            <p:cNvSpPr>
              <a:spLocks noEditPoints="1"/>
            </p:cNvSpPr>
            <p:nvPr/>
          </p:nvSpPr>
          <p:spPr bwMode="auto">
            <a:xfrm>
              <a:off x="4830763" y="-2374900"/>
              <a:ext cx="171450" cy="295275"/>
            </a:xfrm>
            <a:custGeom>
              <a:avLst/>
              <a:gdLst>
                <a:gd name="T0" fmla="*/ 56 w 57"/>
                <a:gd name="T1" fmla="*/ 93 h 97"/>
                <a:gd name="T2" fmla="*/ 54 w 57"/>
                <a:gd name="T3" fmla="*/ 94 h 97"/>
                <a:gd name="T4" fmla="*/ 41 w 57"/>
                <a:gd name="T5" fmla="*/ 96 h 97"/>
                <a:gd name="T6" fmla="*/ 29 w 57"/>
                <a:gd name="T7" fmla="*/ 97 h 97"/>
                <a:gd name="T8" fmla="*/ 16 w 57"/>
                <a:gd name="T9" fmla="*/ 94 h 97"/>
                <a:gd name="T10" fmla="*/ 7 w 57"/>
                <a:gd name="T11" fmla="*/ 88 h 97"/>
                <a:gd name="T12" fmla="*/ 2 w 57"/>
                <a:gd name="T13" fmla="*/ 78 h 97"/>
                <a:gd name="T14" fmla="*/ 0 w 57"/>
                <a:gd name="T15" fmla="*/ 65 h 97"/>
                <a:gd name="T16" fmla="*/ 0 w 57"/>
                <a:gd name="T17" fmla="*/ 56 h 97"/>
                <a:gd name="T18" fmla="*/ 7 w 57"/>
                <a:gd name="T19" fmla="*/ 33 h 97"/>
                <a:gd name="T20" fmla="*/ 29 w 57"/>
                <a:gd name="T21" fmla="*/ 25 h 97"/>
                <a:gd name="T22" fmla="*/ 37 w 57"/>
                <a:gd name="T23" fmla="*/ 25 h 97"/>
                <a:gd name="T24" fmla="*/ 45 w 57"/>
                <a:gd name="T25" fmla="*/ 26 h 97"/>
                <a:gd name="T26" fmla="*/ 45 w 57"/>
                <a:gd name="T27" fmla="*/ 2 h 97"/>
                <a:gd name="T28" fmla="*/ 46 w 57"/>
                <a:gd name="T29" fmla="*/ 1 h 97"/>
                <a:gd name="T30" fmla="*/ 47 w 57"/>
                <a:gd name="T31" fmla="*/ 0 h 97"/>
                <a:gd name="T32" fmla="*/ 54 w 57"/>
                <a:gd name="T33" fmla="*/ 0 h 97"/>
                <a:gd name="T34" fmla="*/ 56 w 57"/>
                <a:gd name="T35" fmla="*/ 1 h 97"/>
                <a:gd name="T36" fmla="*/ 57 w 57"/>
                <a:gd name="T37" fmla="*/ 2 h 97"/>
                <a:gd name="T38" fmla="*/ 57 w 57"/>
                <a:gd name="T39" fmla="*/ 91 h 97"/>
                <a:gd name="T40" fmla="*/ 56 w 57"/>
                <a:gd name="T41" fmla="*/ 93 h 97"/>
                <a:gd name="T42" fmla="*/ 45 w 57"/>
                <a:gd name="T43" fmla="*/ 35 h 97"/>
                <a:gd name="T44" fmla="*/ 37 w 57"/>
                <a:gd name="T45" fmla="*/ 35 h 97"/>
                <a:gd name="T46" fmla="*/ 29 w 57"/>
                <a:gd name="T47" fmla="*/ 35 h 97"/>
                <a:gd name="T48" fmla="*/ 16 w 57"/>
                <a:gd name="T49" fmla="*/ 40 h 97"/>
                <a:gd name="T50" fmla="*/ 12 w 57"/>
                <a:gd name="T51" fmla="*/ 56 h 97"/>
                <a:gd name="T52" fmla="*/ 12 w 57"/>
                <a:gd name="T53" fmla="*/ 65 h 97"/>
                <a:gd name="T54" fmla="*/ 16 w 57"/>
                <a:gd name="T55" fmla="*/ 81 h 97"/>
                <a:gd name="T56" fmla="*/ 29 w 57"/>
                <a:gd name="T57" fmla="*/ 87 h 97"/>
                <a:gd name="T58" fmla="*/ 37 w 57"/>
                <a:gd name="T59" fmla="*/ 86 h 97"/>
                <a:gd name="T60" fmla="*/ 45 w 57"/>
                <a:gd name="T61" fmla="*/ 86 h 97"/>
                <a:gd name="T62" fmla="*/ 45 w 57"/>
                <a:gd name="T63"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97">
                  <a:moveTo>
                    <a:pt x="56" y="93"/>
                  </a:moveTo>
                  <a:cubicBezTo>
                    <a:pt x="56" y="94"/>
                    <a:pt x="55" y="94"/>
                    <a:pt x="54" y="94"/>
                  </a:cubicBezTo>
                  <a:cubicBezTo>
                    <a:pt x="50" y="95"/>
                    <a:pt x="46" y="96"/>
                    <a:pt x="41" y="96"/>
                  </a:cubicBezTo>
                  <a:cubicBezTo>
                    <a:pt x="37" y="96"/>
                    <a:pt x="33" y="97"/>
                    <a:pt x="29" y="97"/>
                  </a:cubicBezTo>
                  <a:cubicBezTo>
                    <a:pt x="24" y="97"/>
                    <a:pt x="20" y="96"/>
                    <a:pt x="16" y="94"/>
                  </a:cubicBezTo>
                  <a:cubicBezTo>
                    <a:pt x="13" y="93"/>
                    <a:pt x="10" y="91"/>
                    <a:pt x="7" y="88"/>
                  </a:cubicBezTo>
                  <a:cubicBezTo>
                    <a:pt x="5" y="85"/>
                    <a:pt x="3" y="82"/>
                    <a:pt x="2" y="78"/>
                  </a:cubicBezTo>
                  <a:cubicBezTo>
                    <a:pt x="1" y="74"/>
                    <a:pt x="0" y="70"/>
                    <a:pt x="0" y="65"/>
                  </a:cubicBezTo>
                  <a:cubicBezTo>
                    <a:pt x="0" y="56"/>
                    <a:pt x="0" y="56"/>
                    <a:pt x="0" y="56"/>
                  </a:cubicBezTo>
                  <a:cubicBezTo>
                    <a:pt x="0" y="46"/>
                    <a:pt x="3" y="38"/>
                    <a:pt x="7" y="33"/>
                  </a:cubicBezTo>
                  <a:cubicBezTo>
                    <a:pt x="12" y="27"/>
                    <a:pt x="19" y="25"/>
                    <a:pt x="29" y="25"/>
                  </a:cubicBezTo>
                  <a:cubicBezTo>
                    <a:pt x="31" y="25"/>
                    <a:pt x="34" y="25"/>
                    <a:pt x="37" y="25"/>
                  </a:cubicBezTo>
                  <a:cubicBezTo>
                    <a:pt x="40" y="25"/>
                    <a:pt x="42" y="26"/>
                    <a:pt x="45" y="26"/>
                  </a:cubicBezTo>
                  <a:cubicBezTo>
                    <a:pt x="45" y="2"/>
                    <a:pt x="45" y="2"/>
                    <a:pt x="45" y="2"/>
                  </a:cubicBezTo>
                  <a:cubicBezTo>
                    <a:pt x="45" y="2"/>
                    <a:pt x="45" y="1"/>
                    <a:pt x="46" y="1"/>
                  </a:cubicBezTo>
                  <a:cubicBezTo>
                    <a:pt x="46" y="0"/>
                    <a:pt x="47" y="0"/>
                    <a:pt x="47" y="0"/>
                  </a:cubicBezTo>
                  <a:cubicBezTo>
                    <a:pt x="54" y="0"/>
                    <a:pt x="54" y="0"/>
                    <a:pt x="54" y="0"/>
                  </a:cubicBezTo>
                  <a:cubicBezTo>
                    <a:pt x="55" y="0"/>
                    <a:pt x="56" y="0"/>
                    <a:pt x="56" y="1"/>
                  </a:cubicBezTo>
                  <a:cubicBezTo>
                    <a:pt x="56" y="1"/>
                    <a:pt x="57" y="2"/>
                    <a:pt x="57" y="2"/>
                  </a:cubicBezTo>
                  <a:cubicBezTo>
                    <a:pt x="57" y="91"/>
                    <a:pt x="57" y="91"/>
                    <a:pt x="57" y="91"/>
                  </a:cubicBezTo>
                  <a:cubicBezTo>
                    <a:pt x="57" y="92"/>
                    <a:pt x="57" y="93"/>
                    <a:pt x="56" y="93"/>
                  </a:cubicBezTo>
                  <a:close/>
                  <a:moveTo>
                    <a:pt x="45" y="35"/>
                  </a:moveTo>
                  <a:cubicBezTo>
                    <a:pt x="43" y="35"/>
                    <a:pt x="40" y="35"/>
                    <a:pt x="37" y="35"/>
                  </a:cubicBezTo>
                  <a:cubicBezTo>
                    <a:pt x="34" y="35"/>
                    <a:pt x="31" y="35"/>
                    <a:pt x="29" y="35"/>
                  </a:cubicBezTo>
                  <a:cubicBezTo>
                    <a:pt x="23" y="35"/>
                    <a:pt x="18" y="36"/>
                    <a:pt x="16" y="40"/>
                  </a:cubicBezTo>
                  <a:cubicBezTo>
                    <a:pt x="13" y="44"/>
                    <a:pt x="12" y="49"/>
                    <a:pt x="12" y="56"/>
                  </a:cubicBezTo>
                  <a:cubicBezTo>
                    <a:pt x="12" y="65"/>
                    <a:pt x="12" y="65"/>
                    <a:pt x="12" y="65"/>
                  </a:cubicBezTo>
                  <a:cubicBezTo>
                    <a:pt x="12" y="72"/>
                    <a:pt x="13" y="77"/>
                    <a:pt x="16" y="81"/>
                  </a:cubicBezTo>
                  <a:cubicBezTo>
                    <a:pt x="18" y="85"/>
                    <a:pt x="23" y="87"/>
                    <a:pt x="29" y="87"/>
                  </a:cubicBezTo>
                  <a:cubicBezTo>
                    <a:pt x="32" y="87"/>
                    <a:pt x="34" y="87"/>
                    <a:pt x="37" y="86"/>
                  </a:cubicBezTo>
                  <a:cubicBezTo>
                    <a:pt x="40" y="86"/>
                    <a:pt x="43" y="86"/>
                    <a:pt x="45" y="86"/>
                  </a:cubicBez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259">
              <a:extLst>
                <a:ext uri="{FF2B5EF4-FFF2-40B4-BE49-F238E27FC236}">
                  <a16:creationId xmlns:a16="http://schemas.microsoft.com/office/drawing/2014/main" id="{342D576C-DA7D-44C2-935C-E04E0014EC34}"/>
                </a:ext>
              </a:extLst>
            </p:cNvPr>
            <p:cNvSpPr>
              <a:spLocks noEditPoints="1"/>
            </p:cNvSpPr>
            <p:nvPr/>
          </p:nvSpPr>
          <p:spPr bwMode="auto">
            <a:xfrm>
              <a:off x="5046663" y="-2298700"/>
              <a:ext cx="180975" cy="219075"/>
            </a:xfrm>
            <a:custGeom>
              <a:avLst/>
              <a:gdLst>
                <a:gd name="T0" fmla="*/ 57 w 60"/>
                <a:gd name="T1" fmla="*/ 39 h 72"/>
                <a:gd name="T2" fmla="*/ 12 w 60"/>
                <a:gd name="T3" fmla="*/ 39 h 72"/>
                <a:gd name="T4" fmla="*/ 12 w 60"/>
                <a:gd name="T5" fmla="*/ 41 h 72"/>
                <a:gd name="T6" fmla="*/ 17 w 60"/>
                <a:gd name="T7" fmla="*/ 57 h 72"/>
                <a:gd name="T8" fmla="*/ 31 w 60"/>
                <a:gd name="T9" fmla="*/ 62 h 72"/>
                <a:gd name="T10" fmla="*/ 43 w 60"/>
                <a:gd name="T11" fmla="*/ 61 h 72"/>
                <a:gd name="T12" fmla="*/ 55 w 60"/>
                <a:gd name="T13" fmla="*/ 60 h 72"/>
                <a:gd name="T14" fmla="*/ 55 w 60"/>
                <a:gd name="T15" fmla="*/ 60 h 72"/>
                <a:gd name="T16" fmla="*/ 57 w 60"/>
                <a:gd name="T17" fmla="*/ 61 h 72"/>
                <a:gd name="T18" fmla="*/ 57 w 60"/>
                <a:gd name="T19" fmla="*/ 62 h 72"/>
                <a:gd name="T20" fmla="*/ 57 w 60"/>
                <a:gd name="T21" fmla="*/ 66 h 72"/>
                <a:gd name="T22" fmla="*/ 57 w 60"/>
                <a:gd name="T23" fmla="*/ 68 h 72"/>
                <a:gd name="T24" fmla="*/ 55 w 60"/>
                <a:gd name="T25" fmla="*/ 69 h 72"/>
                <a:gd name="T26" fmla="*/ 43 w 60"/>
                <a:gd name="T27" fmla="*/ 71 h 72"/>
                <a:gd name="T28" fmla="*/ 31 w 60"/>
                <a:gd name="T29" fmla="*/ 72 h 72"/>
                <a:gd name="T30" fmla="*/ 20 w 60"/>
                <a:gd name="T31" fmla="*/ 70 h 72"/>
                <a:gd name="T32" fmla="*/ 10 w 60"/>
                <a:gd name="T33" fmla="*/ 65 h 72"/>
                <a:gd name="T34" fmla="*/ 3 w 60"/>
                <a:gd name="T35" fmla="*/ 56 h 72"/>
                <a:gd name="T36" fmla="*/ 0 w 60"/>
                <a:gd name="T37" fmla="*/ 41 h 72"/>
                <a:gd name="T38" fmla="*/ 0 w 60"/>
                <a:gd name="T39" fmla="*/ 29 h 72"/>
                <a:gd name="T40" fmla="*/ 8 w 60"/>
                <a:gd name="T41" fmla="*/ 8 h 72"/>
                <a:gd name="T42" fmla="*/ 30 w 60"/>
                <a:gd name="T43" fmla="*/ 0 h 72"/>
                <a:gd name="T44" fmla="*/ 43 w 60"/>
                <a:gd name="T45" fmla="*/ 2 h 72"/>
                <a:gd name="T46" fmla="*/ 52 w 60"/>
                <a:gd name="T47" fmla="*/ 8 h 72"/>
                <a:gd name="T48" fmla="*/ 58 w 60"/>
                <a:gd name="T49" fmla="*/ 17 h 72"/>
                <a:gd name="T50" fmla="*/ 60 w 60"/>
                <a:gd name="T51" fmla="*/ 29 h 72"/>
                <a:gd name="T52" fmla="*/ 60 w 60"/>
                <a:gd name="T53" fmla="*/ 36 h 72"/>
                <a:gd name="T54" fmla="*/ 57 w 60"/>
                <a:gd name="T55" fmla="*/ 39 h 72"/>
                <a:gd name="T56" fmla="*/ 48 w 60"/>
                <a:gd name="T57" fmla="*/ 29 h 72"/>
                <a:gd name="T58" fmla="*/ 43 w 60"/>
                <a:gd name="T59" fmla="*/ 14 h 72"/>
                <a:gd name="T60" fmla="*/ 30 w 60"/>
                <a:gd name="T61" fmla="*/ 10 h 72"/>
                <a:gd name="T62" fmla="*/ 17 w 60"/>
                <a:gd name="T63" fmla="*/ 14 h 72"/>
                <a:gd name="T64" fmla="*/ 12 w 60"/>
                <a:gd name="T65" fmla="*/ 29 h 72"/>
                <a:gd name="T66" fmla="*/ 12 w 60"/>
                <a:gd name="T67" fmla="*/ 31 h 72"/>
                <a:gd name="T68" fmla="*/ 48 w 60"/>
                <a:gd name="T69" fmla="*/ 31 h 72"/>
                <a:gd name="T70" fmla="*/ 48 w 60"/>
                <a:gd name="T71"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2">
                  <a:moveTo>
                    <a:pt x="57" y="39"/>
                  </a:moveTo>
                  <a:cubicBezTo>
                    <a:pt x="12" y="39"/>
                    <a:pt x="12" y="39"/>
                    <a:pt x="12" y="39"/>
                  </a:cubicBezTo>
                  <a:cubicBezTo>
                    <a:pt x="12" y="41"/>
                    <a:pt x="12" y="41"/>
                    <a:pt x="12" y="41"/>
                  </a:cubicBezTo>
                  <a:cubicBezTo>
                    <a:pt x="12" y="49"/>
                    <a:pt x="14" y="54"/>
                    <a:pt x="17" y="57"/>
                  </a:cubicBezTo>
                  <a:cubicBezTo>
                    <a:pt x="20" y="60"/>
                    <a:pt x="25" y="62"/>
                    <a:pt x="31" y="62"/>
                  </a:cubicBezTo>
                  <a:cubicBezTo>
                    <a:pt x="35" y="62"/>
                    <a:pt x="39" y="62"/>
                    <a:pt x="43" y="61"/>
                  </a:cubicBezTo>
                  <a:cubicBezTo>
                    <a:pt x="48" y="61"/>
                    <a:pt x="51" y="61"/>
                    <a:pt x="55" y="60"/>
                  </a:cubicBezTo>
                  <a:cubicBezTo>
                    <a:pt x="55" y="60"/>
                    <a:pt x="55" y="60"/>
                    <a:pt x="55" y="60"/>
                  </a:cubicBezTo>
                  <a:cubicBezTo>
                    <a:pt x="56" y="60"/>
                    <a:pt x="56" y="60"/>
                    <a:pt x="57" y="61"/>
                  </a:cubicBezTo>
                  <a:cubicBezTo>
                    <a:pt x="57" y="61"/>
                    <a:pt x="57" y="61"/>
                    <a:pt x="57" y="62"/>
                  </a:cubicBezTo>
                  <a:cubicBezTo>
                    <a:pt x="57" y="66"/>
                    <a:pt x="57" y="66"/>
                    <a:pt x="57" y="66"/>
                  </a:cubicBezTo>
                  <a:cubicBezTo>
                    <a:pt x="57" y="67"/>
                    <a:pt x="57" y="68"/>
                    <a:pt x="57" y="68"/>
                  </a:cubicBezTo>
                  <a:cubicBezTo>
                    <a:pt x="56" y="69"/>
                    <a:pt x="56" y="69"/>
                    <a:pt x="55" y="69"/>
                  </a:cubicBezTo>
                  <a:cubicBezTo>
                    <a:pt x="51" y="70"/>
                    <a:pt x="47" y="71"/>
                    <a:pt x="43" y="71"/>
                  </a:cubicBezTo>
                  <a:cubicBezTo>
                    <a:pt x="39" y="71"/>
                    <a:pt x="35" y="72"/>
                    <a:pt x="31" y="72"/>
                  </a:cubicBezTo>
                  <a:cubicBezTo>
                    <a:pt x="27" y="72"/>
                    <a:pt x="23" y="71"/>
                    <a:pt x="20" y="70"/>
                  </a:cubicBezTo>
                  <a:cubicBezTo>
                    <a:pt x="16" y="69"/>
                    <a:pt x="13" y="67"/>
                    <a:pt x="10" y="65"/>
                  </a:cubicBezTo>
                  <a:cubicBezTo>
                    <a:pt x="7" y="63"/>
                    <a:pt x="5" y="60"/>
                    <a:pt x="3" y="56"/>
                  </a:cubicBezTo>
                  <a:cubicBezTo>
                    <a:pt x="1" y="52"/>
                    <a:pt x="0" y="47"/>
                    <a:pt x="0" y="41"/>
                  </a:cubicBezTo>
                  <a:cubicBezTo>
                    <a:pt x="0" y="29"/>
                    <a:pt x="0" y="29"/>
                    <a:pt x="0" y="29"/>
                  </a:cubicBezTo>
                  <a:cubicBezTo>
                    <a:pt x="0" y="20"/>
                    <a:pt x="3" y="13"/>
                    <a:pt x="8" y="8"/>
                  </a:cubicBezTo>
                  <a:cubicBezTo>
                    <a:pt x="13" y="2"/>
                    <a:pt x="20" y="0"/>
                    <a:pt x="30" y="0"/>
                  </a:cubicBezTo>
                  <a:cubicBezTo>
                    <a:pt x="35" y="0"/>
                    <a:pt x="39" y="0"/>
                    <a:pt x="43" y="2"/>
                  </a:cubicBezTo>
                  <a:cubicBezTo>
                    <a:pt x="47" y="3"/>
                    <a:pt x="50" y="5"/>
                    <a:pt x="52" y="8"/>
                  </a:cubicBezTo>
                  <a:cubicBezTo>
                    <a:pt x="55" y="10"/>
                    <a:pt x="56" y="14"/>
                    <a:pt x="58" y="17"/>
                  </a:cubicBezTo>
                  <a:cubicBezTo>
                    <a:pt x="59" y="21"/>
                    <a:pt x="60" y="25"/>
                    <a:pt x="60" y="29"/>
                  </a:cubicBezTo>
                  <a:cubicBezTo>
                    <a:pt x="60" y="36"/>
                    <a:pt x="60" y="36"/>
                    <a:pt x="60" y="36"/>
                  </a:cubicBezTo>
                  <a:cubicBezTo>
                    <a:pt x="60" y="38"/>
                    <a:pt x="59" y="39"/>
                    <a:pt x="57" y="39"/>
                  </a:cubicBezTo>
                  <a:close/>
                  <a:moveTo>
                    <a:pt x="48" y="29"/>
                  </a:moveTo>
                  <a:cubicBezTo>
                    <a:pt x="48" y="22"/>
                    <a:pt x="46" y="17"/>
                    <a:pt x="43" y="14"/>
                  </a:cubicBezTo>
                  <a:cubicBezTo>
                    <a:pt x="40" y="11"/>
                    <a:pt x="36" y="10"/>
                    <a:pt x="30" y="10"/>
                  </a:cubicBezTo>
                  <a:cubicBezTo>
                    <a:pt x="24" y="10"/>
                    <a:pt x="20" y="11"/>
                    <a:pt x="17" y="14"/>
                  </a:cubicBezTo>
                  <a:cubicBezTo>
                    <a:pt x="14" y="18"/>
                    <a:pt x="12" y="23"/>
                    <a:pt x="12" y="29"/>
                  </a:cubicBezTo>
                  <a:cubicBezTo>
                    <a:pt x="12" y="31"/>
                    <a:pt x="12" y="31"/>
                    <a:pt x="12" y="31"/>
                  </a:cubicBezTo>
                  <a:cubicBezTo>
                    <a:pt x="48" y="31"/>
                    <a:pt x="48" y="31"/>
                    <a:pt x="48" y="31"/>
                  </a:cubicBezTo>
                  <a:lnTo>
                    <a:pt x="4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60">
              <a:extLst>
                <a:ext uri="{FF2B5EF4-FFF2-40B4-BE49-F238E27FC236}">
                  <a16:creationId xmlns:a16="http://schemas.microsoft.com/office/drawing/2014/main" id="{99DF15AA-C9D1-4CA2-9AEA-7581D335B35E}"/>
                </a:ext>
              </a:extLst>
            </p:cNvPr>
            <p:cNvSpPr>
              <a:spLocks/>
            </p:cNvSpPr>
            <p:nvPr/>
          </p:nvSpPr>
          <p:spPr bwMode="auto">
            <a:xfrm>
              <a:off x="5265738" y="-2298700"/>
              <a:ext cx="147637" cy="219075"/>
            </a:xfrm>
            <a:custGeom>
              <a:avLst/>
              <a:gdLst>
                <a:gd name="T0" fmla="*/ 49 w 49"/>
                <a:gd name="T1" fmla="*/ 53 h 72"/>
                <a:gd name="T2" fmla="*/ 42 w 49"/>
                <a:gd name="T3" fmla="*/ 67 h 72"/>
                <a:gd name="T4" fmla="*/ 24 w 49"/>
                <a:gd name="T5" fmla="*/ 72 h 72"/>
                <a:gd name="T6" fmla="*/ 20 w 49"/>
                <a:gd name="T7" fmla="*/ 71 h 72"/>
                <a:gd name="T8" fmla="*/ 14 w 49"/>
                <a:gd name="T9" fmla="*/ 71 h 72"/>
                <a:gd name="T10" fmla="*/ 8 w 49"/>
                <a:gd name="T11" fmla="*/ 70 h 72"/>
                <a:gd name="T12" fmla="*/ 3 w 49"/>
                <a:gd name="T13" fmla="*/ 70 h 72"/>
                <a:gd name="T14" fmla="*/ 0 w 49"/>
                <a:gd name="T15" fmla="*/ 67 h 72"/>
                <a:gd name="T16" fmla="*/ 0 w 49"/>
                <a:gd name="T17" fmla="*/ 63 h 72"/>
                <a:gd name="T18" fmla="*/ 1 w 49"/>
                <a:gd name="T19" fmla="*/ 61 h 72"/>
                <a:gd name="T20" fmla="*/ 3 w 49"/>
                <a:gd name="T21" fmla="*/ 61 h 72"/>
                <a:gd name="T22" fmla="*/ 3 w 49"/>
                <a:gd name="T23" fmla="*/ 61 h 72"/>
                <a:gd name="T24" fmla="*/ 8 w 49"/>
                <a:gd name="T25" fmla="*/ 61 h 72"/>
                <a:gd name="T26" fmla="*/ 14 w 49"/>
                <a:gd name="T27" fmla="*/ 62 h 72"/>
                <a:gd name="T28" fmla="*/ 20 w 49"/>
                <a:gd name="T29" fmla="*/ 62 h 72"/>
                <a:gd name="T30" fmla="*/ 24 w 49"/>
                <a:gd name="T31" fmla="*/ 62 h 72"/>
                <a:gd name="T32" fmla="*/ 34 w 49"/>
                <a:gd name="T33" fmla="*/ 60 h 72"/>
                <a:gd name="T34" fmla="*/ 37 w 49"/>
                <a:gd name="T35" fmla="*/ 53 h 72"/>
                <a:gd name="T36" fmla="*/ 35 w 49"/>
                <a:gd name="T37" fmla="*/ 48 h 72"/>
                <a:gd name="T38" fmla="*/ 27 w 49"/>
                <a:gd name="T39" fmla="*/ 42 h 72"/>
                <a:gd name="T40" fmla="*/ 14 w 49"/>
                <a:gd name="T41" fmla="*/ 35 h 72"/>
                <a:gd name="T42" fmla="*/ 4 w 49"/>
                <a:gd name="T43" fmla="*/ 27 h 72"/>
                <a:gd name="T44" fmla="*/ 0 w 49"/>
                <a:gd name="T45" fmla="*/ 17 h 72"/>
                <a:gd name="T46" fmla="*/ 2 w 49"/>
                <a:gd name="T47" fmla="*/ 8 h 72"/>
                <a:gd name="T48" fmla="*/ 7 w 49"/>
                <a:gd name="T49" fmla="*/ 3 h 72"/>
                <a:gd name="T50" fmla="*/ 15 w 49"/>
                <a:gd name="T51" fmla="*/ 0 h 72"/>
                <a:gd name="T52" fmla="*/ 24 w 49"/>
                <a:gd name="T53" fmla="*/ 0 h 72"/>
                <a:gd name="T54" fmla="*/ 35 w 49"/>
                <a:gd name="T55" fmla="*/ 0 h 72"/>
                <a:gd name="T56" fmla="*/ 45 w 49"/>
                <a:gd name="T57" fmla="*/ 1 h 72"/>
                <a:gd name="T58" fmla="*/ 48 w 49"/>
                <a:gd name="T59" fmla="*/ 4 h 72"/>
                <a:gd name="T60" fmla="*/ 48 w 49"/>
                <a:gd name="T61" fmla="*/ 8 h 72"/>
                <a:gd name="T62" fmla="*/ 45 w 49"/>
                <a:gd name="T63" fmla="*/ 10 h 72"/>
                <a:gd name="T64" fmla="*/ 45 w 49"/>
                <a:gd name="T65" fmla="*/ 10 h 72"/>
                <a:gd name="T66" fmla="*/ 36 w 49"/>
                <a:gd name="T67" fmla="*/ 10 h 72"/>
                <a:gd name="T68" fmla="*/ 24 w 49"/>
                <a:gd name="T69" fmla="*/ 9 h 72"/>
                <a:gd name="T70" fmla="*/ 15 w 49"/>
                <a:gd name="T71" fmla="*/ 11 h 72"/>
                <a:gd name="T72" fmla="*/ 12 w 49"/>
                <a:gd name="T73" fmla="*/ 17 h 72"/>
                <a:gd name="T74" fmla="*/ 14 w 49"/>
                <a:gd name="T75" fmla="*/ 22 h 72"/>
                <a:gd name="T76" fmla="*/ 21 w 49"/>
                <a:gd name="T77" fmla="*/ 26 h 72"/>
                <a:gd name="T78" fmla="*/ 34 w 49"/>
                <a:gd name="T79" fmla="*/ 34 h 72"/>
                <a:gd name="T80" fmla="*/ 46 w 49"/>
                <a:gd name="T81" fmla="*/ 43 h 72"/>
                <a:gd name="T82" fmla="*/ 49 w 49"/>
                <a:gd name="T83"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72">
                  <a:moveTo>
                    <a:pt x="49" y="53"/>
                  </a:moveTo>
                  <a:cubicBezTo>
                    <a:pt x="49" y="59"/>
                    <a:pt x="47" y="64"/>
                    <a:pt x="42" y="67"/>
                  </a:cubicBezTo>
                  <a:cubicBezTo>
                    <a:pt x="38" y="70"/>
                    <a:pt x="32" y="72"/>
                    <a:pt x="24" y="72"/>
                  </a:cubicBezTo>
                  <a:cubicBezTo>
                    <a:pt x="23" y="72"/>
                    <a:pt x="21" y="71"/>
                    <a:pt x="20" y="71"/>
                  </a:cubicBezTo>
                  <a:cubicBezTo>
                    <a:pt x="18" y="71"/>
                    <a:pt x="16" y="71"/>
                    <a:pt x="14" y="71"/>
                  </a:cubicBezTo>
                  <a:cubicBezTo>
                    <a:pt x="12" y="71"/>
                    <a:pt x="10" y="71"/>
                    <a:pt x="8" y="70"/>
                  </a:cubicBezTo>
                  <a:cubicBezTo>
                    <a:pt x="6" y="70"/>
                    <a:pt x="5" y="70"/>
                    <a:pt x="3" y="70"/>
                  </a:cubicBezTo>
                  <a:cubicBezTo>
                    <a:pt x="1" y="69"/>
                    <a:pt x="0" y="68"/>
                    <a:pt x="0" y="67"/>
                  </a:cubicBezTo>
                  <a:cubicBezTo>
                    <a:pt x="0" y="63"/>
                    <a:pt x="0" y="63"/>
                    <a:pt x="0" y="63"/>
                  </a:cubicBezTo>
                  <a:cubicBezTo>
                    <a:pt x="0" y="62"/>
                    <a:pt x="0" y="62"/>
                    <a:pt x="1" y="61"/>
                  </a:cubicBezTo>
                  <a:cubicBezTo>
                    <a:pt x="1" y="61"/>
                    <a:pt x="2" y="61"/>
                    <a:pt x="3" y="61"/>
                  </a:cubicBezTo>
                  <a:cubicBezTo>
                    <a:pt x="3" y="61"/>
                    <a:pt x="3" y="61"/>
                    <a:pt x="3" y="61"/>
                  </a:cubicBezTo>
                  <a:cubicBezTo>
                    <a:pt x="5" y="61"/>
                    <a:pt x="6" y="61"/>
                    <a:pt x="8" y="61"/>
                  </a:cubicBezTo>
                  <a:cubicBezTo>
                    <a:pt x="10" y="61"/>
                    <a:pt x="12" y="62"/>
                    <a:pt x="14" y="62"/>
                  </a:cubicBezTo>
                  <a:cubicBezTo>
                    <a:pt x="16" y="62"/>
                    <a:pt x="18" y="62"/>
                    <a:pt x="20" y="62"/>
                  </a:cubicBezTo>
                  <a:cubicBezTo>
                    <a:pt x="21" y="62"/>
                    <a:pt x="23" y="62"/>
                    <a:pt x="24" y="62"/>
                  </a:cubicBezTo>
                  <a:cubicBezTo>
                    <a:pt x="28" y="62"/>
                    <a:pt x="32" y="61"/>
                    <a:pt x="34" y="60"/>
                  </a:cubicBezTo>
                  <a:cubicBezTo>
                    <a:pt x="36" y="59"/>
                    <a:pt x="37" y="57"/>
                    <a:pt x="37" y="53"/>
                  </a:cubicBezTo>
                  <a:cubicBezTo>
                    <a:pt x="37" y="51"/>
                    <a:pt x="37" y="49"/>
                    <a:pt x="35" y="48"/>
                  </a:cubicBezTo>
                  <a:cubicBezTo>
                    <a:pt x="34" y="47"/>
                    <a:pt x="31" y="45"/>
                    <a:pt x="27" y="42"/>
                  </a:cubicBezTo>
                  <a:cubicBezTo>
                    <a:pt x="14" y="35"/>
                    <a:pt x="14" y="35"/>
                    <a:pt x="14" y="35"/>
                  </a:cubicBezTo>
                  <a:cubicBezTo>
                    <a:pt x="10" y="32"/>
                    <a:pt x="6" y="30"/>
                    <a:pt x="4" y="27"/>
                  </a:cubicBezTo>
                  <a:cubicBezTo>
                    <a:pt x="1" y="24"/>
                    <a:pt x="0" y="21"/>
                    <a:pt x="0" y="17"/>
                  </a:cubicBezTo>
                  <a:cubicBezTo>
                    <a:pt x="0" y="13"/>
                    <a:pt x="1" y="11"/>
                    <a:pt x="2" y="8"/>
                  </a:cubicBezTo>
                  <a:cubicBezTo>
                    <a:pt x="3" y="6"/>
                    <a:pt x="5" y="5"/>
                    <a:pt x="7" y="3"/>
                  </a:cubicBezTo>
                  <a:cubicBezTo>
                    <a:pt x="9" y="2"/>
                    <a:pt x="12" y="1"/>
                    <a:pt x="15" y="0"/>
                  </a:cubicBezTo>
                  <a:cubicBezTo>
                    <a:pt x="18" y="0"/>
                    <a:pt x="21" y="0"/>
                    <a:pt x="24" y="0"/>
                  </a:cubicBezTo>
                  <a:cubicBezTo>
                    <a:pt x="28" y="0"/>
                    <a:pt x="32" y="0"/>
                    <a:pt x="35" y="0"/>
                  </a:cubicBezTo>
                  <a:cubicBezTo>
                    <a:pt x="39" y="0"/>
                    <a:pt x="42" y="1"/>
                    <a:pt x="45" y="1"/>
                  </a:cubicBezTo>
                  <a:cubicBezTo>
                    <a:pt x="47" y="2"/>
                    <a:pt x="48" y="2"/>
                    <a:pt x="48" y="4"/>
                  </a:cubicBezTo>
                  <a:cubicBezTo>
                    <a:pt x="48" y="8"/>
                    <a:pt x="48" y="8"/>
                    <a:pt x="48" y="8"/>
                  </a:cubicBezTo>
                  <a:cubicBezTo>
                    <a:pt x="48" y="10"/>
                    <a:pt x="47" y="10"/>
                    <a:pt x="45" y="10"/>
                  </a:cubicBezTo>
                  <a:cubicBezTo>
                    <a:pt x="45" y="10"/>
                    <a:pt x="45" y="10"/>
                    <a:pt x="45" y="10"/>
                  </a:cubicBezTo>
                  <a:cubicBezTo>
                    <a:pt x="43" y="10"/>
                    <a:pt x="40" y="10"/>
                    <a:pt x="36" y="10"/>
                  </a:cubicBezTo>
                  <a:cubicBezTo>
                    <a:pt x="32" y="9"/>
                    <a:pt x="28" y="9"/>
                    <a:pt x="24" y="9"/>
                  </a:cubicBezTo>
                  <a:cubicBezTo>
                    <a:pt x="21" y="9"/>
                    <a:pt x="18" y="10"/>
                    <a:pt x="15" y="11"/>
                  </a:cubicBezTo>
                  <a:cubicBezTo>
                    <a:pt x="13" y="11"/>
                    <a:pt x="12" y="13"/>
                    <a:pt x="12" y="17"/>
                  </a:cubicBezTo>
                  <a:cubicBezTo>
                    <a:pt x="12" y="19"/>
                    <a:pt x="13" y="20"/>
                    <a:pt x="14" y="22"/>
                  </a:cubicBezTo>
                  <a:cubicBezTo>
                    <a:pt x="16" y="23"/>
                    <a:pt x="18" y="25"/>
                    <a:pt x="21" y="26"/>
                  </a:cubicBezTo>
                  <a:cubicBezTo>
                    <a:pt x="34" y="34"/>
                    <a:pt x="34" y="34"/>
                    <a:pt x="34" y="34"/>
                  </a:cubicBezTo>
                  <a:cubicBezTo>
                    <a:pt x="40" y="37"/>
                    <a:pt x="44" y="40"/>
                    <a:pt x="46" y="43"/>
                  </a:cubicBezTo>
                  <a:cubicBezTo>
                    <a:pt x="48" y="46"/>
                    <a:pt x="49" y="49"/>
                    <a:pt x="49"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261">
              <a:extLst>
                <a:ext uri="{FF2B5EF4-FFF2-40B4-BE49-F238E27FC236}">
                  <a16:creationId xmlns:a16="http://schemas.microsoft.com/office/drawing/2014/main" id="{0302B77C-CA7F-4E16-8609-8C3443146277}"/>
                </a:ext>
              </a:extLst>
            </p:cNvPr>
            <p:cNvSpPr>
              <a:spLocks noChangeArrowheads="1"/>
            </p:cNvSpPr>
            <p:nvPr/>
          </p:nvSpPr>
          <p:spPr bwMode="auto">
            <a:xfrm>
              <a:off x="4410075" y="-2116138"/>
              <a:ext cx="165100" cy="3333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62">
              <a:extLst>
                <a:ext uri="{FF2B5EF4-FFF2-40B4-BE49-F238E27FC236}">
                  <a16:creationId xmlns:a16="http://schemas.microsoft.com/office/drawing/2014/main" id="{7962BEA8-8CE2-4E19-AC59-9F2811A576F1}"/>
                </a:ext>
              </a:extLst>
            </p:cNvPr>
            <p:cNvSpPr>
              <a:spLocks/>
            </p:cNvSpPr>
            <p:nvPr/>
          </p:nvSpPr>
          <p:spPr bwMode="auto">
            <a:xfrm>
              <a:off x="4419600" y="-2374900"/>
              <a:ext cx="168275" cy="292100"/>
            </a:xfrm>
            <a:custGeom>
              <a:avLst/>
              <a:gdLst>
                <a:gd name="T0" fmla="*/ 7 w 56"/>
                <a:gd name="T1" fmla="*/ 5 h 96"/>
                <a:gd name="T2" fmla="*/ 30 w 56"/>
                <a:gd name="T3" fmla="*/ 0 h 96"/>
                <a:gd name="T4" fmla="*/ 41 w 56"/>
                <a:gd name="T5" fmla="*/ 0 h 96"/>
                <a:gd name="T6" fmla="*/ 52 w 56"/>
                <a:gd name="T7" fmla="*/ 2 h 96"/>
                <a:gd name="T8" fmla="*/ 54 w 56"/>
                <a:gd name="T9" fmla="*/ 3 h 96"/>
                <a:gd name="T10" fmla="*/ 54 w 56"/>
                <a:gd name="T11" fmla="*/ 5 h 96"/>
                <a:gd name="T12" fmla="*/ 54 w 56"/>
                <a:gd name="T13" fmla="*/ 9 h 96"/>
                <a:gd name="T14" fmla="*/ 52 w 56"/>
                <a:gd name="T15" fmla="*/ 12 h 96"/>
                <a:gd name="T16" fmla="*/ 52 w 56"/>
                <a:gd name="T17" fmla="*/ 12 h 96"/>
                <a:gd name="T18" fmla="*/ 41 w 56"/>
                <a:gd name="T19" fmla="*/ 10 h 96"/>
                <a:gd name="T20" fmla="*/ 30 w 56"/>
                <a:gd name="T21" fmla="*/ 10 h 96"/>
                <a:gd name="T22" fmla="*/ 15 w 56"/>
                <a:gd name="T23" fmla="*/ 13 h 96"/>
                <a:gd name="T24" fmla="*/ 11 w 56"/>
                <a:gd name="T25" fmla="*/ 23 h 96"/>
                <a:gd name="T26" fmla="*/ 11 w 56"/>
                <a:gd name="T27" fmla="*/ 28 h 96"/>
                <a:gd name="T28" fmla="*/ 13 w 56"/>
                <a:gd name="T29" fmla="*/ 32 h 96"/>
                <a:gd name="T30" fmla="*/ 17 w 56"/>
                <a:gd name="T31" fmla="*/ 36 h 96"/>
                <a:gd name="T32" fmla="*/ 24 w 56"/>
                <a:gd name="T33" fmla="*/ 41 h 96"/>
                <a:gd name="T34" fmla="*/ 36 w 56"/>
                <a:gd name="T35" fmla="*/ 49 h 96"/>
                <a:gd name="T36" fmla="*/ 51 w 56"/>
                <a:gd name="T37" fmla="*/ 65 h 96"/>
                <a:gd name="T38" fmla="*/ 56 w 56"/>
                <a:gd name="T39" fmla="*/ 83 h 96"/>
                <a:gd name="T40" fmla="*/ 56 w 56"/>
                <a:gd name="T41" fmla="*/ 93 h 96"/>
                <a:gd name="T42" fmla="*/ 55 w 56"/>
                <a:gd name="T43" fmla="*/ 95 h 96"/>
                <a:gd name="T44" fmla="*/ 53 w 56"/>
                <a:gd name="T45" fmla="*/ 96 h 96"/>
                <a:gd name="T46" fmla="*/ 3 w 56"/>
                <a:gd name="T47" fmla="*/ 96 h 96"/>
                <a:gd name="T48" fmla="*/ 2 w 56"/>
                <a:gd name="T49" fmla="*/ 95 h 96"/>
                <a:gd name="T50" fmla="*/ 1 w 56"/>
                <a:gd name="T51" fmla="*/ 93 h 96"/>
                <a:gd name="T52" fmla="*/ 1 w 56"/>
                <a:gd name="T53" fmla="*/ 88 h 96"/>
                <a:gd name="T54" fmla="*/ 2 w 56"/>
                <a:gd name="T55" fmla="*/ 86 h 96"/>
                <a:gd name="T56" fmla="*/ 3 w 56"/>
                <a:gd name="T57" fmla="*/ 85 h 96"/>
                <a:gd name="T58" fmla="*/ 46 w 56"/>
                <a:gd name="T59" fmla="*/ 85 h 96"/>
                <a:gd name="T60" fmla="*/ 46 w 56"/>
                <a:gd name="T61" fmla="*/ 83 h 96"/>
                <a:gd name="T62" fmla="*/ 45 w 56"/>
                <a:gd name="T63" fmla="*/ 75 h 96"/>
                <a:gd name="T64" fmla="*/ 42 w 56"/>
                <a:gd name="T65" fmla="*/ 69 h 96"/>
                <a:gd name="T66" fmla="*/ 37 w 56"/>
                <a:gd name="T67" fmla="*/ 62 h 96"/>
                <a:gd name="T68" fmla="*/ 28 w 56"/>
                <a:gd name="T69" fmla="*/ 56 h 96"/>
                <a:gd name="T70" fmla="*/ 16 w 56"/>
                <a:gd name="T71" fmla="*/ 47 h 96"/>
                <a:gd name="T72" fmla="*/ 3 w 56"/>
                <a:gd name="T73" fmla="*/ 36 h 96"/>
                <a:gd name="T74" fmla="*/ 0 w 56"/>
                <a:gd name="T75" fmla="*/ 23 h 96"/>
                <a:gd name="T76" fmla="*/ 7 w 56"/>
                <a:gd name="T7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96">
                  <a:moveTo>
                    <a:pt x="7" y="5"/>
                  </a:moveTo>
                  <a:cubicBezTo>
                    <a:pt x="12" y="2"/>
                    <a:pt x="19" y="0"/>
                    <a:pt x="30" y="0"/>
                  </a:cubicBezTo>
                  <a:cubicBezTo>
                    <a:pt x="33" y="0"/>
                    <a:pt x="37" y="0"/>
                    <a:pt x="41" y="0"/>
                  </a:cubicBezTo>
                  <a:cubicBezTo>
                    <a:pt x="45" y="1"/>
                    <a:pt x="49" y="1"/>
                    <a:pt x="52" y="2"/>
                  </a:cubicBezTo>
                  <a:cubicBezTo>
                    <a:pt x="53" y="3"/>
                    <a:pt x="53" y="3"/>
                    <a:pt x="54" y="3"/>
                  </a:cubicBezTo>
                  <a:cubicBezTo>
                    <a:pt x="54" y="3"/>
                    <a:pt x="54" y="4"/>
                    <a:pt x="54" y="5"/>
                  </a:cubicBezTo>
                  <a:cubicBezTo>
                    <a:pt x="54" y="9"/>
                    <a:pt x="54" y="9"/>
                    <a:pt x="54" y="9"/>
                  </a:cubicBezTo>
                  <a:cubicBezTo>
                    <a:pt x="54" y="11"/>
                    <a:pt x="54" y="12"/>
                    <a:pt x="52" y="12"/>
                  </a:cubicBezTo>
                  <a:cubicBezTo>
                    <a:pt x="52" y="12"/>
                    <a:pt x="52" y="12"/>
                    <a:pt x="52" y="12"/>
                  </a:cubicBezTo>
                  <a:cubicBezTo>
                    <a:pt x="48" y="11"/>
                    <a:pt x="45" y="11"/>
                    <a:pt x="41" y="10"/>
                  </a:cubicBezTo>
                  <a:cubicBezTo>
                    <a:pt x="37" y="10"/>
                    <a:pt x="33" y="10"/>
                    <a:pt x="30" y="10"/>
                  </a:cubicBezTo>
                  <a:cubicBezTo>
                    <a:pt x="23" y="10"/>
                    <a:pt x="18" y="11"/>
                    <a:pt x="15" y="13"/>
                  </a:cubicBezTo>
                  <a:cubicBezTo>
                    <a:pt x="12" y="15"/>
                    <a:pt x="11" y="18"/>
                    <a:pt x="11" y="23"/>
                  </a:cubicBezTo>
                  <a:cubicBezTo>
                    <a:pt x="11" y="25"/>
                    <a:pt x="11" y="26"/>
                    <a:pt x="11" y="28"/>
                  </a:cubicBezTo>
                  <a:cubicBezTo>
                    <a:pt x="12" y="29"/>
                    <a:pt x="12" y="31"/>
                    <a:pt x="13" y="32"/>
                  </a:cubicBezTo>
                  <a:cubicBezTo>
                    <a:pt x="14" y="33"/>
                    <a:pt x="16" y="35"/>
                    <a:pt x="17" y="36"/>
                  </a:cubicBezTo>
                  <a:cubicBezTo>
                    <a:pt x="19" y="37"/>
                    <a:pt x="21" y="39"/>
                    <a:pt x="24" y="41"/>
                  </a:cubicBezTo>
                  <a:cubicBezTo>
                    <a:pt x="36" y="49"/>
                    <a:pt x="36" y="49"/>
                    <a:pt x="36" y="49"/>
                  </a:cubicBezTo>
                  <a:cubicBezTo>
                    <a:pt x="43" y="54"/>
                    <a:pt x="48" y="59"/>
                    <a:pt x="51" y="65"/>
                  </a:cubicBezTo>
                  <a:cubicBezTo>
                    <a:pt x="54" y="70"/>
                    <a:pt x="56" y="76"/>
                    <a:pt x="56" y="83"/>
                  </a:cubicBezTo>
                  <a:cubicBezTo>
                    <a:pt x="56" y="93"/>
                    <a:pt x="56" y="93"/>
                    <a:pt x="56" y="93"/>
                  </a:cubicBezTo>
                  <a:cubicBezTo>
                    <a:pt x="56" y="94"/>
                    <a:pt x="56" y="94"/>
                    <a:pt x="55" y="95"/>
                  </a:cubicBezTo>
                  <a:cubicBezTo>
                    <a:pt x="55" y="95"/>
                    <a:pt x="54" y="96"/>
                    <a:pt x="53" y="96"/>
                  </a:cubicBezTo>
                  <a:cubicBezTo>
                    <a:pt x="3" y="96"/>
                    <a:pt x="3" y="96"/>
                    <a:pt x="3" y="96"/>
                  </a:cubicBezTo>
                  <a:cubicBezTo>
                    <a:pt x="3" y="96"/>
                    <a:pt x="2" y="95"/>
                    <a:pt x="2" y="95"/>
                  </a:cubicBezTo>
                  <a:cubicBezTo>
                    <a:pt x="1" y="94"/>
                    <a:pt x="1" y="94"/>
                    <a:pt x="1" y="93"/>
                  </a:cubicBezTo>
                  <a:cubicBezTo>
                    <a:pt x="1" y="88"/>
                    <a:pt x="1" y="88"/>
                    <a:pt x="1" y="88"/>
                  </a:cubicBezTo>
                  <a:cubicBezTo>
                    <a:pt x="1" y="87"/>
                    <a:pt x="1" y="86"/>
                    <a:pt x="2" y="86"/>
                  </a:cubicBezTo>
                  <a:cubicBezTo>
                    <a:pt x="2" y="86"/>
                    <a:pt x="3" y="85"/>
                    <a:pt x="3" y="85"/>
                  </a:cubicBezTo>
                  <a:cubicBezTo>
                    <a:pt x="46" y="85"/>
                    <a:pt x="46" y="85"/>
                    <a:pt x="46" y="85"/>
                  </a:cubicBezTo>
                  <a:cubicBezTo>
                    <a:pt x="46" y="83"/>
                    <a:pt x="46" y="83"/>
                    <a:pt x="46" y="83"/>
                  </a:cubicBezTo>
                  <a:cubicBezTo>
                    <a:pt x="46" y="80"/>
                    <a:pt x="46" y="77"/>
                    <a:pt x="45" y="75"/>
                  </a:cubicBezTo>
                  <a:cubicBezTo>
                    <a:pt x="44" y="73"/>
                    <a:pt x="44" y="71"/>
                    <a:pt x="42" y="69"/>
                  </a:cubicBezTo>
                  <a:cubicBezTo>
                    <a:pt x="41" y="66"/>
                    <a:pt x="39" y="64"/>
                    <a:pt x="37" y="62"/>
                  </a:cubicBezTo>
                  <a:cubicBezTo>
                    <a:pt x="35" y="60"/>
                    <a:pt x="32" y="58"/>
                    <a:pt x="28" y="56"/>
                  </a:cubicBezTo>
                  <a:cubicBezTo>
                    <a:pt x="16" y="47"/>
                    <a:pt x="16" y="47"/>
                    <a:pt x="16" y="47"/>
                  </a:cubicBezTo>
                  <a:cubicBezTo>
                    <a:pt x="10" y="43"/>
                    <a:pt x="6" y="39"/>
                    <a:pt x="3" y="36"/>
                  </a:cubicBezTo>
                  <a:cubicBezTo>
                    <a:pt x="1" y="32"/>
                    <a:pt x="0" y="28"/>
                    <a:pt x="0" y="23"/>
                  </a:cubicBezTo>
                  <a:cubicBezTo>
                    <a:pt x="0" y="15"/>
                    <a:pt x="2" y="9"/>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96681360-99F0-411F-872E-D08276548030}"/>
              </a:ext>
            </a:extLst>
          </p:cNvPr>
          <p:cNvGrpSpPr/>
          <p:nvPr/>
        </p:nvGrpSpPr>
        <p:grpSpPr>
          <a:xfrm>
            <a:off x="541278" y="602607"/>
            <a:ext cx="8477175" cy="5154769"/>
            <a:chOff x="500751" y="632830"/>
            <a:chExt cx="8477175" cy="5154769"/>
          </a:xfrm>
        </p:grpSpPr>
        <p:sp>
          <p:nvSpPr>
            <p:cNvPr id="4" name="Rectangle 3">
              <a:extLst>
                <a:ext uri="{FF2B5EF4-FFF2-40B4-BE49-F238E27FC236}">
                  <a16:creationId xmlns:a16="http://schemas.microsoft.com/office/drawing/2014/main" id="{673714BC-1D6D-47E8-BDBC-A4EE1D7C9B24}"/>
                </a:ext>
              </a:extLst>
            </p:cNvPr>
            <p:cNvSpPr/>
            <p:nvPr/>
          </p:nvSpPr>
          <p:spPr>
            <a:xfrm>
              <a:off x="500751" y="632830"/>
              <a:ext cx="3433074" cy="98488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LET US DO YOUR</a:t>
              </a:r>
              <a:r>
                <a:rPr kumimoji="0" lang="id-ID" sz="32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 </a:t>
              </a:r>
              <a:r>
                <a:rPr kumimoji="0" lang="en-US" sz="32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PRESENTATION</a:t>
              </a:r>
            </a:p>
          </p:txBody>
        </p:sp>
        <p:grpSp>
          <p:nvGrpSpPr>
            <p:cNvPr id="33" name="Group 32">
              <a:extLst>
                <a:ext uri="{FF2B5EF4-FFF2-40B4-BE49-F238E27FC236}">
                  <a16:creationId xmlns:a16="http://schemas.microsoft.com/office/drawing/2014/main" id="{31FD8C54-4C3F-44EA-9673-BD480EC120A6}"/>
                </a:ext>
              </a:extLst>
            </p:cNvPr>
            <p:cNvGrpSpPr/>
            <p:nvPr/>
          </p:nvGrpSpPr>
          <p:grpSpPr>
            <a:xfrm>
              <a:off x="500751" y="1305921"/>
              <a:ext cx="8477175" cy="4481678"/>
              <a:chOff x="536434" y="1145140"/>
              <a:chExt cx="8477175" cy="4481678"/>
            </a:xfrm>
          </p:grpSpPr>
          <p:grpSp>
            <p:nvGrpSpPr>
              <p:cNvPr id="3" name="Group 2">
                <a:extLst>
                  <a:ext uri="{FF2B5EF4-FFF2-40B4-BE49-F238E27FC236}">
                    <a16:creationId xmlns:a16="http://schemas.microsoft.com/office/drawing/2014/main" id="{5F6FE9F3-136B-4F29-A889-4AAB396D1E1F}"/>
                  </a:ext>
                </a:extLst>
              </p:cNvPr>
              <p:cNvGrpSpPr/>
              <p:nvPr/>
            </p:nvGrpSpPr>
            <p:grpSpPr>
              <a:xfrm>
                <a:off x="4113015" y="1145140"/>
                <a:ext cx="4900594" cy="2627866"/>
                <a:chOff x="4113015" y="1061247"/>
                <a:chExt cx="4900594" cy="2627866"/>
              </a:xfrm>
            </p:grpSpPr>
            <p:grpSp>
              <p:nvGrpSpPr>
                <p:cNvPr id="69" name="Group 68">
                  <a:extLst>
                    <a:ext uri="{FF2B5EF4-FFF2-40B4-BE49-F238E27FC236}">
                      <a16:creationId xmlns:a16="http://schemas.microsoft.com/office/drawing/2014/main" id="{6648EF4C-43CD-4198-B785-FE90BCC4C014}"/>
                    </a:ext>
                  </a:extLst>
                </p:cNvPr>
                <p:cNvGrpSpPr/>
                <p:nvPr/>
              </p:nvGrpSpPr>
              <p:grpSpPr>
                <a:xfrm>
                  <a:off x="4124564" y="3402852"/>
                  <a:ext cx="805870" cy="286259"/>
                  <a:chOff x="2127063" y="2542759"/>
                  <a:chExt cx="454893" cy="161585"/>
                </a:xfrm>
              </p:grpSpPr>
              <p:sp>
                <p:nvSpPr>
                  <p:cNvPr id="66" name="Rectangle: Top Corners Rounded 65">
                    <a:extLst>
                      <a:ext uri="{FF2B5EF4-FFF2-40B4-BE49-F238E27FC236}">
                        <a16:creationId xmlns:a16="http://schemas.microsoft.com/office/drawing/2014/main" id="{937A599E-1C3F-49D9-8D7B-8EAE63CCB712}"/>
                      </a:ext>
                    </a:extLst>
                  </p:cNvPr>
                  <p:cNvSpPr/>
                  <p:nvPr/>
                </p:nvSpPr>
                <p:spPr>
                  <a:xfrm rot="5400000">
                    <a:off x="2273717" y="2396105"/>
                    <a:ext cx="161585" cy="454893"/>
                  </a:xfrm>
                  <a:prstGeom prst="round2SameRect">
                    <a:avLst>
                      <a:gd name="adj1" fmla="val 46104"/>
                      <a:gd name="adj2" fmla="val 0"/>
                    </a:avLst>
                  </a:prstGeom>
                  <a:solidFill>
                    <a:srgbClr val="083D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TextBox 66">
                    <a:extLst>
                      <a:ext uri="{FF2B5EF4-FFF2-40B4-BE49-F238E27FC236}">
                        <a16:creationId xmlns:a16="http://schemas.microsoft.com/office/drawing/2014/main" id="{6831C2E5-3D29-449F-BA5C-32EFE486EF15}"/>
                      </a:ext>
                    </a:extLst>
                  </p:cNvPr>
                  <p:cNvSpPr txBox="1"/>
                  <p:nvPr/>
                </p:nvSpPr>
                <p:spPr>
                  <a:xfrm>
                    <a:off x="2185701" y="2543045"/>
                    <a:ext cx="354791" cy="1389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white"/>
                        </a:solidFill>
                        <a:effectLst/>
                        <a:uLnTx/>
                        <a:uFillTx/>
                        <a:latin typeface="Calibri" panose="020F0502020204030204"/>
                        <a:ea typeface="+mn-ea"/>
                        <a:cs typeface="+mn-cs"/>
                      </a:rPr>
                      <a:t>after</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1" name="Group 70">
                  <a:extLst>
                    <a:ext uri="{FF2B5EF4-FFF2-40B4-BE49-F238E27FC236}">
                      <a16:creationId xmlns:a16="http://schemas.microsoft.com/office/drawing/2014/main" id="{8CC0C473-AA14-4231-9540-A8C8ED2E9DBA}"/>
                    </a:ext>
                  </a:extLst>
                </p:cNvPr>
                <p:cNvGrpSpPr/>
                <p:nvPr/>
              </p:nvGrpSpPr>
              <p:grpSpPr>
                <a:xfrm>
                  <a:off x="4113015" y="1061248"/>
                  <a:ext cx="1031810" cy="286259"/>
                  <a:chOff x="4298082" y="1214613"/>
                  <a:chExt cx="454893" cy="161585"/>
                </a:xfrm>
              </p:grpSpPr>
              <p:sp>
                <p:nvSpPr>
                  <p:cNvPr id="72" name="Rectangle: Top Corners Rounded 71">
                    <a:extLst>
                      <a:ext uri="{FF2B5EF4-FFF2-40B4-BE49-F238E27FC236}">
                        <a16:creationId xmlns:a16="http://schemas.microsoft.com/office/drawing/2014/main" id="{F9F599E6-86AE-4B41-BC36-8002888C50B5}"/>
                      </a:ext>
                    </a:extLst>
                  </p:cNvPr>
                  <p:cNvSpPr/>
                  <p:nvPr/>
                </p:nvSpPr>
                <p:spPr>
                  <a:xfrm rot="5400000">
                    <a:off x="4444736" y="1067959"/>
                    <a:ext cx="161585" cy="454893"/>
                  </a:xfrm>
                  <a:prstGeom prst="round2SameRect">
                    <a:avLst>
                      <a:gd name="adj1" fmla="val 50000"/>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E1332D08-1F40-4CC7-8BCA-68D3DC5E6DB8}"/>
                      </a:ext>
                    </a:extLst>
                  </p:cNvPr>
                  <p:cNvSpPr txBox="1"/>
                  <p:nvPr/>
                </p:nvSpPr>
                <p:spPr>
                  <a:xfrm>
                    <a:off x="4348971" y="1214614"/>
                    <a:ext cx="354791" cy="1389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white"/>
                        </a:solidFill>
                        <a:effectLst/>
                        <a:uLnTx/>
                        <a:uFillTx/>
                        <a:latin typeface="Calibri" panose="020F0502020204030204"/>
                        <a:ea typeface="+mn-ea"/>
                        <a:cs typeface="+mn-cs"/>
                      </a:rPr>
                      <a:t>before</a:t>
                    </a:r>
                  </a:p>
                </p:txBody>
              </p:sp>
            </p:grpSp>
            <p:grpSp>
              <p:nvGrpSpPr>
                <p:cNvPr id="74" name="Group 73">
                  <a:extLst>
                    <a:ext uri="{FF2B5EF4-FFF2-40B4-BE49-F238E27FC236}">
                      <a16:creationId xmlns:a16="http://schemas.microsoft.com/office/drawing/2014/main" id="{AFCE1AAA-A2FB-4541-9212-AB9ECB76A884}"/>
                    </a:ext>
                  </a:extLst>
                </p:cNvPr>
                <p:cNvGrpSpPr/>
                <p:nvPr/>
              </p:nvGrpSpPr>
              <p:grpSpPr>
                <a:xfrm>
                  <a:off x="7959816" y="3402854"/>
                  <a:ext cx="805870" cy="286259"/>
                  <a:chOff x="4291964" y="1194029"/>
                  <a:chExt cx="454893" cy="161585"/>
                </a:xfrm>
              </p:grpSpPr>
              <p:sp>
                <p:nvSpPr>
                  <p:cNvPr id="75" name="Rectangle: Top Corners Rounded 74">
                    <a:extLst>
                      <a:ext uri="{FF2B5EF4-FFF2-40B4-BE49-F238E27FC236}">
                        <a16:creationId xmlns:a16="http://schemas.microsoft.com/office/drawing/2014/main" id="{D996E70A-86BD-46A8-899B-A55834A42F2F}"/>
                      </a:ext>
                    </a:extLst>
                  </p:cNvPr>
                  <p:cNvSpPr/>
                  <p:nvPr/>
                </p:nvSpPr>
                <p:spPr>
                  <a:xfrm rot="5400000">
                    <a:off x="4438618" y="1047375"/>
                    <a:ext cx="161585" cy="454893"/>
                  </a:xfrm>
                  <a:prstGeom prst="round2SameRect">
                    <a:avLst>
                      <a:gd name="adj1" fmla="val 50000"/>
                      <a:gd name="adj2" fmla="val 0"/>
                    </a:avLst>
                  </a:prstGeom>
                  <a:solidFill>
                    <a:srgbClr val="083D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TextBox 75">
                    <a:extLst>
                      <a:ext uri="{FF2B5EF4-FFF2-40B4-BE49-F238E27FC236}">
                        <a16:creationId xmlns:a16="http://schemas.microsoft.com/office/drawing/2014/main" id="{9879E702-100F-49F1-9D79-29CAA7D06576}"/>
                      </a:ext>
                    </a:extLst>
                  </p:cNvPr>
                  <p:cNvSpPr txBox="1"/>
                  <p:nvPr/>
                </p:nvSpPr>
                <p:spPr>
                  <a:xfrm>
                    <a:off x="4345574" y="1200327"/>
                    <a:ext cx="354791" cy="1389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white"/>
                        </a:solidFill>
                        <a:effectLst/>
                        <a:uLnTx/>
                        <a:uFillTx/>
                        <a:latin typeface="Calibri" panose="020F0502020204030204"/>
                        <a:ea typeface="+mn-ea"/>
                        <a:cs typeface="+mn-cs"/>
                      </a:rPr>
                      <a:t>after</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7" name="Group 76">
                  <a:extLst>
                    <a:ext uri="{FF2B5EF4-FFF2-40B4-BE49-F238E27FC236}">
                      <a16:creationId xmlns:a16="http://schemas.microsoft.com/office/drawing/2014/main" id="{9BDD2E8E-80FE-4EF1-A6EA-68EEB6E069F7}"/>
                    </a:ext>
                  </a:extLst>
                </p:cNvPr>
                <p:cNvGrpSpPr/>
                <p:nvPr/>
              </p:nvGrpSpPr>
              <p:grpSpPr>
                <a:xfrm>
                  <a:off x="7981799" y="1061247"/>
                  <a:ext cx="1031810" cy="286259"/>
                  <a:chOff x="6003709" y="-127741"/>
                  <a:chExt cx="454893" cy="161585"/>
                </a:xfrm>
              </p:grpSpPr>
              <p:sp>
                <p:nvSpPr>
                  <p:cNvPr id="78" name="Rectangle: Top Corners Rounded 77">
                    <a:extLst>
                      <a:ext uri="{FF2B5EF4-FFF2-40B4-BE49-F238E27FC236}">
                        <a16:creationId xmlns:a16="http://schemas.microsoft.com/office/drawing/2014/main" id="{9D683C2B-0854-4DB1-BB80-EFBFAF984346}"/>
                      </a:ext>
                    </a:extLst>
                  </p:cNvPr>
                  <p:cNvSpPr/>
                  <p:nvPr/>
                </p:nvSpPr>
                <p:spPr>
                  <a:xfrm rot="5400000">
                    <a:off x="6150363" y="-274395"/>
                    <a:ext cx="161585" cy="454893"/>
                  </a:xfrm>
                  <a:prstGeom prst="round2SameRect">
                    <a:avLst>
                      <a:gd name="adj1" fmla="val 50000"/>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7CDEE80E-DD26-44BB-AFC3-1DB8F5430D75}"/>
                      </a:ext>
                    </a:extLst>
                  </p:cNvPr>
                  <p:cNvSpPr txBox="1"/>
                  <p:nvPr/>
                </p:nvSpPr>
                <p:spPr>
                  <a:xfrm>
                    <a:off x="6054598" y="-123378"/>
                    <a:ext cx="354791" cy="1389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white"/>
                        </a:solidFill>
                        <a:effectLst/>
                        <a:uLnTx/>
                        <a:uFillTx/>
                        <a:latin typeface="Calibri" panose="020F0502020204030204"/>
                        <a:ea typeface="+mn-ea"/>
                        <a:cs typeface="+mn-cs"/>
                      </a:rPr>
                      <a:t>before</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4F978E2A-B2C5-420B-945F-A53B8B5E9206}"/>
                  </a:ext>
                </a:extLst>
              </p:cNvPr>
              <p:cNvGrpSpPr/>
              <p:nvPr/>
            </p:nvGrpSpPr>
            <p:grpSpPr>
              <a:xfrm>
                <a:off x="543826" y="1742165"/>
                <a:ext cx="1818153" cy="576263"/>
                <a:chOff x="617538" y="1927225"/>
                <a:chExt cx="1818153" cy="576263"/>
              </a:xfrm>
            </p:grpSpPr>
            <p:grpSp>
              <p:nvGrpSpPr>
                <p:cNvPr id="6" name="Group 5">
                  <a:extLst>
                    <a:ext uri="{FF2B5EF4-FFF2-40B4-BE49-F238E27FC236}">
                      <a16:creationId xmlns:a16="http://schemas.microsoft.com/office/drawing/2014/main" id="{1DCE930A-08F2-4BA3-86B8-09331FBF8E51}"/>
                    </a:ext>
                  </a:extLst>
                </p:cNvPr>
                <p:cNvGrpSpPr/>
                <p:nvPr/>
              </p:nvGrpSpPr>
              <p:grpSpPr>
                <a:xfrm>
                  <a:off x="1385353" y="1985477"/>
                  <a:ext cx="1050338" cy="459757"/>
                  <a:chOff x="1302338" y="1896979"/>
                  <a:chExt cx="1050338" cy="459757"/>
                </a:xfrm>
              </p:grpSpPr>
              <p:sp>
                <p:nvSpPr>
                  <p:cNvPr id="16" name="Rectangle 15">
                    <a:extLst>
                      <a:ext uri="{FF2B5EF4-FFF2-40B4-BE49-F238E27FC236}">
                        <a16:creationId xmlns:a16="http://schemas.microsoft.com/office/drawing/2014/main" id="{5BC30E7C-5C96-4416-A4EC-46663B83EDE4}"/>
                      </a:ext>
                    </a:extLst>
                  </p:cNvPr>
                  <p:cNvSpPr/>
                  <p:nvPr/>
                </p:nvSpPr>
                <p:spPr>
                  <a:xfrm>
                    <a:off x="1302338" y="1896979"/>
                    <a:ext cx="1050338"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24 HOUR</a:t>
                    </a:r>
                  </a:p>
                </p:txBody>
              </p:sp>
              <p:sp>
                <p:nvSpPr>
                  <p:cNvPr id="17" name="Rectangle 16">
                    <a:extLst>
                      <a:ext uri="{FF2B5EF4-FFF2-40B4-BE49-F238E27FC236}">
                        <a16:creationId xmlns:a16="http://schemas.microsoft.com/office/drawing/2014/main" id="{FFB2F49C-CAAC-49C0-9DAB-BA185649FBDC}"/>
                      </a:ext>
                    </a:extLst>
                  </p:cNvPr>
                  <p:cNvSpPr/>
                  <p:nvPr/>
                </p:nvSpPr>
                <p:spPr>
                  <a:xfrm>
                    <a:off x="1302338" y="2187459"/>
                    <a:ext cx="105033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TURN AROUND</a:t>
                    </a:r>
                  </a:p>
                </p:txBody>
              </p:sp>
            </p:grpSp>
            <p:grpSp>
              <p:nvGrpSpPr>
                <p:cNvPr id="7" name="Group 6">
                  <a:extLst>
                    <a:ext uri="{FF2B5EF4-FFF2-40B4-BE49-F238E27FC236}">
                      <a16:creationId xmlns:a16="http://schemas.microsoft.com/office/drawing/2014/main" id="{673B93D2-B665-4D4B-BEDB-506562677629}"/>
                    </a:ext>
                  </a:extLst>
                </p:cNvPr>
                <p:cNvGrpSpPr/>
                <p:nvPr/>
              </p:nvGrpSpPr>
              <p:grpSpPr>
                <a:xfrm>
                  <a:off x="617538" y="1927225"/>
                  <a:ext cx="577851" cy="576263"/>
                  <a:chOff x="617538" y="1927225"/>
                  <a:chExt cx="577851" cy="576263"/>
                </a:xfrm>
              </p:grpSpPr>
              <p:sp>
                <p:nvSpPr>
                  <p:cNvPr id="8" name="Oval 20">
                    <a:extLst>
                      <a:ext uri="{FF2B5EF4-FFF2-40B4-BE49-F238E27FC236}">
                        <a16:creationId xmlns:a16="http://schemas.microsoft.com/office/drawing/2014/main" id="{0A4D9DDB-2A97-4029-B998-D7B68279E0B5}"/>
                      </a:ext>
                    </a:extLst>
                  </p:cNvPr>
                  <p:cNvSpPr>
                    <a:spLocks noChangeArrowheads="1"/>
                  </p:cNvSpPr>
                  <p:nvPr/>
                </p:nvSpPr>
                <p:spPr bwMode="auto">
                  <a:xfrm>
                    <a:off x="617538" y="1927225"/>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1">
                    <a:extLst>
                      <a:ext uri="{FF2B5EF4-FFF2-40B4-BE49-F238E27FC236}">
                        <a16:creationId xmlns:a16="http://schemas.microsoft.com/office/drawing/2014/main" id="{E819C346-A84C-409C-8019-90061AFEE009}"/>
                      </a:ext>
                    </a:extLst>
                  </p:cNvPr>
                  <p:cNvSpPr>
                    <a:spLocks/>
                  </p:cNvSpPr>
                  <p:nvPr/>
                </p:nvSpPr>
                <p:spPr bwMode="auto">
                  <a:xfrm>
                    <a:off x="720726" y="1943100"/>
                    <a:ext cx="474663" cy="560388"/>
                  </a:xfrm>
                  <a:custGeom>
                    <a:avLst/>
                    <a:gdLst>
                      <a:gd name="T0" fmla="*/ 469 w 469"/>
                      <a:gd name="T1" fmla="*/ 270 h 555"/>
                      <a:gd name="T2" fmla="*/ 183 w 469"/>
                      <a:gd name="T3" fmla="*/ 555 h 555"/>
                      <a:gd name="T4" fmla="*/ 0 w 469"/>
                      <a:gd name="T5" fmla="*/ 489 h 555"/>
                      <a:gd name="T6" fmla="*/ 93 w 469"/>
                      <a:gd name="T7" fmla="*/ 505 h 555"/>
                      <a:gd name="T8" fmla="*/ 378 w 469"/>
                      <a:gd name="T9" fmla="*/ 219 h 555"/>
                      <a:gd name="T10" fmla="*/ 276 w 469"/>
                      <a:gd name="T11" fmla="*/ 0 h 555"/>
                      <a:gd name="T12" fmla="*/ 469 w 469"/>
                      <a:gd name="T13" fmla="*/ 270 h 555"/>
                    </a:gdLst>
                    <a:ahLst/>
                    <a:cxnLst>
                      <a:cxn ang="0">
                        <a:pos x="T0" y="T1"/>
                      </a:cxn>
                      <a:cxn ang="0">
                        <a:pos x="T2" y="T3"/>
                      </a:cxn>
                      <a:cxn ang="0">
                        <a:pos x="T4" y="T5"/>
                      </a:cxn>
                      <a:cxn ang="0">
                        <a:pos x="T6" y="T7"/>
                      </a:cxn>
                      <a:cxn ang="0">
                        <a:pos x="T8" y="T9"/>
                      </a:cxn>
                      <a:cxn ang="0">
                        <a:pos x="T10" y="T11"/>
                      </a:cxn>
                      <a:cxn ang="0">
                        <a:pos x="T12" y="T13"/>
                      </a:cxn>
                    </a:cxnLst>
                    <a:rect l="0" t="0" r="r" b="b"/>
                    <a:pathLst>
                      <a:path w="469" h="555">
                        <a:moveTo>
                          <a:pt x="469" y="270"/>
                        </a:moveTo>
                        <a:cubicBezTo>
                          <a:pt x="469" y="428"/>
                          <a:pt x="341" y="555"/>
                          <a:pt x="183" y="555"/>
                        </a:cubicBezTo>
                        <a:cubicBezTo>
                          <a:pt x="114" y="555"/>
                          <a:pt x="50" y="531"/>
                          <a:pt x="0" y="489"/>
                        </a:cubicBezTo>
                        <a:cubicBezTo>
                          <a:pt x="29" y="499"/>
                          <a:pt x="61" y="505"/>
                          <a:pt x="93" y="505"/>
                        </a:cubicBezTo>
                        <a:cubicBezTo>
                          <a:pt x="251" y="505"/>
                          <a:pt x="378" y="377"/>
                          <a:pt x="378" y="219"/>
                        </a:cubicBezTo>
                        <a:cubicBezTo>
                          <a:pt x="378" y="131"/>
                          <a:pt x="339" y="53"/>
                          <a:pt x="276" y="0"/>
                        </a:cubicBezTo>
                        <a:cubicBezTo>
                          <a:pt x="388" y="39"/>
                          <a:pt x="469" y="145"/>
                          <a:pt x="469" y="270"/>
                        </a:cubicBezTo>
                        <a:close/>
                      </a:path>
                    </a:pathLst>
                  </a:custGeom>
                  <a:solidFill>
                    <a:srgbClr val="D1E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22">
                    <a:extLst>
                      <a:ext uri="{FF2B5EF4-FFF2-40B4-BE49-F238E27FC236}">
                        <a16:creationId xmlns:a16="http://schemas.microsoft.com/office/drawing/2014/main" id="{191C88F5-CC9B-4459-9A9D-DAA16113D6D5}"/>
                      </a:ext>
                    </a:extLst>
                  </p:cNvPr>
                  <p:cNvSpPr>
                    <a:spLocks noChangeArrowheads="1"/>
                  </p:cNvSpPr>
                  <p:nvPr/>
                </p:nvSpPr>
                <p:spPr bwMode="auto">
                  <a:xfrm>
                    <a:off x="617538" y="1927225"/>
                    <a:ext cx="577850" cy="576263"/>
                  </a:xfrm>
                  <a:prstGeom prst="ellipse">
                    <a:avLst/>
                  </a:prstGeom>
                  <a:noFill/>
                  <a:ln w="25400" cap="rnd">
                    <a:solidFill>
                      <a:srgbClr val="7AC2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3">
                    <a:extLst>
                      <a:ext uri="{FF2B5EF4-FFF2-40B4-BE49-F238E27FC236}">
                        <a16:creationId xmlns:a16="http://schemas.microsoft.com/office/drawing/2014/main" id="{0F8EAC3E-FE6B-4AC8-B472-C5E43CE9FEFF}"/>
                      </a:ext>
                    </a:extLst>
                  </p:cNvPr>
                  <p:cNvSpPr>
                    <a:spLocks/>
                  </p:cNvSpPr>
                  <p:nvPr/>
                </p:nvSpPr>
                <p:spPr bwMode="auto">
                  <a:xfrm>
                    <a:off x="773113" y="2081213"/>
                    <a:ext cx="261938" cy="268288"/>
                  </a:xfrm>
                  <a:custGeom>
                    <a:avLst/>
                    <a:gdLst>
                      <a:gd name="T0" fmla="*/ 260 w 260"/>
                      <a:gd name="T1" fmla="*/ 168 h 266"/>
                      <a:gd name="T2" fmla="*/ 132 w 260"/>
                      <a:gd name="T3" fmla="*/ 266 h 266"/>
                      <a:gd name="T4" fmla="*/ 0 w 260"/>
                      <a:gd name="T5" fmla="*/ 133 h 266"/>
                      <a:gd name="T6" fmla="*/ 132 w 260"/>
                      <a:gd name="T7" fmla="*/ 0 h 266"/>
                      <a:gd name="T8" fmla="*/ 206 w 260"/>
                      <a:gd name="T9" fmla="*/ 23 h 266"/>
                    </a:gdLst>
                    <a:ahLst/>
                    <a:cxnLst>
                      <a:cxn ang="0">
                        <a:pos x="T0" y="T1"/>
                      </a:cxn>
                      <a:cxn ang="0">
                        <a:pos x="T2" y="T3"/>
                      </a:cxn>
                      <a:cxn ang="0">
                        <a:pos x="T4" y="T5"/>
                      </a:cxn>
                      <a:cxn ang="0">
                        <a:pos x="T6" y="T7"/>
                      </a:cxn>
                      <a:cxn ang="0">
                        <a:pos x="T8" y="T9"/>
                      </a:cxn>
                    </a:cxnLst>
                    <a:rect l="0" t="0" r="r" b="b"/>
                    <a:pathLst>
                      <a:path w="260" h="266">
                        <a:moveTo>
                          <a:pt x="260" y="168"/>
                        </a:moveTo>
                        <a:cubicBezTo>
                          <a:pt x="245" y="224"/>
                          <a:pt x="193" y="266"/>
                          <a:pt x="132" y="266"/>
                        </a:cubicBezTo>
                        <a:cubicBezTo>
                          <a:pt x="59" y="266"/>
                          <a:pt x="0" y="206"/>
                          <a:pt x="0" y="133"/>
                        </a:cubicBezTo>
                        <a:cubicBezTo>
                          <a:pt x="0" y="60"/>
                          <a:pt x="59" y="0"/>
                          <a:pt x="132" y="0"/>
                        </a:cubicBezTo>
                        <a:cubicBezTo>
                          <a:pt x="160" y="0"/>
                          <a:pt x="185" y="9"/>
                          <a:pt x="206" y="23"/>
                        </a:cubicBezTo>
                      </a:path>
                    </a:pathLst>
                  </a:custGeom>
                  <a:noFill/>
                  <a:ln w="25400" cap="rnd">
                    <a:solidFill>
                      <a:srgbClr val="7AC2F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Line 24">
                    <a:extLst>
                      <a:ext uri="{FF2B5EF4-FFF2-40B4-BE49-F238E27FC236}">
                        <a16:creationId xmlns:a16="http://schemas.microsoft.com/office/drawing/2014/main" id="{CDB9360A-BA30-48B9-B671-2A36CE4D3A22}"/>
                      </a:ext>
                    </a:extLst>
                  </p:cNvPr>
                  <p:cNvSpPr>
                    <a:spLocks noChangeShapeType="1"/>
                  </p:cNvSpPr>
                  <p:nvPr/>
                </p:nvSpPr>
                <p:spPr bwMode="auto">
                  <a:xfrm flipV="1">
                    <a:off x="906463" y="2124075"/>
                    <a:ext cx="139700" cy="92075"/>
                  </a:xfrm>
                  <a:prstGeom prst="line">
                    <a:avLst/>
                  </a:prstGeom>
                  <a:noFill/>
                  <a:ln w="25400" cap="rnd">
                    <a:solidFill>
                      <a:srgbClr val="7AC2F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Line 25">
                    <a:extLst>
                      <a:ext uri="{FF2B5EF4-FFF2-40B4-BE49-F238E27FC236}">
                        <a16:creationId xmlns:a16="http://schemas.microsoft.com/office/drawing/2014/main" id="{416E22B5-F4DA-4B32-AF90-F591A9A60A83}"/>
                      </a:ext>
                    </a:extLst>
                  </p:cNvPr>
                  <p:cNvSpPr>
                    <a:spLocks noChangeShapeType="1"/>
                  </p:cNvSpPr>
                  <p:nvPr/>
                </p:nvSpPr>
                <p:spPr bwMode="auto">
                  <a:xfrm>
                    <a:off x="906463" y="2216150"/>
                    <a:ext cx="166688" cy="0"/>
                  </a:xfrm>
                  <a:prstGeom prst="line">
                    <a:avLst/>
                  </a:prstGeom>
                  <a:noFill/>
                  <a:ln w="25400" cap="rnd">
                    <a:solidFill>
                      <a:srgbClr val="7AC2F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Line 26">
                    <a:extLst>
                      <a:ext uri="{FF2B5EF4-FFF2-40B4-BE49-F238E27FC236}">
                        <a16:creationId xmlns:a16="http://schemas.microsoft.com/office/drawing/2014/main" id="{D2C41497-3ADA-4AA9-8324-900E2841F178}"/>
                      </a:ext>
                    </a:extLst>
                  </p:cNvPr>
                  <p:cNvSpPr>
                    <a:spLocks noChangeShapeType="1"/>
                  </p:cNvSpPr>
                  <p:nvPr/>
                </p:nvSpPr>
                <p:spPr bwMode="auto">
                  <a:xfrm flipV="1">
                    <a:off x="925513" y="2105025"/>
                    <a:ext cx="55563" cy="19050"/>
                  </a:xfrm>
                  <a:prstGeom prst="line">
                    <a:avLst/>
                  </a:prstGeom>
                  <a:noFill/>
                  <a:ln w="25400" cap="rnd">
                    <a:solidFill>
                      <a:srgbClr val="7AC2F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Line 27">
                    <a:extLst>
                      <a:ext uri="{FF2B5EF4-FFF2-40B4-BE49-F238E27FC236}">
                        <a16:creationId xmlns:a16="http://schemas.microsoft.com/office/drawing/2014/main" id="{A93E1BB8-C8C5-4EF8-B846-6D5E1A1BC35F}"/>
                      </a:ext>
                    </a:extLst>
                  </p:cNvPr>
                  <p:cNvSpPr>
                    <a:spLocks noChangeShapeType="1"/>
                  </p:cNvSpPr>
                  <p:nvPr/>
                </p:nvSpPr>
                <p:spPr bwMode="auto">
                  <a:xfrm flipH="1" flipV="1">
                    <a:off x="962026" y="2049463"/>
                    <a:ext cx="19050" cy="55563"/>
                  </a:xfrm>
                  <a:prstGeom prst="line">
                    <a:avLst/>
                  </a:prstGeom>
                  <a:noFill/>
                  <a:ln w="25400" cap="rnd">
                    <a:solidFill>
                      <a:srgbClr val="7AC2F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8" name="Group 17">
                <a:extLst>
                  <a:ext uri="{FF2B5EF4-FFF2-40B4-BE49-F238E27FC236}">
                    <a16:creationId xmlns:a16="http://schemas.microsoft.com/office/drawing/2014/main" id="{C89C1108-D823-4A25-B6E8-ADDAAB804C68}"/>
                  </a:ext>
                </a:extLst>
              </p:cNvPr>
              <p:cNvGrpSpPr/>
              <p:nvPr/>
            </p:nvGrpSpPr>
            <p:grpSpPr>
              <a:xfrm>
                <a:off x="543826" y="2482080"/>
                <a:ext cx="1822302" cy="605234"/>
                <a:chOff x="613389" y="2657566"/>
                <a:chExt cx="1822302" cy="605234"/>
              </a:xfrm>
            </p:grpSpPr>
            <p:grpSp>
              <p:nvGrpSpPr>
                <p:cNvPr id="19" name="Group 18">
                  <a:extLst>
                    <a:ext uri="{FF2B5EF4-FFF2-40B4-BE49-F238E27FC236}">
                      <a16:creationId xmlns:a16="http://schemas.microsoft.com/office/drawing/2014/main" id="{57233790-1B6D-4875-B97A-E9994CC2D151}"/>
                    </a:ext>
                  </a:extLst>
                </p:cNvPr>
                <p:cNvGrpSpPr/>
                <p:nvPr/>
              </p:nvGrpSpPr>
              <p:grpSpPr>
                <a:xfrm>
                  <a:off x="1385353" y="2730304"/>
                  <a:ext cx="1050338" cy="459757"/>
                  <a:chOff x="1302338" y="1896979"/>
                  <a:chExt cx="1050338" cy="459757"/>
                </a:xfrm>
              </p:grpSpPr>
              <p:sp>
                <p:nvSpPr>
                  <p:cNvPr id="21" name="Rectangle 20">
                    <a:extLst>
                      <a:ext uri="{FF2B5EF4-FFF2-40B4-BE49-F238E27FC236}">
                        <a16:creationId xmlns:a16="http://schemas.microsoft.com/office/drawing/2014/main" id="{24A8F3DC-D1FA-49B5-AE50-458D87DB47F2}"/>
                      </a:ext>
                    </a:extLst>
                  </p:cNvPr>
                  <p:cNvSpPr/>
                  <p:nvPr/>
                </p:nvSpPr>
                <p:spPr>
                  <a:xfrm>
                    <a:off x="1302338" y="1896979"/>
                    <a:ext cx="1050338"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From $11 </a:t>
                    </a:r>
                  </a:p>
                </p:txBody>
              </p:sp>
              <p:sp>
                <p:nvSpPr>
                  <p:cNvPr id="22" name="Rectangle 21">
                    <a:extLst>
                      <a:ext uri="{FF2B5EF4-FFF2-40B4-BE49-F238E27FC236}">
                        <a16:creationId xmlns:a16="http://schemas.microsoft.com/office/drawing/2014/main" id="{750E0D5B-32E7-45B7-8417-3D2C7694985A}"/>
                      </a:ext>
                    </a:extLst>
                  </p:cNvPr>
                  <p:cNvSpPr/>
                  <p:nvPr/>
                </p:nvSpPr>
                <p:spPr>
                  <a:xfrm>
                    <a:off x="1302338" y="2187459"/>
                    <a:ext cx="105033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PER SLIDE</a:t>
                    </a:r>
                  </a:p>
                </p:txBody>
              </p:sp>
            </p:grpSp>
            <p:pic>
              <p:nvPicPr>
                <p:cNvPr id="20" name="Picture 19">
                  <a:extLst>
                    <a:ext uri="{FF2B5EF4-FFF2-40B4-BE49-F238E27FC236}">
                      <a16:creationId xmlns:a16="http://schemas.microsoft.com/office/drawing/2014/main" id="{8C8DE8F7-2FCB-4D09-91D1-83DA72367DA5}"/>
                    </a:ext>
                  </a:extLst>
                </p:cNvPr>
                <p:cNvPicPr>
                  <a:picLocks noChangeAspect="1"/>
                </p:cNvPicPr>
                <p:nvPr/>
              </p:nvPicPr>
              <p:blipFill>
                <a:blip r:embed="rId7"/>
                <a:stretch>
                  <a:fillRect/>
                </a:stretch>
              </p:blipFill>
              <p:spPr>
                <a:xfrm>
                  <a:off x="613389" y="2657566"/>
                  <a:ext cx="605940" cy="605234"/>
                </a:xfrm>
                <a:prstGeom prst="rect">
                  <a:avLst/>
                </a:prstGeom>
              </p:spPr>
            </p:pic>
          </p:grpSp>
          <p:sp>
            <p:nvSpPr>
              <p:cNvPr id="24" name="Rectangle 23">
                <a:extLst>
                  <a:ext uri="{FF2B5EF4-FFF2-40B4-BE49-F238E27FC236}">
                    <a16:creationId xmlns:a16="http://schemas.microsoft.com/office/drawing/2014/main" id="{0274503B-5122-4623-AB9F-1245C2B01E9D}"/>
                  </a:ext>
                </a:extLst>
              </p:cNvPr>
              <p:cNvSpPr/>
              <p:nvPr/>
            </p:nvSpPr>
            <p:spPr>
              <a:xfrm>
                <a:off x="543826" y="3195474"/>
                <a:ext cx="3425682"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68DC3"/>
                    </a:solidFill>
                    <a:effectLst/>
                    <a:uLnTx/>
                    <a:uFillTx/>
                    <a:latin typeface="Segoe UI" panose="020B0502040204020203" pitchFamily="34" charset="0"/>
                    <a:ea typeface="Open Sans" panose="020B0606030504020204" pitchFamily="34" charset="0"/>
                    <a:cs typeface="Segoe UI" panose="020B0502040204020203" pitchFamily="34" charset="0"/>
                  </a:rPr>
                  <a:t>GET STARTED</a:t>
                </a:r>
              </a:p>
            </p:txBody>
          </p:sp>
          <p:sp>
            <p:nvSpPr>
              <p:cNvPr id="2" name="Rectangle 1">
                <a:extLst>
                  <a:ext uri="{FF2B5EF4-FFF2-40B4-BE49-F238E27FC236}">
                    <a16:creationId xmlns:a16="http://schemas.microsoft.com/office/drawing/2014/main" id="{096F7EA7-DFFB-40E4-87D8-1C8AF2E5E4B4}"/>
                  </a:ext>
                </a:extLst>
              </p:cNvPr>
              <p:cNvSpPr/>
              <p:nvPr/>
            </p:nvSpPr>
            <p:spPr>
              <a:xfrm>
                <a:off x="536434" y="5072820"/>
                <a:ext cx="3081340"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Go to </a:t>
                </a:r>
                <a:r>
                  <a:rPr kumimoji="0" lang="en-US" sz="1800" b="1"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24Slides.com/</a:t>
                </a:r>
                <a:r>
                  <a:rPr kumimoji="0" lang="id-ID" sz="1800" b="1"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order </a:t>
                </a:r>
                <a:br>
                  <a:rPr kumimoji="0" lang="id-ID" sz="1800" b="1"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br>
                <a:r>
                  <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to find out more</a:t>
                </a:r>
                <a:endPar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endParaRPr>
              </a:p>
            </p:txBody>
          </p:sp>
        </p:grpSp>
      </p:grpSp>
    </p:spTree>
    <p:extLst>
      <p:ext uri="{BB962C8B-B14F-4D97-AF65-F5344CB8AC3E}">
        <p14:creationId xmlns:p14="http://schemas.microsoft.com/office/powerpoint/2010/main" val="3443197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a:extLst>
              <a:ext uri="{FF2B5EF4-FFF2-40B4-BE49-F238E27FC236}">
                <a16:creationId xmlns:a16="http://schemas.microsoft.com/office/drawing/2014/main" id="{26519E81-C48F-4DC1-8447-5AA3137BE5EE}"/>
              </a:ext>
            </a:extLst>
          </p:cNvPr>
          <p:cNvSpPr/>
          <p:nvPr/>
        </p:nvSpPr>
        <p:spPr>
          <a:xfrm>
            <a:off x="6553200" y="260191"/>
            <a:ext cx="5638800" cy="6850560"/>
          </a:xfrm>
          <a:prstGeom prst="rect">
            <a:avLst/>
          </a:prstGeom>
          <a:solidFill>
            <a:srgbClr val="DCEC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F4A23E82-4ADA-4290-A732-46C59CED37BE}"/>
              </a:ext>
            </a:extLst>
          </p:cNvPr>
          <p:cNvSpPr/>
          <p:nvPr/>
        </p:nvSpPr>
        <p:spPr>
          <a:xfrm>
            <a:off x="7064944" y="848715"/>
            <a:ext cx="4513667" cy="258532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With a full team of designers, we produce hundreds of thousands of slides each year, in dozens of languages, for thousands of clients around the world.</a:t>
            </a:r>
          </a:p>
        </p:txBody>
      </p:sp>
      <p:sp>
        <p:nvSpPr>
          <p:cNvPr id="25" name="Rectangle 24">
            <a:extLst>
              <a:ext uri="{FF2B5EF4-FFF2-40B4-BE49-F238E27FC236}">
                <a16:creationId xmlns:a16="http://schemas.microsoft.com/office/drawing/2014/main" id="{814E8360-63F3-4F18-817E-6FBC4551EF0D}"/>
              </a:ext>
            </a:extLst>
          </p:cNvPr>
          <p:cNvSpPr/>
          <p:nvPr/>
        </p:nvSpPr>
        <p:spPr>
          <a:xfrm>
            <a:off x="7064944" y="3685471"/>
            <a:ext cx="3307591" cy="147732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68DC3"/>
                </a:solidFill>
                <a:effectLst/>
                <a:uLnTx/>
                <a:uFillTx/>
                <a:latin typeface="Segoe UI" panose="020B0502040204020203" pitchFamily="34" charset="0"/>
                <a:ea typeface="Open Sans" panose="020B0606030504020204" pitchFamily="34" charset="0"/>
                <a:cs typeface="Segoe UI" panose="020B0502040204020203" pitchFamily="34" charset="0"/>
              </a:rPr>
              <a:t>Get Started</a:t>
            </a:r>
          </a:p>
        </p:txBody>
      </p:sp>
      <p:grpSp>
        <p:nvGrpSpPr>
          <p:cNvPr id="9" name="Group 8">
            <a:extLst>
              <a:ext uri="{FF2B5EF4-FFF2-40B4-BE49-F238E27FC236}">
                <a16:creationId xmlns:a16="http://schemas.microsoft.com/office/drawing/2014/main" id="{5298F209-5475-4EE8-82B8-E06B477AE492}"/>
              </a:ext>
            </a:extLst>
          </p:cNvPr>
          <p:cNvGrpSpPr/>
          <p:nvPr/>
        </p:nvGrpSpPr>
        <p:grpSpPr>
          <a:xfrm>
            <a:off x="495298" y="500591"/>
            <a:ext cx="5543552" cy="5949434"/>
            <a:chOff x="371248" y="367458"/>
            <a:chExt cx="5791652" cy="6215699"/>
          </a:xfrm>
        </p:grpSpPr>
        <p:grpSp>
          <p:nvGrpSpPr>
            <p:cNvPr id="4" name="Group 3">
              <a:extLst>
                <a:ext uri="{FF2B5EF4-FFF2-40B4-BE49-F238E27FC236}">
                  <a16:creationId xmlns:a16="http://schemas.microsoft.com/office/drawing/2014/main" id="{CD845A77-C33E-4B0F-92C8-5FF58F25D5BB}"/>
                </a:ext>
              </a:extLst>
            </p:cNvPr>
            <p:cNvGrpSpPr/>
            <p:nvPr/>
          </p:nvGrpSpPr>
          <p:grpSpPr>
            <a:xfrm>
              <a:off x="383468" y="2256268"/>
              <a:ext cx="5779430" cy="1621673"/>
              <a:chOff x="392993" y="2284440"/>
              <a:chExt cx="5779430" cy="1621673"/>
            </a:xfrm>
          </p:grpSpPr>
          <p:pic>
            <p:nvPicPr>
              <p:cNvPr id="40" name="Picture 39">
                <a:extLst>
                  <a:ext uri="{FF2B5EF4-FFF2-40B4-BE49-F238E27FC236}">
                    <a16:creationId xmlns:a16="http://schemas.microsoft.com/office/drawing/2014/main" id="{E5A8486D-6564-4EC8-AC45-70E000CC5923}"/>
                  </a:ext>
                </a:extLst>
              </p:cNvPr>
              <p:cNvPicPr>
                <a:picLocks noChangeAspect="1"/>
              </p:cNvPicPr>
              <p:nvPr/>
            </p:nvPicPr>
            <p:blipFill rotWithShape="1">
              <a:blip r:embed="rId2">
                <a:extLst>
                  <a:ext uri="{28A0092B-C50C-407E-A947-70E740481C1C}">
                    <a14:useLocalDpi xmlns:a14="http://schemas.microsoft.com/office/drawing/2010/main" val="0"/>
                  </a:ext>
                </a:extLst>
              </a:blip>
              <a:srcRect l="3435" t="7099" r="67646" b="5151"/>
              <a:stretch/>
            </p:blipFill>
            <p:spPr>
              <a:xfrm>
                <a:off x="392993" y="2284440"/>
                <a:ext cx="1425080" cy="1412810"/>
              </a:xfrm>
              <a:custGeom>
                <a:avLst/>
                <a:gdLst>
                  <a:gd name="connsiteX0" fmla="*/ 0 w 1425080"/>
                  <a:gd name="connsiteY0" fmla="*/ 0 h 1412810"/>
                  <a:gd name="connsiteX1" fmla="*/ 1425080 w 1425080"/>
                  <a:gd name="connsiteY1" fmla="*/ 0 h 1412810"/>
                  <a:gd name="connsiteX2" fmla="*/ 1425080 w 1425080"/>
                  <a:gd name="connsiteY2" fmla="*/ 1412810 h 1412810"/>
                  <a:gd name="connsiteX3" fmla="*/ 0 w 1425080"/>
                  <a:gd name="connsiteY3" fmla="*/ 1412810 h 1412810"/>
                </a:gdLst>
                <a:ahLst/>
                <a:cxnLst>
                  <a:cxn ang="0">
                    <a:pos x="connsiteX0" y="connsiteY0"/>
                  </a:cxn>
                  <a:cxn ang="0">
                    <a:pos x="connsiteX1" y="connsiteY1"/>
                  </a:cxn>
                  <a:cxn ang="0">
                    <a:pos x="connsiteX2" y="connsiteY2"/>
                  </a:cxn>
                  <a:cxn ang="0">
                    <a:pos x="connsiteX3" y="connsiteY3"/>
                  </a:cxn>
                </a:cxnLst>
                <a:rect l="l" t="t" r="r" b="b"/>
                <a:pathLst>
                  <a:path w="1425080" h="1412810">
                    <a:moveTo>
                      <a:pt x="0" y="0"/>
                    </a:moveTo>
                    <a:lnTo>
                      <a:pt x="1425080" y="0"/>
                    </a:lnTo>
                    <a:lnTo>
                      <a:pt x="1425080" y="1412810"/>
                    </a:lnTo>
                    <a:lnTo>
                      <a:pt x="0" y="1412810"/>
                    </a:lnTo>
                    <a:close/>
                  </a:path>
                </a:pathLst>
              </a:custGeom>
            </p:spPr>
          </p:pic>
          <p:pic>
            <p:nvPicPr>
              <p:cNvPr id="38" name="Picture 37">
                <a:extLst>
                  <a:ext uri="{FF2B5EF4-FFF2-40B4-BE49-F238E27FC236}">
                    <a16:creationId xmlns:a16="http://schemas.microsoft.com/office/drawing/2014/main" id="{4B3E1175-FC7B-4851-8C36-C1A36B45F86C}"/>
                  </a:ext>
                </a:extLst>
              </p:cNvPr>
              <p:cNvPicPr>
                <a:picLocks noChangeAspect="1"/>
              </p:cNvPicPr>
              <p:nvPr/>
            </p:nvPicPr>
            <p:blipFill rotWithShape="1">
              <a:blip r:embed="rId2">
                <a:extLst>
                  <a:ext uri="{28A0092B-C50C-407E-A947-70E740481C1C}">
                    <a14:useLocalDpi xmlns:a14="http://schemas.microsoft.com/office/drawing/2010/main" val="0"/>
                  </a:ext>
                </a:extLst>
              </a:blip>
              <a:srcRect l="32987" t="13143" r="-2475" b="8671"/>
              <a:stretch/>
            </p:blipFill>
            <p:spPr>
              <a:xfrm>
                <a:off x="1797650" y="2297936"/>
                <a:ext cx="4374773" cy="1608177"/>
              </a:xfrm>
              <a:custGeom>
                <a:avLst/>
                <a:gdLst>
                  <a:gd name="connsiteX0" fmla="*/ 0 w 4374773"/>
                  <a:gd name="connsiteY0" fmla="*/ 0 h 1741864"/>
                  <a:gd name="connsiteX1" fmla="*/ 4374773 w 4374773"/>
                  <a:gd name="connsiteY1" fmla="*/ 0 h 1741864"/>
                  <a:gd name="connsiteX2" fmla="*/ 4374773 w 4374773"/>
                  <a:gd name="connsiteY2" fmla="*/ 1741864 h 1741864"/>
                  <a:gd name="connsiteX3" fmla="*/ 0 w 4374773"/>
                  <a:gd name="connsiteY3" fmla="*/ 1741864 h 1741864"/>
                </a:gdLst>
                <a:ahLst/>
                <a:cxnLst>
                  <a:cxn ang="0">
                    <a:pos x="connsiteX0" y="connsiteY0"/>
                  </a:cxn>
                  <a:cxn ang="0">
                    <a:pos x="connsiteX1" y="connsiteY1"/>
                  </a:cxn>
                  <a:cxn ang="0">
                    <a:pos x="connsiteX2" y="connsiteY2"/>
                  </a:cxn>
                  <a:cxn ang="0">
                    <a:pos x="connsiteX3" y="connsiteY3"/>
                  </a:cxn>
                </a:cxnLst>
                <a:rect l="l" t="t" r="r" b="b"/>
                <a:pathLst>
                  <a:path w="4374773" h="1741864">
                    <a:moveTo>
                      <a:pt x="0" y="0"/>
                    </a:moveTo>
                    <a:lnTo>
                      <a:pt x="4374773" y="0"/>
                    </a:lnTo>
                    <a:lnTo>
                      <a:pt x="4374773" y="1741864"/>
                    </a:lnTo>
                    <a:lnTo>
                      <a:pt x="0" y="1741864"/>
                    </a:lnTo>
                    <a:close/>
                  </a:path>
                </a:pathLst>
              </a:custGeom>
            </p:spPr>
          </p:pic>
        </p:grpSp>
        <p:grpSp>
          <p:nvGrpSpPr>
            <p:cNvPr id="6" name="Group 5">
              <a:extLst>
                <a:ext uri="{FF2B5EF4-FFF2-40B4-BE49-F238E27FC236}">
                  <a16:creationId xmlns:a16="http://schemas.microsoft.com/office/drawing/2014/main" id="{3264E504-EEA2-4C9F-B38C-F1B0FEEF4CAC}"/>
                </a:ext>
              </a:extLst>
            </p:cNvPr>
            <p:cNvGrpSpPr/>
            <p:nvPr/>
          </p:nvGrpSpPr>
          <p:grpSpPr>
            <a:xfrm>
              <a:off x="383467" y="367458"/>
              <a:ext cx="5779433" cy="1528842"/>
              <a:chOff x="392992" y="527185"/>
              <a:chExt cx="5779433" cy="1528842"/>
            </a:xfrm>
          </p:grpSpPr>
          <p:pic>
            <p:nvPicPr>
              <p:cNvPr id="68" name="Picture 67">
                <a:extLst>
                  <a:ext uri="{FF2B5EF4-FFF2-40B4-BE49-F238E27FC236}">
                    <a16:creationId xmlns:a16="http://schemas.microsoft.com/office/drawing/2014/main" id="{1B273EAB-7E0C-4A47-9226-FC530BF43B0B}"/>
                  </a:ext>
                </a:extLst>
              </p:cNvPr>
              <p:cNvPicPr>
                <a:picLocks noChangeAspect="1"/>
              </p:cNvPicPr>
              <p:nvPr/>
            </p:nvPicPr>
            <p:blipFill rotWithShape="1">
              <a:blip r:embed="rId3">
                <a:extLst>
                  <a:ext uri="{28A0092B-C50C-407E-A947-70E740481C1C}">
                    <a14:useLocalDpi xmlns:a14="http://schemas.microsoft.com/office/drawing/2010/main" val="0"/>
                  </a:ext>
                </a:extLst>
              </a:blip>
              <a:srcRect l="5468" t="-6003" r="66869" b="-3962"/>
              <a:stretch/>
            </p:blipFill>
            <p:spPr>
              <a:xfrm>
                <a:off x="392992" y="527185"/>
                <a:ext cx="1425080" cy="1412811"/>
              </a:xfrm>
              <a:custGeom>
                <a:avLst/>
                <a:gdLst>
                  <a:gd name="connsiteX0" fmla="*/ 0 w 917575"/>
                  <a:gd name="connsiteY0" fmla="*/ 0 h 909675"/>
                  <a:gd name="connsiteX1" fmla="*/ 917575 w 917575"/>
                  <a:gd name="connsiteY1" fmla="*/ 0 h 909675"/>
                  <a:gd name="connsiteX2" fmla="*/ 917575 w 917575"/>
                  <a:gd name="connsiteY2" fmla="*/ 909675 h 909675"/>
                  <a:gd name="connsiteX3" fmla="*/ 0 w 917575"/>
                  <a:gd name="connsiteY3" fmla="*/ 909675 h 909675"/>
                </a:gdLst>
                <a:ahLst/>
                <a:cxnLst>
                  <a:cxn ang="0">
                    <a:pos x="connsiteX0" y="connsiteY0"/>
                  </a:cxn>
                  <a:cxn ang="0">
                    <a:pos x="connsiteX1" y="connsiteY1"/>
                  </a:cxn>
                  <a:cxn ang="0">
                    <a:pos x="connsiteX2" y="connsiteY2"/>
                  </a:cxn>
                  <a:cxn ang="0">
                    <a:pos x="connsiteX3" y="connsiteY3"/>
                  </a:cxn>
                </a:cxnLst>
                <a:rect l="l" t="t" r="r" b="b"/>
                <a:pathLst>
                  <a:path w="917575" h="909675">
                    <a:moveTo>
                      <a:pt x="0" y="0"/>
                    </a:moveTo>
                    <a:lnTo>
                      <a:pt x="917575" y="0"/>
                    </a:lnTo>
                    <a:lnTo>
                      <a:pt x="917575" y="909675"/>
                    </a:lnTo>
                    <a:lnTo>
                      <a:pt x="0" y="909675"/>
                    </a:lnTo>
                    <a:close/>
                  </a:path>
                </a:pathLst>
              </a:custGeom>
            </p:spPr>
          </p:pic>
          <p:pic>
            <p:nvPicPr>
              <p:cNvPr id="63" name="Picture 62">
                <a:extLst>
                  <a:ext uri="{FF2B5EF4-FFF2-40B4-BE49-F238E27FC236}">
                    <a16:creationId xmlns:a16="http://schemas.microsoft.com/office/drawing/2014/main" id="{EB88A6E0-C2AC-4059-820F-FC3B91E21A2E}"/>
                  </a:ext>
                </a:extLst>
              </p:cNvPr>
              <p:cNvPicPr>
                <a:picLocks noChangeAspect="1"/>
              </p:cNvPicPr>
              <p:nvPr/>
            </p:nvPicPr>
            <p:blipFill rotWithShape="1">
              <a:blip r:embed="rId3">
                <a:extLst>
                  <a:ext uri="{28A0092B-C50C-407E-A947-70E740481C1C}">
                    <a14:useLocalDpi xmlns:a14="http://schemas.microsoft.com/office/drawing/2010/main" val="0"/>
                  </a:ext>
                </a:extLst>
              </a:blip>
              <a:srcRect l="33956" t="4006" r="2305" b="6680"/>
              <a:stretch/>
            </p:blipFill>
            <p:spPr>
              <a:xfrm>
                <a:off x="1797651" y="527185"/>
                <a:ext cx="4374774" cy="1528842"/>
              </a:xfrm>
              <a:custGeom>
                <a:avLst/>
                <a:gdLst>
                  <a:gd name="connsiteX0" fmla="*/ 0 w 4095065"/>
                  <a:gd name="connsiteY0" fmla="*/ 0 h 909675"/>
                  <a:gd name="connsiteX1" fmla="*/ 4095065 w 4095065"/>
                  <a:gd name="connsiteY1" fmla="*/ 0 h 909675"/>
                  <a:gd name="connsiteX2" fmla="*/ 4095065 w 4095065"/>
                  <a:gd name="connsiteY2" fmla="*/ 909675 h 909675"/>
                  <a:gd name="connsiteX3" fmla="*/ 0 w 4095065"/>
                  <a:gd name="connsiteY3" fmla="*/ 909675 h 909675"/>
                </a:gdLst>
                <a:ahLst/>
                <a:cxnLst>
                  <a:cxn ang="0">
                    <a:pos x="connsiteX0" y="connsiteY0"/>
                  </a:cxn>
                  <a:cxn ang="0">
                    <a:pos x="connsiteX1" y="connsiteY1"/>
                  </a:cxn>
                  <a:cxn ang="0">
                    <a:pos x="connsiteX2" y="connsiteY2"/>
                  </a:cxn>
                  <a:cxn ang="0">
                    <a:pos x="connsiteX3" y="connsiteY3"/>
                  </a:cxn>
                </a:cxnLst>
                <a:rect l="l" t="t" r="r" b="b"/>
                <a:pathLst>
                  <a:path w="4095065" h="909675">
                    <a:moveTo>
                      <a:pt x="0" y="0"/>
                    </a:moveTo>
                    <a:lnTo>
                      <a:pt x="4095065" y="0"/>
                    </a:lnTo>
                    <a:lnTo>
                      <a:pt x="4095065" y="909675"/>
                    </a:lnTo>
                    <a:lnTo>
                      <a:pt x="0" y="909675"/>
                    </a:lnTo>
                    <a:close/>
                  </a:path>
                </a:pathLst>
              </a:custGeom>
            </p:spPr>
          </p:pic>
        </p:grpSp>
        <p:grpSp>
          <p:nvGrpSpPr>
            <p:cNvPr id="2" name="Group 1">
              <a:extLst>
                <a:ext uri="{FF2B5EF4-FFF2-40B4-BE49-F238E27FC236}">
                  <a16:creationId xmlns:a16="http://schemas.microsoft.com/office/drawing/2014/main" id="{C6A72FD5-B3CB-4D7F-8642-AD1B2BE936F6}"/>
                </a:ext>
              </a:extLst>
            </p:cNvPr>
            <p:cNvGrpSpPr/>
            <p:nvPr/>
          </p:nvGrpSpPr>
          <p:grpSpPr>
            <a:xfrm>
              <a:off x="401564" y="4237908"/>
              <a:ext cx="5743239" cy="2345249"/>
              <a:chOff x="411089" y="4191148"/>
              <a:chExt cx="5743239" cy="2345249"/>
            </a:xfrm>
          </p:grpSpPr>
          <p:pic>
            <p:nvPicPr>
              <p:cNvPr id="66" name="Picture 65">
                <a:extLst>
                  <a:ext uri="{FF2B5EF4-FFF2-40B4-BE49-F238E27FC236}">
                    <a16:creationId xmlns:a16="http://schemas.microsoft.com/office/drawing/2014/main" id="{22BFEC5D-EDEB-4EE8-8037-3E3F984559B3}"/>
                  </a:ext>
                </a:extLst>
              </p:cNvPr>
              <p:cNvPicPr>
                <a:picLocks noChangeAspect="1"/>
              </p:cNvPicPr>
              <p:nvPr/>
            </p:nvPicPr>
            <p:blipFill rotWithShape="1">
              <a:blip r:embed="rId4">
                <a:extLst>
                  <a:ext uri="{28A0092B-C50C-407E-A947-70E740481C1C}">
                    <a14:useLocalDpi xmlns:a14="http://schemas.microsoft.com/office/drawing/2010/main" val="0"/>
                  </a:ext>
                </a:extLst>
              </a:blip>
              <a:srcRect l="32768" t="9595" r="-1553" b="5072"/>
              <a:stretch/>
            </p:blipFill>
            <p:spPr>
              <a:xfrm>
                <a:off x="1779555" y="4191148"/>
                <a:ext cx="4374773" cy="2345249"/>
              </a:xfrm>
              <a:custGeom>
                <a:avLst/>
                <a:gdLst>
                  <a:gd name="connsiteX0" fmla="*/ 0 w 4095065"/>
                  <a:gd name="connsiteY0" fmla="*/ 0 h 909675"/>
                  <a:gd name="connsiteX1" fmla="*/ 4095065 w 4095065"/>
                  <a:gd name="connsiteY1" fmla="*/ 0 h 909675"/>
                  <a:gd name="connsiteX2" fmla="*/ 4095065 w 4095065"/>
                  <a:gd name="connsiteY2" fmla="*/ 909675 h 909675"/>
                  <a:gd name="connsiteX3" fmla="*/ 0 w 4095065"/>
                  <a:gd name="connsiteY3" fmla="*/ 909675 h 909675"/>
                </a:gdLst>
                <a:ahLst/>
                <a:cxnLst>
                  <a:cxn ang="0">
                    <a:pos x="connsiteX0" y="connsiteY0"/>
                  </a:cxn>
                  <a:cxn ang="0">
                    <a:pos x="connsiteX1" y="connsiteY1"/>
                  </a:cxn>
                  <a:cxn ang="0">
                    <a:pos x="connsiteX2" y="connsiteY2"/>
                  </a:cxn>
                  <a:cxn ang="0">
                    <a:pos x="connsiteX3" y="connsiteY3"/>
                  </a:cxn>
                </a:cxnLst>
                <a:rect l="l" t="t" r="r" b="b"/>
                <a:pathLst>
                  <a:path w="4095065" h="909675">
                    <a:moveTo>
                      <a:pt x="0" y="0"/>
                    </a:moveTo>
                    <a:lnTo>
                      <a:pt x="4095065" y="0"/>
                    </a:lnTo>
                    <a:lnTo>
                      <a:pt x="4095065" y="909675"/>
                    </a:lnTo>
                    <a:lnTo>
                      <a:pt x="0" y="909675"/>
                    </a:lnTo>
                    <a:close/>
                  </a:path>
                </a:pathLst>
              </a:custGeom>
            </p:spPr>
          </p:pic>
          <p:pic>
            <p:nvPicPr>
              <p:cNvPr id="74" name="Picture 73">
                <a:extLst>
                  <a:ext uri="{FF2B5EF4-FFF2-40B4-BE49-F238E27FC236}">
                    <a16:creationId xmlns:a16="http://schemas.microsoft.com/office/drawing/2014/main" id="{C809BBA1-2476-435D-9D8F-C8B938E8EE1D}"/>
                  </a:ext>
                </a:extLst>
              </p:cNvPr>
              <p:cNvPicPr>
                <a:picLocks noChangeAspect="1"/>
              </p:cNvPicPr>
              <p:nvPr/>
            </p:nvPicPr>
            <p:blipFill rotWithShape="1">
              <a:blip r:embed="rId4">
                <a:extLst>
                  <a:ext uri="{28A0092B-C50C-407E-A947-70E740481C1C}">
                    <a14:useLocalDpi xmlns:a14="http://schemas.microsoft.com/office/drawing/2010/main" val="0"/>
                  </a:ext>
                </a:extLst>
              </a:blip>
              <a:srcRect l="3159" t="3031" r="67137" b="28821"/>
              <a:stretch/>
            </p:blipFill>
            <p:spPr>
              <a:xfrm>
                <a:off x="411089" y="4298666"/>
                <a:ext cx="1425082" cy="1412811"/>
              </a:xfrm>
              <a:custGeom>
                <a:avLst/>
                <a:gdLst>
                  <a:gd name="connsiteX0" fmla="*/ 0 w 917575"/>
                  <a:gd name="connsiteY0" fmla="*/ 0 h 909675"/>
                  <a:gd name="connsiteX1" fmla="*/ 917575 w 917575"/>
                  <a:gd name="connsiteY1" fmla="*/ 0 h 909675"/>
                  <a:gd name="connsiteX2" fmla="*/ 917575 w 917575"/>
                  <a:gd name="connsiteY2" fmla="*/ 909675 h 909675"/>
                  <a:gd name="connsiteX3" fmla="*/ 0 w 917575"/>
                  <a:gd name="connsiteY3" fmla="*/ 909675 h 909675"/>
                </a:gdLst>
                <a:ahLst/>
                <a:cxnLst>
                  <a:cxn ang="0">
                    <a:pos x="connsiteX0" y="connsiteY0"/>
                  </a:cxn>
                  <a:cxn ang="0">
                    <a:pos x="connsiteX1" y="connsiteY1"/>
                  </a:cxn>
                  <a:cxn ang="0">
                    <a:pos x="connsiteX2" y="connsiteY2"/>
                  </a:cxn>
                  <a:cxn ang="0">
                    <a:pos x="connsiteX3" y="connsiteY3"/>
                  </a:cxn>
                </a:cxnLst>
                <a:rect l="l" t="t" r="r" b="b"/>
                <a:pathLst>
                  <a:path w="917575" h="909675">
                    <a:moveTo>
                      <a:pt x="0" y="0"/>
                    </a:moveTo>
                    <a:lnTo>
                      <a:pt x="917575" y="0"/>
                    </a:lnTo>
                    <a:lnTo>
                      <a:pt x="917575" y="909675"/>
                    </a:lnTo>
                    <a:lnTo>
                      <a:pt x="0" y="909675"/>
                    </a:lnTo>
                    <a:close/>
                  </a:path>
                </a:pathLst>
              </a:custGeom>
            </p:spPr>
          </p:pic>
        </p:grpSp>
        <p:cxnSp>
          <p:nvCxnSpPr>
            <p:cNvPr id="80" name="Straight Connector 79">
              <a:extLst>
                <a:ext uri="{FF2B5EF4-FFF2-40B4-BE49-F238E27FC236}">
                  <a16:creationId xmlns:a16="http://schemas.microsoft.com/office/drawing/2014/main" id="{51050D9D-4058-4D45-A51D-AB2BBB5F8A79}"/>
                </a:ext>
              </a:extLst>
            </p:cNvPr>
            <p:cNvCxnSpPr>
              <a:cxnSpLocks/>
            </p:cNvCxnSpPr>
            <p:nvPr/>
          </p:nvCxnSpPr>
          <p:spPr>
            <a:xfrm>
              <a:off x="371248" y="4057925"/>
              <a:ext cx="579015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1D2AF1F-4132-440F-9D32-9AF207CE1448}"/>
                </a:ext>
              </a:extLst>
            </p:cNvPr>
            <p:cNvCxnSpPr>
              <a:cxnSpLocks/>
            </p:cNvCxnSpPr>
            <p:nvPr/>
          </p:nvCxnSpPr>
          <p:spPr>
            <a:xfrm>
              <a:off x="371248" y="2076284"/>
              <a:ext cx="579015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56FB6ED9-4944-4C39-B3F1-D940C9ED2E39}"/>
              </a:ext>
            </a:extLst>
          </p:cNvPr>
          <p:cNvGrpSpPr/>
          <p:nvPr/>
        </p:nvGrpSpPr>
        <p:grpSpPr>
          <a:xfrm>
            <a:off x="10928712" y="6378850"/>
            <a:ext cx="947290" cy="270982"/>
            <a:chOff x="4103688" y="-2378075"/>
            <a:chExt cx="1309687" cy="374650"/>
          </a:xfrm>
          <a:solidFill>
            <a:srgbClr val="468DC3"/>
          </a:solidFill>
        </p:grpSpPr>
        <p:sp>
          <p:nvSpPr>
            <p:cNvPr id="93" name="Freeform 254">
              <a:extLst>
                <a:ext uri="{FF2B5EF4-FFF2-40B4-BE49-F238E27FC236}">
                  <a16:creationId xmlns:a16="http://schemas.microsoft.com/office/drawing/2014/main" id="{73820BC4-C177-49E8-B574-9F605AACCC1D}"/>
                </a:ext>
              </a:extLst>
            </p:cNvPr>
            <p:cNvSpPr>
              <a:spLocks/>
            </p:cNvSpPr>
            <p:nvPr/>
          </p:nvSpPr>
          <p:spPr bwMode="auto">
            <a:xfrm>
              <a:off x="4103688" y="-2374900"/>
              <a:ext cx="182562" cy="288925"/>
            </a:xfrm>
            <a:custGeom>
              <a:avLst/>
              <a:gdLst>
                <a:gd name="T0" fmla="*/ 43 w 61"/>
                <a:gd name="T1" fmla="*/ 47 h 95"/>
                <a:gd name="T2" fmla="*/ 30 w 61"/>
                <a:gd name="T3" fmla="*/ 55 h 95"/>
                <a:gd name="T4" fmla="*/ 11 w 61"/>
                <a:gd name="T5" fmla="*/ 83 h 95"/>
                <a:gd name="T6" fmla="*/ 11 w 61"/>
                <a:gd name="T7" fmla="*/ 85 h 95"/>
                <a:gd name="T8" fmla="*/ 57 w 61"/>
                <a:gd name="T9" fmla="*/ 85 h 95"/>
                <a:gd name="T10" fmla="*/ 60 w 61"/>
                <a:gd name="T11" fmla="*/ 88 h 95"/>
                <a:gd name="T12" fmla="*/ 60 w 61"/>
                <a:gd name="T13" fmla="*/ 93 h 95"/>
                <a:gd name="T14" fmla="*/ 57 w 61"/>
                <a:gd name="T15" fmla="*/ 95 h 95"/>
                <a:gd name="T16" fmla="*/ 3 w 61"/>
                <a:gd name="T17" fmla="*/ 95 h 95"/>
                <a:gd name="T18" fmla="*/ 0 w 61"/>
                <a:gd name="T19" fmla="*/ 93 h 95"/>
                <a:gd name="T20" fmla="*/ 0 w 61"/>
                <a:gd name="T21" fmla="*/ 83 h 95"/>
                <a:gd name="T22" fmla="*/ 21 w 61"/>
                <a:gd name="T23" fmla="*/ 49 h 95"/>
                <a:gd name="T24" fmla="*/ 35 w 61"/>
                <a:gd name="T25" fmla="*/ 40 h 95"/>
                <a:gd name="T26" fmla="*/ 49 w 61"/>
                <a:gd name="T27" fmla="*/ 22 h 95"/>
                <a:gd name="T28" fmla="*/ 28 w 61"/>
                <a:gd name="T29" fmla="*/ 9 h 95"/>
                <a:gd name="T30" fmla="*/ 4 w 61"/>
                <a:gd name="T31" fmla="*/ 11 h 95"/>
                <a:gd name="T32" fmla="*/ 3 w 61"/>
                <a:gd name="T33" fmla="*/ 11 h 95"/>
                <a:gd name="T34" fmla="*/ 1 w 61"/>
                <a:gd name="T35" fmla="*/ 9 h 95"/>
                <a:gd name="T36" fmla="*/ 1 w 61"/>
                <a:gd name="T37" fmla="*/ 4 h 95"/>
                <a:gd name="T38" fmla="*/ 4 w 61"/>
                <a:gd name="T39" fmla="*/ 2 h 95"/>
                <a:gd name="T40" fmla="*/ 28 w 61"/>
                <a:gd name="T41" fmla="*/ 0 h 95"/>
                <a:gd name="T42" fmla="*/ 61 w 61"/>
                <a:gd name="T43" fmla="*/ 22 h 95"/>
                <a:gd name="T44" fmla="*/ 43 w 61"/>
                <a:gd name="T45"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95">
                  <a:moveTo>
                    <a:pt x="43" y="47"/>
                  </a:moveTo>
                  <a:cubicBezTo>
                    <a:pt x="30" y="55"/>
                    <a:pt x="30" y="55"/>
                    <a:pt x="30" y="55"/>
                  </a:cubicBezTo>
                  <a:cubicBezTo>
                    <a:pt x="15" y="65"/>
                    <a:pt x="11" y="72"/>
                    <a:pt x="11" y="83"/>
                  </a:cubicBezTo>
                  <a:cubicBezTo>
                    <a:pt x="11" y="85"/>
                    <a:pt x="11" y="85"/>
                    <a:pt x="11" y="85"/>
                  </a:cubicBezTo>
                  <a:cubicBezTo>
                    <a:pt x="57" y="85"/>
                    <a:pt x="57" y="85"/>
                    <a:pt x="57" y="85"/>
                  </a:cubicBezTo>
                  <a:cubicBezTo>
                    <a:pt x="59" y="85"/>
                    <a:pt x="60" y="86"/>
                    <a:pt x="60" y="88"/>
                  </a:cubicBezTo>
                  <a:cubicBezTo>
                    <a:pt x="60" y="93"/>
                    <a:pt x="60" y="93"/>
                    <a:pt x="60" y="93"/>
                  </a:cubicBezTo>
                  <a:cubicBezTo>
                    <a:pt x="60" y="95"/>
                    <a:pt x="59" y="95"/>
                    <a:pt x="57" y="95"/>
                  </a:cubicBezTo>
                  <a:cubicBezTo>
                    <a:pt x="3" y="95"/>
                    <a:pt x="3" y="95"/>
                    <a:pt x="3" y="95"/>
                  </a:cubicBezTo>
                  <a:cubicBezTo>
                    <a:pt x="1" y="95"/>
                    <a:pt x="0" y="94"/>
                    <a:pt x="0" y="93"/>
                  </a:cubicBezTo>
                  <a:cubicBezTo>
                    <a:pt x="0" y="83"/>
                    <a:pt x="0" y="83"/>
                    <a:pt x="0" y="83"/>
                  </a:cubicBezTo>
                  <a:cubicBezTo>
                    <a:pt x="0" y="69"/>
                    <a:pt x="6" y="58"/>
                    <a:pt x="21" y="49"/>
                  </a:cubicBezTo>
                  <a:cubicBezTo>
                    <a:pt x="35" y="40"/>
                    <a:pt x="35" y="40"/>
                    <a:pt x="35" y="40"/>
                  </a:cubicBezTo>
                  <a:cubicBezTo>
                    <a:pt x="46" y="33"/>
                    <a:pt x="49" y="30"/>
                    <a:pt x="49" y="22"/>
                  </a:cubicBezTo>
                  <a:cubicBezTo>
                    <a:pt x="49" y="13"/>
                    <a:pt x="43" y="9"/>
                    <a:pt x="28" y="9"/>
                  </a:cubicBezTo>
                  <a:cubicBezTo>
                    <a:pt x="21" y="9"/>
                    <a:pt x="12" y="10"/>
                    <a:pt x="4" y="11"/>
                  </a:cubicBezTo>
                  <a:cubicBezTo>
                    <a:pt x="4" y="11"/>
                    <a:pt x="4" y="11"/>
                    <a:pt x="3" y="11"/>
                  </a:cubicBezTo>
                  <a:cubicBezTo>
                    <a:pt x="2" y="11"/>
                    <a:pt x="1" y="10"/>
                    <a:pt x="1" y="9"/>
                  </a:cubicBezTo>
                  <a:cubicBezTo>
                    <a:pt x="1" y="4"/>
                    <a:pt x="1" y="4"/>
                    <a:pt x="1" y="4"/>
                  </a:cubicBezTo>
                  <a:cubicBezTo>
                    <a:pt x="1" y="3"/>
                    <a:pt x="3" y="2"/>
                    <a:pt x="4" y="2"/>
                  </a:cubicBezTo>
                  <a:cubicBezTo>
                    <a:pt x="11" y="0"/>
                    <a:pt x="20" y="0"/>
                    <a:pt x="28" y="0"/>
                  </a:cubicBezTo>
                  <a:cubicBezTo>
                    <a:pt x="51" y="0"/>
                    <a:pt x="61" y="7"/>
                    <a:pt x="61" y="22"/>
                  </a:cubicBezTo>
                  <a:cubicBezTo>
                    <a:pt x="61" y="33"/>
                    <a:pt x="56" y="39"/>
                    <a:pt x="4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55">
              <a:extLst>
                <a:ext uri="{FF2B5EF4-FFF2-40B4-BE49-F238E27FC236}">
                  <a16:creationId xmlns:a16="http://schemas.microsoft.com/office/drawing/2014/main" id="{137DFC2F-F31C-415D-BC34-733E075AE5DE}"/>
                </a:ext>
              </a:extLst>
            </p:cNvPr>
            <p:cNvSpPr>
              <a:spLocks noEditPoints="1"/>
            </p:cNvSpPr>
            <p:nvPr/>
          </p:nvSpPr>
          <p:spPr bwMode="auto">
            <a:xfrm>
              <a:off x="4208463" y="-2308225"/>
              <a:ext cx="211137" cy="304800"/>
            </a:xfrm>
            <a:custGeom>
              <a:avLst/>
              <a:gdLst>
                <a:gd name="T0" fmla="*/ 68 w 70"/>
                <a:gd name="T1" fmla="*/ 74 h 100"/>
                <a:gd name="T2" fmla="*/ 56 w 70"/>
                <a:gd name="T3" fmla="*/ 74 h 100"/>
                <a:gd name="T4" fmla="*/ 56 w 70"/>
                <a:gd name="T5" fmla="*/ 98 h 100"/>
                <a:gd name="T6" fmla="*/ 54 w 70"/>
                <a:gd name="T7" fmla="*/ 100 h 100"/>
                <a:gd name="T8" fmla="*/ 46 w 70"/>
                <a:gd name="T9" fmla="*/ 100 h 100"/>
                <a:gd name="T10" fmla="*/ 44 w 70"/>
                <a:gd name="T11" fmla="*/ 98 h 100"/>
                <a:gd name="T12" fmla="*/ 44 w 70"/>
                <a:gd name="T13" fmla="*/ 74 h 100"/>
                <a:gd name="T14" fmla="*/ 5 w 70"/>
                <a:gd name="T15" fmla="*/ 74 h 100"/>
                <a:gd name="T16" fmla="*/ 0 w 70"/>
                <a:gd name="T17" fmla="*/ 68 h 100"/>
                <a:gd name="T18" fmla="*/ 0 w 70"/>
                <a:gd name="T19" fmla="*/ 63 h 100"/>
                <a:gd name="T20" fmla="*/ 1 w 70"/>
                <a:gd name="T21" fmla="*/ 58 h 100"/>
                <a:gd name="T22" fmla="*/ 41 w 70"/>
                <a:gd name="T23" fmla="*/ 2 h 100"/>
                <a:gd name="T24" fmla="*/ 45 w 70"/>
                <a:gd name="T25" fmla="*/ 0 h 100"/>
                <a:gd name="T26" fmla="*/ 52 w 70"/>
                <a:gd name="T27" fmla="*/ 0 h 100"/>
                <a:gd name="T28" fmla="*/ 56 w 70"/>
                <a:gd name="T29" fmla="*/ 3 h 100"/>
                <a:gd name="T30" fmla="*/ 56 w 70"/>
                <a:gd name="T31" fmla="*/ 63 h 100"/>
                <a:gd name="T32" fmla="*/ 68 w 70"/>
                <a:gd name="T33" fmla="*/ 63 h 100"/>
                <a:gd name="T34" fmla="*/ 70 w 70"/>
                <a:gd name="T35" fmla="*/ 66 h 100"/>
                <a:gd name="T36" fmla="*/ 70 w 70"/>
                <a:gd name="T37" fmla="*/ 71 h 100"/>
                <a:gd name="T38" fmla="*/ 68 w 70"/>
                <a:gd name="T39" fmla="*/ 74 h 100"/>
                <a:gd name="T40" fmla="*/ 44 w 70"/>
                <a:gd name="T41" fmla="*/ 17 h 100"/>
                <a:gd name="T42" fmla="*/ 43 w 70"/>
                <a:gd name="T43" fmla="*/ 17 h 100"/>
                <a:gd name="T44" fmla="*/ 43 w 70"/>
                <a:gd name="T45" fmla="*/ 17 h 100"/>
                <a:gd name="T46" fmla="*/ 42 w 70"/>
                <a:gd name="T47" fmla="*/ 17 h 100"/>
                <a:gd name="T48" fmla="*/ 11 w 70"/>
                <a:gd name="T49" fmla="*/ 61 h 100"/>
                <a:gd name="T50" fmla="*/ 11 w 70"/>
                <a:gd name="T51" fmla="*/ 63 h 100"/>
                <a:gd name="T52" fmla="*/ 12 w 70"/>
                <a:gd name="T53" fmla="*/ 63 h 100"/>
                <a:gd name="T54" fmla="*/ 44 w 70"/>
                <a:gd name="T55" fmla="*/ 63 h 100"/>
                <a:gd name="T56" fmla="*/ 44 w 70"/>
                <a:gd name="T5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 h="100">
                  <a:moveTo>
                    <a:pt x="68" y="74"/>
                  </a:moveTo>
                  <a:cubicBezTo>
                    <a:pt x="56" y="74"/>
                    <a:pt x="56" y="74"/>
                    <a:pt x="56" y="74"/>
                  </a:cubicBezTo>
                  <a:cubicBezTo>
                    <a:pt x="56" y="98"/>
                    <a:pt x="56" y="98"/>
                    <a:pt x="56" y="98"/>
                  </a:cubicBezTo>
                  <a:cubicBezTo>
                    <a:pt x="56" y="99"/>
                    <a:pt x="55" y="100"/>
                    <a:pt x="54" y="100"/>
                  </a:cubicBezTo>
                  <a:cubicBezTo>
                    <a:pt x="46" y="100"/>
                    <a:pt x="46" y="100"/>
                    <a:pt x="46" y="100"/>
                  </a:cubicBezTo>
                  <a:cubicBezTo>
                    <a:pt x="44" y="100"/>
                    <a:pt x="44" y="99"/>
                    <a:pt x="44" y="98"/>
                  </a:cubicBezTo>
                  <a:cubicBezTo>
                    <a:pt x="44" y="74"/>
                    <a:pt x="44" y="74"/>
                    <a:pt x="44" y="74"/>
                  </a:cubicBezTo>
                  <a:cubicBezTo>
                    <a:pt x="5" y="74"/>
                    <a:pt x="5" y="74"/>
                    <a:pt x="5" y="74"/>
                  </a:cubicBezTo>
                  <a:cubicBezTo>
                    <a:pt x="1" y="74"/>
                    <a:pt x="0" y="72"/>
                    <a:pt x="0" y="68"/>
                  </a:cubicBezTo>
                  <a:cubicBezTo>
                    <a:pt x="0" y="63"/>
                    <a:pt x="0" y="63"/>
                    <a:pt x="0" y="63"/>
                  </a:cubicBezTo>
                  <a:cubicBezTo>
                    <a:pt x="0" y="61"/>
                    <a:pt x="0" y="60"/>
                    <a:pt x="1" y="58"/>
                  </a:cubicBezTo>
                  <a:cubicBezTo>
                    <a:pt x="41" y="2"/>
                    <a:pt x="41" y="2"/>
                    <a:pt x="41" y="2"/>
                  </a:cubicBezTo>
                  <a:cubicBezTo>
                    <a:pt x="41" y="1"/>
                    <a:pt x="42" y="0"/>
                    <a:pt x="45" y="0"/>
                  </a:cubicBezTo>
                  <a:cubicBezTo>
                    <a:pt x="52" y="0"/>
                    <a:pt x="52" y="0"/>
                    <a:pt x="52" y="0"/>
                  </a:cubicBezTo>
                  <a:cubicBezTo>
                    <a:pt x="55" y="0"/>
                    <a:pt x="56" y="1"/>
                    <a:pt x="56" y="3"/>
                  </a:cubicBezTo>
                  <a:cubicBezTo>
                    <a:pt x="56" y="63"/>
                    <a:pt x="56" y="63"/>
                    <a:pt x="56" y="63"/>
                  </a:cubicBezTo>
                  <a:cubicBezTo>
                    <a:pt x="68" y="63"/>
                    <a:pt x="68" y="63"/>
                    <a:pt x="68" y="63"/>
                  </a:cubicBezTo>
                  <a:cubicBezTo>
                    <a:pt x="69" y="63"/>
                    <a:pt x="70" y="64"/>
                    <a:pt x="70" y="66"/>
                  </a:cubicBezTo>
                  <a:cubicBezTo>
                    <a:pt x="70" y="71"/>
                    <a:pt x="70" y="71"/>
                    <a:pt x="70" y="71"/>
                  </a:cubicBezTo>
                  <a:cubicBezTo>
                    <a:pt x="70" y="73"/>
                    <a:pt x="69" y="74"/>
                    <a:pt x="68" y="74"/>
                  </a:cubicBezTo>
                  <a:close/>
                  <a:moveTo>
                    <a:pt x="44" y="17"/>
                  </a:moveTo>
                  <a:cubicBezTo>
                    <a:pt x="44" y="17"/>
                    <a:pt x="44" y="17"/>
                    <a:pt x="43" y="17"/>
                  </a:cubicBezTo>
                  <a:cubicBezTo>
                    <a:pt x="43" y="17"/>
                    <a:pt x="43" y="17"/>
                    <a:pt x="43" y="17"/>
                  </a:cubicBezTo>
                  <a:cubicBezTo>
                    <a:pt x="43" y="17"/>
                    <a:pt x="42" y="17"/>
                    <a:pt x="42" y="17"/>
                  </a:cubicBezTo>
                  <a:cubicBezTo>
                    <a:pt x="11" y="61"/>
                    <a:pt x="11" y="61"/>
                    <a:pt x="11" y="61"/>
                  </a:cubicBezTo>
                  <a:cubicBezTo>
                    <a:pt x="11" y="62"/>
                    <a:pt x="11" y="62"/>
                    <a:pt x="11" y="63"/>
                  </a:cubicBezTo>
                  <a:cubicBezTo>
                    <a:pt x="11" y="63"/>
                    <a:pt x="11" y="63"/>
                    <a:pt x="12" y="63"/>
                  </a:cubicBezTo>
                  <a:cubicBezTo>
                    <a:pt x="44" y="63"/>
                    <a:pt x="44" y="63"/>
                    <a:pt x="44" y="63"/>
                  </a:cubicBez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256">
              <a:extLst>
                <a:ext uri="{FF2B5EF4-FFF2-40B4-BE49-F238E27FC236}">
                  <a16:creationId xmlns:a16="http://schemas.microsoft.com/office/drawing/2014/main" id="{2F17AE13-EE80-4D63-86B9-BDDD46D74B7C}"/>
                </a:ext>
              </a:extLst>
            </p:cNvPr>
            <p:cNvSpPr>
              <a:spLocks/>
            </p:cNvSpPr>
            <p:nvPr/>
          </p:nvSpPr>
          <p:spPr bwMode="auto">
            <a:xfrm>
              <a:off x="4645025" y="-2374900"/>
              <a:ext cx="34925" cy="292100"/>
            </a:xfrm>
            <a:custGeom>
              <a:avLst/>
              <a:gdLst>
                <a:gd name="T0" fmla="*/ 11 w 12"/>
                <a:gd name="T1" fmla="*/ 95 h 96"/>
                <a:gd name="T2" fmla="*/ 10 w 12"/>
                <a:gd name="T3" fmla="*/ 96 h 96"/>
                <a:gd name="T4" fmla="*/ 3 w 12"/>
                <a:gd name="T5" fmla="*/ 96 h 96"/>
                <a:gd name="T6" fmla="*/ 1 w 12"/>
                <a:gd name="T7" fmla="*/ 95 h 96"/>
                <a:gd name="T8" fmla="*/ 0 w 12"/>
                <a:gd name="T9" fmla="*/ 93 h 96"/>
                <a:gd name="T10" fmla="*/ 0 w 12"/>
                <a:gd name="T11" fmla="*/ 2 h 96"/>
                <a:gd name="T12" fmla="*/ 1 w 12"/>
                <a:gd name="T13" fmla="*/ 1 h 96"/>
                <a:gd name="T14" fmla="*/ 3 w 12"/>
                <a:gd name="T15" fmla="*/ 0 h 96"/>
                <a:gd name="T16" fmla="*/ 10 w 12"/>
                <a:gd name="T17" fmla="*/ 0 h 96"/>
                <a:gd name="T18" fmla="*/ 11 w 12"/>
                <a:gd name="T19" fmla="*/ 1 h 96"/>
                <a:gd name="T20" fmla="*/ 12 w 12"/>
                <a:gd name="T21" fmla="*/ 2 h 96"/>
                <a:gd name="T22" fmla="*/ 12 w 12"/>
                <a:gd name="T23" fmla="*/ 93 h 96"/>
                <a:gd name="T24" fmla="*/ 11 w 12"/>
                <a:gd name="T25"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6">
                  <a:moveTo>
                    <a:pt x="11" y="95"/>
                  </a:moveTo>
                  <a:cubicBezTo>
                    <a:pt x="11" y="95"/>
                    <a:pt x="10" y="96"/>
                    <a:pt x="10" y="96"/>
                  </a:cubicBezTo>
                  <a:cubicBezTo>
                    <a:pt x="3" y="96"/>
                    <a:pt x="3" y="96"/>
                    <a:pt x="3" y="96"/>
                  </a:cubicBezTo>
                  <a:cubicBezTo>
                    <a:pt x="2" y="96"/>
                    <a:pt x="1" y="95"/>
                    <a:pt x="1" y="95"/>
                  </a:cubicBezTo>
                  <a:cubicBezTo>
                    <a:pt x="0" y="94"/>
                    <a:pt x="0" y="94"/>
                    <a:pt x="0" y="93"/>
                  </a:cubicBezTo>
                  <a:cubicBezTo>
                    <a:pt x="0" y="2"/>
                    <a:pt x="0" y="2"/>
                    <a:pt x="0" y="2"/>
                  </a:cubicBezTo>
                  <a:cubicBezTo>
                    <a:pt x="0" y="2"/>
                    <a:pt x="0" y="1"/>
                    <a:pt x="1" y="1"/>
                  </a:cubicBezTo>
                  <a:cubicBezTo>
                    <a:pt x="1" y="0"/>
                    <a:pt x="2" y="0"/>
                    <a:pt x="3" y="0"/>
                  </a:cubicBezTo>
                  <a:cubicBezTo>
                    <a:pt x="10" y="0"/>
                    <a:pt x="10" y="0"/>
                    <a:pt x="10" y="0"/>
                  </a:cubicBezTo>
                  <a:cubicBezTo>
                    <a:pt x="10" y="0"/>
                    <a:pt x="11" y="0"/>
                    <a:pt x="11" y="1"/>
                  </a:cubicBezTo>
                  <a:cubicBezTo>
                    <a:pt x="12" y="1"/>
                    <a:pt x="12" y="2"/>
                    <a:pt x="12" y="2"/>
                  </a:cubicBezTo>
                  <a:cubicBezTo>
                    <a:pt x="12" y="93"/>
                    <a:pt x="12" y="93"/>
                    <a:pt x="12" y="93"/>
                  </a:cubicBezTo>
                  <a:cubicBezTo>
                    <a:pt x="12" y="94"/>
                    <a:pt x="12" y="94"/>
                    <a:pt x="1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257">
              <a:extLst>
                <a:ext uri="{FF2B5EF4-FFF2-40B4-BE49-F238E27FC236}">
                  <a16:creationId xmlns:a16="http://schemas.microsoft.com/office/drawing/2014/main" id="{A1B8A2FB-8732-414D-A4E3-094F84A12012}"/>
                </a:ext>
              </a:extLst>
            </p:cNvPr>
            <p:cNvSpPr>
              <a:spLocks noEditPoints="1"/>
            </p:cNvSpPr>
            <p:nvPr/>
          </p:nvSpPr>
          <p:spPr bwMode="auto">
            <a:xfrm>
              <a:off x="4743450" y="-2378075"/>
              <a:ext cx="36512" cy="295275"/>
            </a:xfrm>
            <a:custGeom>
              <a:avLst/>
              <a:gdLst>
                <a:gd name="T0" fmla="*/ 11 w 12"/>
                <a:gd name="T1" fmla="*/ 15 h 97"/>
                <a:gd name="T2" fmla="*/ 9 w 12"/>
                <a:gd name="T3" fmla="*/ 15 h 97"/>
                <a:gd name="T4" fmla="*/ 3 w 12"/>
                <a:gd name="T5" fmla="*/ 15 h 97"/>
                <a:gd name="T6" fmla="*/ 1 w 12"/>
                <a:gd name="T7" fmla="*/ 15 h 97"/>
                <a:gd name="T8" fmla="*/ 0 w 12"/>
                <a:gd name="T9" fmla="*/ 13 h 97"/>
                <a:gd name="T10" fmla="*/ 0 w 12"/>
                <a:gd name="T11" fmla="*/ 3 h 97"/>
                <a:gd name="T12" fmla="*/ 1 w 12"/>
                <a:gd name="T13" fmla="*/ 1 h 97"/>
                <a:gd name="T14" fmla="*/ 3 w 12"/>
                <a:gd name="T15" fmla="*/ 0 h 97"/>
                <a:gd name="T16" fmla="*/ 9 w 12"/>
                <a:gd name="T17" fmla="*/ 0 h 97"/>
                <a:gd name="T18" fmla="*/ 11 w 12"/>
                <a:gd name="T19" fmla="*/ 1 h 97"/>
                <a:gd name="T20" fmla="*/ 12 w 12"/>
                <a:gd name="T21" fmla="*/ 3 h 97"/>
                <a:gd name="T22" fmla="*/ 12 w 12"/>
                <a:gd name="T23" fmla="*/ 13 h 97"/>
                <a:gd name="T24" fmla="*/ 11 w 12"/>
                <a:gd name="T25" fmla="*/ 15 h 97"/>
                <a:gd name="T26" fmla="*/ 11 w 12"/>
                <a:gd name="T27" fmla="*/ 96 h 97"/>
                <a:gd name="T28" fmla="*/ 9 w 12"/>
                <a:gd name="T29" fmla="*/ 97 h 97"/>
                <a:gd name="T30" fmla="*/ 3 w 12"/>
                <a:gd name="T31" fmla="*/ 97 h 97"/>
                <a:gd name="T32" fmla="*/ 1 w 12"/>
                <a:gd name="T33" fmla="*/ 96 h 97"/>
                <a:gd name="T34" fmla="*/ 0 w 12"/>
                <a:gd name="T35" fmla="*/ 94 h 97"/>
                <a:gd name="T36" fmla="*/ 0 w 12"/>
                <a:gd name="T37" fmla="*/ 29 h 97"/>
                <a:gd name="T38" fmla="*/ 1 w 12"/>
                <a:gd name="T39" fmla="*/ 27 h 97"/>
                <a:gd name="T40" fmla="*/ 3 w 12"/>
                <a:gd name="T41" fmla="*/ 27 h 97"/>
                <a:gd name="T42" fmla="*/ 9 w 12"/>
                <a:gd name="T43" fmla="*/ 27 h 97"/>
                <a:gd name="T44" fmla="*/ 11 w 12"/>
                <a:gd name="T45" fmla="*/ 27 h 97"/>
                <a:gd name="T46" fmla="*/ 12 w 12"/>
                <a:gd name="T47" fmla="*/ 29 h 97"/>
                <a:gd name="T48" fmla="*/ 12 w 12"/>
                <a:gd name="T49" fmla="*/ 94 h 97"/>
                <a:gd name="T50" fmla="*/ 11 w 12"/>
                <a:gd name="T51"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97">
                  <a:moveTo>
                    <a:pt x="11" y="15"/>
                  </a:moveTo>
                  <a:cubicBezTo>
                    <a:pt x="11" y="15"/>
                    <a:pt x="10" y="15"/>
                    <a:pt x="9" y="15"/>
                  </a:cubicBezTo>
                  <a:cubicBezTo>
                    <a:pt x="3" y="15"/>
                    <a:pt x="3" y="15"/>
                    <a:pt x="3" y="15"/>
                  </a:cubicBezTo>
                  <a:cubicBezTo>
                    <a:pt x="2" y="15"/>
                    <a:pt x="1" y="15"/>
                    <a:pt x="1" y="15"/>
                  </a:cubicBezTo>
                  <a:cubicBezTo>
                    <a:pt x="0" y="14"/>
                    <a:pt x="0" y="14"/>
                    <a:pt x="0" y="13"/>
                  </a:cubicBezTo>
                  <a:cubicBezTo>
                    <a:pt x="0" y="3"/>
                    <a:pt x="0" y="3"/>
                    <a:pt x="0" y="3"/>
                  </a:cubicBezTo>
                  <a:cubicBezTo>
                    <a:pt x="0" y="2"/>
                    <a:pt x="0" y="1"/>
                    <a:pt x="1" y="1"/>
                  </a:cubicBezTo>
                  <a:cubicBezTo>
                    <a:pt x="1" y="0"/>
                    <a:pt x="2" y="0"/>
                    <a:pt x="3" y="0"/>
                  </a:cubicBezTo>
                  <a:cubicBezTo>
                    <a:pt x="9" y="0"/>
                    <a:pt x="9" y="0"/>
                    <a:pt x="9" y="0"/>
                  </a:cubicBezTo>
                  <a:cubicBezTo>
                    <a:pt x="10" y="0"/>
                    <a:pt x="11" y="0"/>
                    <a:pt x="11" y="1"/>
                  </a:cubicBezTo>
                  <a:cubicBezTo>
                    <a:pt x="12" y="1"/>
                    <a:pt x="12" y="2"/>
                    <a:pt x="12" y="3"/>
                  </a:cubicBezTo>
                  <a:cubicBezTo>
                    <a:pt x="12" y="13"/>
                    <a:pt x="12" y="13"/>
                    <a:pt x="12" y="13"/>
                  </a:cubicBezTo>
                  <a:cubicBezTo>
                    <a:pt x="12" y="14"/>
                    <a:pt x="12" y="14"/>
                    <a:pt x="11" y="15"/>
                  </a:cubicBezTo>
                  <a:close/>
                  <a:moveTo>
                    <a:pt x="11" y="96"/>
                  </a:moveTo>
                  <a:cubicBezTo>
                    <a:pt x="10" y="96"/>
                    <a:pt x="10" y="97"/>
                    <a:pt x="9" y="97"/>
                  </a:cubicBezTo>
                  <a:cubicBezTo>
                    <a:pt x="3" y="97"/>
                    <a:pt x="3" y="97"/>
                    <a:pt x="3" y="97"/>
                  </a:cubicBezTo>
                  <a:cubicBezTo>
                    <a:pt x="2" y="97"/>
                    <a:pt x="1" y="96"/>
                    <a:pt x="1" y="96"/>
                  </a:cubicBezTo>
                  <a:cubicBezTo>
                    <a:pt x="0" y="95"/>
                    <a:pt x="0" y="95"/>
                    <a:pt x="0" y="94"/>
                  </a:cubicBezTo>
                  <a:cubicBezTo>
                    <a:pt x="0" y="29"/>
                    <a:pt x="0" y="29"/>
                    <a:pt x="0" y="29"/>
                  </a:cubicBezTo>
                  <a:cubicBezTo>
                    <a:pt x="0" y="28"/>
                    <a:pt x="0" y="28"/>
                    <a:pt x="1" y="27"/>
                  </a:cubicBezTo>
                  <a:cubicBezTo>
                    <a:pt x="1" y="27"/>
                    <a:pt x="2" y="27"/>
                    <a:pt x="3" y="27"/>
                  </a:cubicBezTo>
                  <a:cubicBezTo>
                    <a:pt x="9" y="27"/>
                    <a:pt x="9" y="27"/>
                    <a:pt x="9" y="27"/>
                  </a:cubicBezTo>
                  <a:cubicBezTo>
                    <a:pt x="10" y="27"/>
                    <a:pt x="10" y="27"/>
                    <a:pt x="11" y="27"/>
                  </a:cubicBezTo>
                  <a:cubicBezTo>
                    <a:pt x="11" y="28"/>
                    <a:pt x="12" y="28"/>
                    <a:pt x="12" y="29"/>
                  </a:cubicBezTo>
                  <a:cubicBezTo>
                    <a:pt x="12" y="94"/>
                    <a:pt x="12" y="94"/>
                    <a:pt x="12" y="94"/>
                  </a:cubicBezTo>
                  <a:cubicBezTo>
                    <a:pt x="12" y="95"/>
                    <a:pt x="11" y="95"/>
                    <a:pt x="1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258">
              <a:extLst>
                <a:ext uri="{FF2B5EF4-FFF2-40B4-BE49-F238E27FC236}">
                  <a16:creationId xmlns:a16="http://schemas.microsoft.com/office/drawing/2014/main" id="{5BE0B229-8A14-4FE7-ABC2-5C80BBE56024}"/>
                </a:ext>
              </a:extLst>
            </p:cNvPr>
            <p:cNvSpPr>
              <a:spLocks noEditPoints="1"/>
            </p:cNvSpPr>
            <p:nvPr/>
          </p:nvSpPr>
          <p:spPr bwMode="auto">
            <a:xfrm>
              <a:off x="4830763" y="-2374900"/>
              <a:ext cx="171450" cy="295275"/>
            </a:xfrm>
            <a:custGeom>
              <a:avLst/>
              <a:gdLst>
                <a:gd name="T0" fmla="*/ 56 w 57"/>
                <a:gd name="T1" fmla="*/ 93 h 97"/>
                <a:gd name="T2" fmla="*/ 54 w 57"/>
                <a:gd name="T3" fmla="*/ 94 h 97"/>
                <a:gd name="T4" fmla="*/ 41 w 57"/>
                <a:gd name="T5" fmla="*/ 96 h 97"/>
                <a:gd name="T6" fmla="*/ 29 w 57"/>
                <a:gd name="T7" fmla="*/ 97 h 97"/>
                <a:gd name="T8" fmla="*/ 16 w 57"/>
                <a:gd name="T9" fmla="*/ 94 h 97"/>
                <a:gd name="T10" fmla="*/ 7 w 57"/>
                <a:gd name="T11" fmla="*/ 88 h 97"/>
                <a:gd name="T12" fmla="*/ 2 w 57"/>
                <a:gd name="T13" fmla="*/ 78 h 97"/>
                <a:gd name="T14" fmla="*/ 0 w 57"/>
                <a:gd name="T15" fmla="*/ 65 h 97"/>
                <a:gd name="T16" fmla="*/ 0 w 57"/>
                <a:gd name="T17" fmla="*/ 56 h 97"/>
                <a:gd name="T18" fmla="*/ 7 w 57"/>
                <a:gd name="T19" fmla="*/ 33 h 97"/>
                <a:gd name="T20" fmla="*/ 29 w 57"/>
                <a:gd name="T21" fmla="*/ 25 h 97"/>
                <a:gd name="T22" fmla="*/ 37 w 57"/>
                <a:gd name="T23" fmla="*/ 25 h 97"/>
                <a:gd name="T24" fmla="*/ 45 w 57"/>
                <a:gd name="T25" fmla="*/ 26 h 97"/>
                <a:gd name="T26" fmla="*/ 45 w 57"/>
                <a:gd name="T27" fmla="*/ 2 h 97"/>
                <a:gd name="T28" fmla="*/ 46 w 57"/>
                <a:gd name="T29" fmla="*/ 1 h 97"/>
                <a:gd name="T30" fmla="*/ 47 w 57"/>
                <a:gd name="T31" fmla="*/ 0 h 97"/>
                <a:gd name="T32" fmla="*/ 54 w 57"/>
                <a:gd name="T33" fmla="*/ 0 h 97"/>
                <a:gd name="T34" fmla="*/ 56 w 57"/>
                <a:gd name="T35" fmla="*/ 1 h 97"/>
                <a:gd name="T36" fmla="*/ 57 w 57"/>
                <a:gd name="T37" fmla="*/ 2 h 97"/>
                <a:gd name="T38" fmla="*/ 57 w 57"/>
                <a:gd name="T39" fmla="*/ 91 h 97"/>
                <a:gd name="T40" fmla="*/ 56 w 57"/>
                <a:gd name="T41" fmla="*/ 93 h 97"/>
                <a:gd name="T42" fmla="*/ 45 w 57"/>
                <a:gd name="T43" fmla="*/ 35 h 97"/>
                <a:gd name="T44" fmla="*/ 37 w 57"/>
                <a:gd name="T45" fmla="*/ 35 h 97"/>
                <a:gd name="T46" fmla="*/ 29 w 57"/>
                <a:gd name="T47" fmla="*/ 35 h 97"/>
                <a:gd name="T48" fmla="*/ 16 w 57"/>
                <a:gd name="T49" fmla="*/ 40 h 97"/>
                <a:gd name="T50" fmla="*/ 12 w 57"/>
                <a:gd name="T51" fmla="*/ 56 h 97"/>
                <a:gd name="T52" fmla="*/ 12 w 57"/>
                <a:gd name="T53" fmla="*/ 65 h 97"/>
                <a:gd name="T54" fmla="*/ 16 w 57"/>
                <a:gd name="T55" fmla="*/ 81 h 97"/>
                <a:gd name="T56" fmla="*/ 29 w 57"/>
                <a:gd name="T57" fmla="*/ 87 h 97"/>
                <a:gd name="T58" fmla="*/ 37 w 57"/>
                <a:gd name="T59" fmla="*/ 86 h 97"/>
                <a:gd name="T60" fmla="*/ 45 w 57"/>
                <a:gd name="T61" fmla="*/ 86 h 97"/>
                <a:gd name="T62" fmla="*/ 45 w 57"/>
                <a:gd name="T63"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97">
                  <a:moveTo>
                    <a:pt x="56" y="93"/>
                  </a:moveTo>
                  <a:cubicBezTo>
                    <a:pt x="56" y="94"/>
                    <a:pt x="55" y="94"/>
                    <a:pt x="54" y="94"/>
                  </a:cubicBezTo>
                  <a:cubicBezTo>
                    <a:pt x="50" y="95"/>
                    <a:pt x="46" y="96"/>
                    <a:pt x="41" y="96"/>
                  </a:cubicBezTo>
                  <a:cubicBezTo>
                    <a:pt x="37" y="96"/>
                    <a:pt x="33" y="97"/>
                    <a:pt x="29" y="97"/>
                  </a:cubicBezTo>
                  <a:cubicBezTo>
                    <a:pt x="24" y="97"/>
                    <a:pt x="20" y="96"/>
                    <a:pt x="16" y="94"/>
                  </a:cubicBezTo>
                  <a:cubicBezTo>
                    <a:pt x="13" y="93"/>
                    <a:pt x="10" y="91"/>
                    <a:pt x="7" y="88"/>
                  </a:cubicBezTo>
                  <a:cubicBezTo>
                    <a:pt x="5" y="85"/>
                    <a:pt x="3" y="82"/>
                    <a:pt x="2" y="78"/>
                  </a:cubicBezTo>
                  <a:cubicBezTo>
                    <a:pt x="1" y="74"/>
                    <a:pt x="0" y="70"/>
                    <a:pt x="0" y="65"/>
                  </a:cubicBezTo>
                  <a:cubicBezTo>
                    <a:pt x="0" y="56"/>
                    <a:pt x="0" y="56"/>
                    <a:pt x="0" y="56"/>
                  </a:cubicBezTo>
                  <a:cubicBezTo>
                    <a:pt x="0" y="46"/>
                    <a:pt x="3" y="38"/>
                    <a:pt x="7" y="33"/>
                  </a:cubicBezTo>
                  <a:cubicBezTo>
                    <a:pt x="12" y="27"/>
                    <a:pt x="19" y="25"/>
                    <a:pt x="29" y="25"/>
                  </a:cubicBezTo>
                  <a:cubicBezTo>
                    <a:pt x="31" y="25"/>
                    <a:pt x="34" y="25"/>
                    <a:pt x="37" y="25"/>
                  </a:cubicBezTo>
                  <a:cubicBezTo>
                    <a:pt x="40" y="25"/>
                    <a:pt x="42" y="26"/>
                    <a:pt x="45" y="26"/>
                  </a:cubicBezTo>
                  <a:cubicBezTo>
                    <a:pt x="45" y="2"/>
                    <a:pt x="45" y="2"/>
                    <a:pt x="45" y="2"/>
                  </a:cubicBezTo>
                  <a:cubicBezTo>
                    <a:pt x="45" y="2"/>
                    <a:pt x="45" y="1"/>
                    <a:pt x="46" y="1"/>
                  </a:cubicBezTo>
                  <a:cubicBezTo>
                    <a:pt x="46" y="0"/>
                    <a:pt x="47" y="0"/>
                    <a:pt x="47" y="0"/>
                  </a:cubicBezTo>
                  <a:cubicBezTo>
                    <a:pt x="54" y="0"/>
                    <a:pt x="54" y="0"/>
                    <a:pt x="54" y="0"/>
                  </a:cubicBezTo>
                  <a:cubicBezTo>
                    <a:pt x="55" y="0"/>
                    <a:pt x="56" y="0"/>
                    <a:pt x="56" y="1"/>
                  </a:cubicBezTo>
                  <a:cubicBezTo>
                    <a:pt x="56" y="1"/>
                    <a:pt x="57" y="2"/>
                    <a:pt x="57" y="2"/>
                  </a:cubicBezTo>
                  <a:cubicBezTo>
                    <a:pt x="57" y="91"/>
                    <a:pt x="57" y="91"/>
                    <a:pt x="57" y="91"/>
                  </a:cubicBezTo>
                  <a:cubicBezTo>
                    <a:pt x="57" y="92"/>
                    <a:pt x="57" y="93"/>
                    <a:pt x="56" y="93"/>
                  </a:cubicBezTo>
                  <a:close/>
                  <a:moveTo>
                    <a:pt x="45" y="35"/>
                  </a:moveTo>
                  <a:cubicBezTo>
                    <a:pt x="43" y="35"/>
                    <a:pt x="40" y="35"/>
                    <a:pt x="37" y="35"/>
                  </a:cubicBezTo>
                  <a:cubicBezTo>
                    <a:pt x="34" y="35"/>
                    <a:pt x="31" y="35"/>
                    <a:pt x="29" y="35"/>
                  </a:cubicBezTo>
                  <a:cubicBezTo>
                    <a:pt x="23" y="35"/>
                    <a:pt x="18" y="36"/>
                    <a:pt x="16" y="40"/>
                  </a:cubicBezTo>
                  <a:cubicBezTo>
                    <a:pt x="13" y="44"/>
                    <a:pt x="12" y="49"/>
                    <a:pt x="12" y="56"/>
                  </a:cubicBezTo>
                  <a:cubicBezTo>
                    <a:pt x="12" y="65"/>
                    <a:pt x="12" y="65"/>
                    <a:pt x="12" y="65"/>
                  </a:cubicBezTo>
                  <a:cubicBezTo>
                    <a:pt x="12" y="72"/>
                    <a:pt x="13" y="77"/>
                    <a:pt x="16" y="81"/>
                  </a:cubicBezTo>
                  <a:cubicBezTo>
                    <a:pt x="18" y="85"/>
                    <a:pt x="23" y="87"/>
                    <a:pt x="29" y="87"/>
                  </a:cubicBezTo>
                  <a:cubicBezTo>
                    <a:pt x="32" y="87"/>
                    <a:pt x="34" y="87"/>
                    <a:pt x="37" y="86"/>
                  </a:cubicBezTo>
                  <a:cubicBezTo>
                    <a:pt x="40" y="86"/>
                    <a:pt x="43" y="86"/>
                    <a:pt x="45" y="86"/>
                  </a:cubicBez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259">
              <a:extLst>
                <a:ext uri="{FF2B5EF4-FFF2-40B4-BE49-F238E27FC236}">
                  <a16:creationId xmlns:a16="http://schemas.microsoft.com/office/drawing/2014/main" id="{CAECD71B-075B-4260-8514-D7E858871AC9}"/>
                </a:ext>
              </a:extLst>
            </p:cNvPr>
            <p:cNvSpPr>
              <a:spLocks noEditPoints="1"/>
            </p:cNvSpPr>
            <p:nvPr/>
          </p:nvSpPr>
          <p:spPr bwMode="auto">
            <a:xfrm>
              <a:off x="5046663" y="-2298700"/>
              <a:ext cx="180975" cy="219075"/>
            </a:xfrm>
            <a:custGeom>
              <a:avLst/>
              <a:gdLst>
                <a:gd name="T0" fmla="*/ 57 w 60"/>
                <a:gd name="T1" fmla="*/ 39 h 72"/>
                <a:gd name="T2" fmla="*/ 12 w 60"/>
                <a:gd name="T3" fmla="*/ 39 h 72"/>
                <a:gd name="T4" fmla="*/ 12 w 60"/>
                <a:gd name="T5" fmla="*/ 41 h 72"/>
                <a:gd name="T6" fmla="*/ 17 w 60"/>
                <a:gd name="T7" fmla="*/ 57 h 72"/>
                <a:gd name="T8" fmla="*/ 31 w 60"/>
                <a:gd name="T9" fmla="*/ 62 h 72"/>
                <a:gd name="T10" fmla="*/ 43 w 60"/>
                <a:gd name="T11" fmla="*/ 61 h 72"/>
                <a:gd name="T12" fmla="*/ 55 w 60"/>
                <a:gd name="T13" fmla="*/ 60 h 72"/>
                <a:gd name="T14" fmla="*/ 55 w 60"/>
                <a:gd name="T15" fmla="*/ 60 h 72"/>
                <a:gd name="T16" fmla="*/ 57 w 60"/>
                <a:gd name="T17" fmla="*/ 61 h 72"/>
                <a:gd name="T18" fmla="*/ 57 w 60"/>
                <a:gd name="T19" fmla="*/ 62 h 72"/>
                <a:gd name="T20" fmla="*/ 57 w 60"/>
                <a:gd name="T21" fmla="*/ 66 h 72"/>
                <a:gd name="T22" fmla="*/ 57 w 60"/>
                <a:gd name="T23" fmla="*/ 68 h 72"/>
                <a:gd name="T24" fmla="*/ 55 w 60"/>
                <a:gd name="T25" fmla="*/ 69 h 72"/>
                <a:gd name="T26" fmla="*/ 43 w 60"/>
                <a:gd name="T27" fmla="*/ 71 h 72"/>
                <a:gd name="T28" fmla="*/ 31 w 60"/>
                <a:gd name="T29" fmla="*/ 72 h 72"/>
                <a:gd name="T30" fmla="*/ 20 w 60"/>
                <a:gd name="T31" fmla="*/ 70 h 72"/>
                <a:gd name="T32" fmla="*/ 10 w 60"/>
                <a:gd name="T33" fmla="*/ 65 h 72"/>
                <a:gd name="T34" fmla="*/ 3 w 60"/>
                <a:gd name="T35" fmla="*/ 56 h 72"/>
                <a:gd name="T36" fmla="*/ 0 w 60"/>
                <a:gd name="T37" fmla="*/ 41 h 72"/>
                <a:gd name="T38" fmla="*/ 0 w 60"/>
                <a:gd name="T39" fmla="*/ 29 h 72"/>
                <a:gd name="T40" fmla="*/ 8 w 60"/>
                <a:gd name="T41" fmla="*/ 8 h 72"/>
                <a:gd name="T42" fmla="*/ 30 w 60"/>
                <a:gd name="T43" fmla="*/ 0 h 72"/>
                <a:gd name="T44" fmla="*/ 43 w 60"/>
                <a:gd name="T45" fmla="*/ 2 h 72"/>
                <a:gd name="T46" fmla="*/ 52 w 60"/>
                <a:gd name="T47" fmla="*/ 8 h 72"/>
                <a:gd name="T48" fmla="*/ 58 w 60"/>
                <a:gd name="T49" fmla="*/ 17 h 72"/>
                <a:gd name="T50" fmla="*/ 60 w 60"/>
                <a:gd name="T51" fmla="*/ 29 h 72"/>
                <a:gd name="T52" fmla="*/ 60 w 60"/>
                <a:gd name="T53" fmla="*/ 36 h 72"/>
                <a:gd name="T54" fmla="*/ 57 w 60"/>
                <a:gd name="T55" fmla="*/ 39 h 72"/>
                <a:gd name="T56" fmla="*/ 48 w 60"/>
                <a:gd name="T57" fmla="*/ 29 h 72"/>
                <a:gd name="T58" fmla="*/ 43 w 60"/>
                <a:gd name="T59" fmla="*/ 14 h 72"/>
                <a:gd name="T60" fmla="*/ 30 w 60"/>
                <a:gd name="T61" fmla="*/ 10 h 72"/>
                <a:gd name="T62" fmla="*/ 17 w 60"/>
                <a:gd name="T63" fmla="*/ 14 h 72"/>
                <a:gd name="T64" fmla="*/ 12 w 60"/>
                <a:gd name="T65" fmla="*/ 29 h 72"/>
                <a:gd name="T66" fmla="*/ 12 w 60"/>
                <a:gd name="T67" fmla="*/ 31 h 72"/>
                <a:gd name="T68" fmla="*/ 48 w 60"/>
                <a:gd name="T69" fmla="*/ 31 h 72"/>
                <a:gd name="T70" fmla="*/ 48 w 60"/>
                <a:gd name="T71"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2">
                  <a:moveTo>
                    <a:pt x="57" y="39"/>
                  </a:moveTo>
                  <a:cubicBezTo>
                    <a:pt x="12" y="39"/>
                    <a:pt x="12" y="39"/>
                    <a:pt x="12" y="39"/>
                  </a:cubicBezTo>
                  <a:cubicBezTo>
                    <a:pt x="12" y="41"/>
                    <a:pt x="12" y="41"/>
                    <a:pt x="12" y="41"/>
                  </a:cubicBezTo>
                  <a:cubicBezTo>
                    <a:pt x="12" y="49"/>
                    <a:pt x="14" y="54"/>
                    <a:pt x="17" y="57"/>
                  </a:cubicBezTo>
                  <a:cubicBezTo>
                    <a:pt x="20" y="60"/>
                    <a:pt x="25" y="62"/>
                    <a:pt x="31" y="62"/>
                  </a:cubicBezTo>
                  <a:cubicBezTo>
                    <a:pt x="35" y="62"/>
                    <a:pt x="39" y="62"/>
                    <a:pt x="43" y="61"/>
                  </a:cubicBezTo>
                  <a:cubicBezTo>
                    <a:pt x="48" y="61"/>
                    <a:pt x="51" y="61"/>
                    <a:pt x="55" y="60"/>
                  </a:cubicBezTo>
                  <a:cubicBezTo>
                    <a:pt x="55" y="60"/>
                    <a:pt x="55" y="60"/>
                    <a:pt x="55" y="60"/>
                  </a:cubicBezTo>
                  <a:cubicBezTo>
                    <a:pt x="56" y="60"/>
                    <a:pt x="56" y="60"/>
                    <a:pt x="57" y="61"/>
                  </a:cubicBezTo>
                  <a:cubicBezTo>
                    <a:pt x="57" y="61"/>
                    <a:pt x="57" y="61"/>
                    <a:pt x="57" y="62"/>
                  </a:cubicBezTo>
                  <a:cubicBezTo>
                    <a:pt x="57" y="66"/>
                    <a:pt x="57" y="66"/>
                    <a:pt x="57" y="66"/>
                  </a:cubicBezTo>
                  <a:cubicBezTo>
                    <a:pt x="57" y="67"/>
                    <a:pt x="57" y="68"/>
                    <a:pt x="57" y="68"/>
                  </a:cubicBezTo>
                  <a:cubicBezTo>
                    <a:pt x="56" y="69"/>
                    <a:pt x="56" y="69"/>
                    <a:pt x="55" y="69"/>
                  </a:cubicBezTo>
                  <a:cubicBezTo>
                    <a:pt x="51" y="70"/>
                    <a:pt x="47" y="71"/>
                    <a:pt x="43" y="71"/>
                  </a:cubicBezTo>
                  <a:cubicBezTo>
                    <a:pt x="39" y="71"/>
                    <a:pt x="35" y="72"/>
                    <a:pt x="31" y="72"/>
                  </a:cubicBezTo>
                  <a:cubicBezTo>
                    <a:pt x="27" y="72"/>
                    <a:pt x="23" y="71"/>
                    <a:pt x="20" y="70"/>
                  </a:cubicBezTo>
                  <a:cubicBezTo>
                    <a:pt x="16" y="69"/>
                    <a:pt x="13" y="67"/>
                    <a:pt x="10" y="65"/>
                  </a:cubicBezTo>
                  <a:cubicBezTo>
                    <a:pt x="7" y="63"/>
                    <a:pt x="5" y="60"/>
                    <a:pt x="3" y="56"/>
                  </a:cubicBezTo>
                  <a:cubicBezTo>
                    <a:pt x="1" y="52"/>
                    <a:pt x="0" y="47"/>
                    <a:pt x="0" y="41"/>
                  </a:cubicBezTo>
                  <a:cubicBezTo>
                    <a:pt x="0" y="29"/>
                    <a:pt x="0" y="29"/>
                    <a:pt x="0" y="29"/>
                  </a:cubicBezTo>
                  <a:cubicBezTo>
                    <a:pt x="0" y="20"/>
                    <a:pt x="3" y="13"/>
                    <a:pt x="8" y="8"/>
                  </a:cubicBezTo>
                  <a:cubicBezTo>
                    <a:pt x="13" y="2"/>
                    <a:pt x="20" y="0"/>
                    <a:pt x="30" y="0"/>
                  </a:cubicBezTo>
                  <a:cubicBezTo>
                    <a:pt x="35" y="0"/>
                    <a:pt x="39" y="0"/>
                    <a:pt x="43" y="2"/>
                  </a:cubicBezTo>
                  <a:cubicBezTo>
                    <a:pt x="47" y="3"/>
                    <a:pt x="50" y="5"/>
                    <a:pt x="52" y="8"/>
                  </a:cubicBezTo>
                  <a:cubicBezTo>
                    <a:pt x="55" y="10"/>
                    <a:pt x="56" y="14"/>
                    <a:pt x="58" y="17"/>
                  </a:cubicBezTo>
                  <a:cubicBezTo>
                    <a:pt x="59" y="21"/>
                    <a:pt x="60" y="25"/>
                    <a:pt x="60" y="29"/>
                  </a:cubicBezTo>
                  <a:cubicBezTo>
                    <a:pt x="60" y="36"/>
                    <a:pt x="60" y="36"/>
                    <a:pt x="60" y="36"/>
                  </a:cubicBezTo>
                  <a:cubicBezTo>
                    <a:pt x="60" y="38"/>
                    <a:pt x="59" y="39"/>
                    <a:pt x="57" y="39"/>
                  </a:cubicBezTo>
                  <a:close/>
                  <a:moveTo>
                    <a:pt x="48" y="29"/>
                  </a:moveTo>
                  <a:cubicBezTo>
                    <a:pt x="48" y="22"/>
                    <a:pt x="46" y="17"/>
                    <a:pt x="43" y="14"/>
                  </a:cubicBezTo>
                  <a:cubicBezTo>
                    <a:pt x="40" y="11"/>
                    <a:pt x="36" y="10"/>
                    <a:pt x="30" y="10"/>
                  </a:cubicBezTo>
                  <a:cubicBezTo>
                    <a:pt x="24" y="10"/>
                    <a:pt x="20" y="11"/>
                    <a:pt x="17" y="14"/>
                  </a:cubicBezTo>
                  <a:cubicBezTo>
                    <a:pt x="14" y="18"/>
                    <a:pt x="12" y="23"/>
                    <a:pt x="12" y="29"/>
                  </a:cubicBezTo>
                  <a:cubicBezTo>
                    <a:pt x="12" y="31"/>
                    <a:pt x="12" y="31"/>
                    <a:pt x="12" y="31"/>
                  </a:cubicBezTo>
                  <a:cubicBezTo>
                    <a:pt x="48" y="31"/>
                    <a:pt x="48" y="31"/>
                    <a:pt x="48" y="31"/>
                  </a:cubicBezTo>
                  <a:lnTo>
                    <a:pt x="4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260">
              <a:extLst>
                <a:ext uri="{FF2B5EF4-FFF2-40B4-BE49-F238E27FC236}">
                  <a16:creationId xmlns:a16="http://schemas.microsoft.com/office/drawing/2014/main" id="{57AD8954-8543-4956-A614-5669BF8231E2}"/>
                </a:ext>
              </a:extLst>
            </p:cNvPr>
            <p:cNvSpPr>
              <a:spLocks/>
            </p:cNvSpPr>
            <p:nvPr/>
          </p:nvSpPr>
          <p:spPr bwMode="auto">
            <a:xfrm>
              <a:off x="5265738" y="-2298700"/>
              <a:ext cx="147637" cy="219075"/>
            </a:xfrm>
            <a:custGeom>
              <a:avLst/>
              <a:gdLst>
                <a:gd name="T0" fmla="*/ 49 w 49"/>
                <a:gd name="T1" fmla="*/ 53 h 72"/>
                <a:gd name="T2" fmla="*/ 42 w 49"/>
                <a:gd name="T3" fmla="*/ 67 h 72"/>
                <a:gd name="T4" fmla="*/ 24 w 49"/>
                <a:gd name="T5" fmla="*/ 72 h 72"/>
                <a:gd name="T6" fmla="*/ 20 w 49"/>
                <a:gd name="T7" fmla="*/ 71 h 72"/>
                <a:gd name="T8" fmla="*/ 14 w 49"/>
                <a:gd name="T9" fmla="*/ 71 h 72"/>
                <a:gd name="T10" fmla="*/ 8 w 49"/>
                <a:gd name="T11" fmla="*/ 70 h 72"/>
                <a:gd name="T12" fmla="*/ 3 w 49"/>
                <a:gd name="T13" fmla="*/ 70 h 72"/>
                <a:gd name="T14" fmla="*/ 0 w 49"/>
                <a:gd name="T15" fmla="*/ 67 h 72"/>
                <a:gd name="T16" fmla="*/ 0 w 49"/>
                <a:gd name="T17" fmla="*/ 63 h 72"/>
                <a:gd name="T18" fmla="*/ 1 w 49"/>
                <a:gd name="T19" fmla="*/ 61 h 72"/>
                <a:gd name="T20" fmla="*/ 3 w 49"/>
                <a:gd name="T21" fmla="*/ 61 h 72"/>
                <a:gd name="T22" fmla="*/ 3 w 49"/>
                <a:gd name="T23" fmla="*/ 61 h 72"/>
                <a:gd name="T24" fmla="*/ 8 w 49"/>
                <a:gd name="T25" fmla="*/ 61 h 72"/>
                <a:gd name="T26" fmla="*/ 14 w 49"/>
                <a:gd name="T27" fmla="*/ 62 h 72"/>
                <a:gd name="T28" fmla="*/ 20 w 49"/>
                <a:gd name="T29" fmla="*/ 62 h 72"/>
                <a:gd name="T30" fmla="*/ 24 w 49"/>
                <a:gd name="T31" fmla="*/ 62 h 72"/>
                <a:gd name="T32" fmla="*/ 34 w 49"/>
                <a:gd name="T33" fmla="*/ 60 h 72"/>
                <a:gd name="T34" fmla="*/ 37 w 49"/>
                <a:gd name="T35" fmla="*/ 53 h 72"/>
                <a:gd name="T36" fmla="*/ 35 w 49"/>
                <a:gd name="T37" fmla="*/ 48 h 72"/>
                <a:gd name="T38" fmla="*/ 27 w 49"/>
                <a:gd name="T39" fmla="*/ 42 h 72"/>
                <a:gd name="T40" fmla="*/ 14 w 49"/>
                <a:gd name="T41" fmla="*/ 35 h 72"/>
                <a:gd name="T42" fmla="*/ 4 w 49"/>
                <a:gd name="T43" fmla="*/ 27 h 72"/>
                <a:gd name="T44" fmla="*/ 0 w 49"/>
                <a:gd name="T45" fmla="*/ 17 h 72"/>
                <a:gd name="T46" fmla="*/ 2 w 49"/>
                <a:gd name="T47" fmla="*/ 8 h 72"/>
                <a:gd name="T48" fmla="*/ 7 w 49"/>
                <a:gd name="T49" fmla="*/ 3 h 72"/>
                <a:gd name="T50" fmla="*/ 15 w 49"/>
                <a:gd name="T51" fmla="*/ 0 h 72"/>
                <a:gd name="T52" fmla="*/ 24 w 49"/>
                <a:gd name="T53" fmla="*/ 0 h 72"/>
                <a:gd name="T54" fmla="*/ 35 w 49"/>
                <a:gd name="T55" fmla="*/ 0 h 72"/>
                <a:gd name="T56" fmla="*/ 45 w 49"/>
                <a:gd name="T57" fmla="*/ 1 h 72"/>
                <a:gd name="T58" fmla="*/ 48 w 49"/>
                <a:gd name="T59" fmla="*/ 4 h 72"/>
                <a:gd name="T60" fmla="*/ 48 w 49"/>
                <a:gd name="T61" fmla="*/ 8 h 72"/>
                <a:gd name="T62" fmla="*/ 45 w 49"/>
                <a:gd name="T63" fmla="*/ 10 h 72"/>
                <a:gd name="T64" fmla="*/ 45 w 49"/>
                <a:gd name="T65" fmla="*/ 10 h 72"/>
                <a:gd name="T66" fmla="*/ 36 w 49"/>
                <a:gd name="T67" fmla="*/ 10 h 72"/>
                <a:gd name="T68" fmla="*/ 24 w 49"/>
                <a:gd name="T69" fmla="*/ 9 h 72"/>
                <a:gd name="T70" fmla="*/ 15 w 49"/>
                <a:gd name="T71" fmla="*/ 11 h 72"/>
                <a:gd name="T72" fmla="*/ 12 w 49"/>
                <a:gd name="T73" fmla="*/ 17 h 72"/>
                <a:gd name="T74" fmla="*/ 14 w 49"/>
                <a:gd name="T75" fmla="*/ 22 h 72"/>
                <a:gd name="T76" fmla="*/ 21 w 49"/>
                <a:gd name="T77" fmla="*/ 26 h 72"/>
                <a:gd name="T78" fmla="*/ 34 w 49"/>
                <a:gd name="T79" fmla="*/ 34 h 72"/>
                <a:gd name="T80" fmla="*/ 46 w 49"/>
                <a:gd name="T81" fmla="*/ 43 h 72"/>
                <a:gd name="T82" fmla="*/ 49 w 49"/>
                <a:gd name="T83"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72">
                  <a:moveTo>
                    <a:pt x="49" y="53"/>
                  </a:moveTo>
                  <a:cubicBezTo>
                    <a:pt x="49" y="59"/>
                    <a:pt x="47" y="64"/>
                    <a:pt x="42" y="67"/>
                  </a:cubicBezTo>
                  <a:cubicBezTo>
                    <a:pt x="38" y="70"/>
                    <a:pt x="32" y="72"/>
                    <a:pt x="24" y="72"/>
                  </a:cubicBezTo>
                  <a:cubicBezTo>
                    <a:pt x="23" y="72"/>
                    <a:pt x="21" y="71"/>
                    <a:pt x="20" y="71"/>
                  </a:cubicBezTo>
                  <a:cubicBezTo>
                    <a:pt x="18" y="71"/>
                    <a:pt x="16" y="71"/>
                    <a:pt x="14" y="71"/>
                  </a:cubicBezTo>
                  <a:cubicBezTo>
                    <a:pt x="12" y="71"/>
                    <a:pt x="10" y="71"/>
                    <a:pt x="8" y="70"/>
                  </a:cubicBezTo>
                  <a:cubicBezTo>
                    <a:pt x="6" y="70"/>
                    <a:pt x="5" y="70"/>
                    <a:pt x="3" y="70"/>
                  </a:cubicBezTo>
                  <a:cubicBezTo>
                    <a:pt x="1" y="69"/>
                    <a:pt x="0" y="68"/>
                    <a:pt x="0" y="67"/>
                  </a:cubicBezTo>
                  <a:cubicBezTo>
                    <a:pt x="0" y="63"/>
                    <a:pt x="0" y="63"/>
                    <a:pt x="0" y="63"/>
                  </a:cubicBezTo>
                  <a:cubicBezTo>
                    <a:pt x="0" y="62"/>
                    <a:pt x="0" y="62"/>
                    <a:pt x="1" y="61"/>
                  </a:cubicBezTo>
                  <a:cubicBezTo>
                    <a:pt x="1" y="61"/>
                    <a:pt x="2" y="61"/>
                    <a:pt x="3" y="61"/>
                  </a:cubicBezTo>
                  <a:cubicBezTo>
                    <a:pt x="3" y="61"/>
                    <a:pt x="3" y="61"/>
                    <a:pt x="3" y="61"/>
                  </a:cubicBezTo>
                  <a:cubicBezTo>
                    <a:pt x="5" y="61"/>
                    <a:pt x="6" y="61"/>
                    <a:pt x="8" y="61"/>
                  </a:cubicBezTo>
                  <a:cubicBezTo>
                    <a:pt x="10" y="61"/>
                    <a:pt x="12" y="62"/>
                    <a:pt x="14" y="62"/>
                  </a:cubicBezTo>
                  <a:cubicBezTo>
                    <a:pt x="16" y="62"/>
                    <a:pt x="18" y="62"/>
                    <a:pt x="20" y="62"/>
                  </a:cubicBezTo>
                  <a:cubicBezTo>
                    <a:pt x="21" y="62"/>
                    <a:pt x="23" y="62"/>
                    <a:pt x="24" y="62"/>
                  </a:cubicBezTo>
                  <a:cubicBezTo>
                    <a:pt x="28" y="62"/>
                    <a:pt x="32" y="61"/>
                    <a:pt x="34" y="60"/>
                  </a:cubicBezTo>
                  <a:cubicBezTo>
                    <a:pt x="36" y="59"/>
                    <a:pt x="37" y="57"/>
                    <a:pt x="37" y="53"/>
                  </a:cubicBezTo>
                  <a:cubicBezTo>
                    <a:pt x="37" y="51"/>
                    <a:pt x="37" y="49"/>
                    <a:pt x="35" y="48"/>
                  </a:cubicBezTo>
                  <a:cubicBezTo>
                    <a:pt x="34" y="47"/>
                    <a:pt x="31" y="45"/>
                    <a:pt x="27" y="42"/>
                  </a:cubicBezTo>
                  <a:cubicBezTo>
                    <a:pt x="14" y="35"/>
                    <a:pt x="14" y="35"/>
                    <a:pt x="14" y="35"/>
                  </a:cubicBezTo>
                  <a:cubicBezTo>
                    <a:pt x="10" y="32"/>
                    <a:pt x="6" y="30"/>
                    <a:pt x="4" y="27"/>
                  </a:cubicBezTo>
                  <a:cubicBezTo>
                    <a:pt x="1" y="24"/>
                    <a:pt x="0" y="21"/>
                    <a:pt x="0" y="17"/>
                  </a:cubicBezTo>
                  <a:cubicBezTo>
                    <a:pt x="0" y="13"/>
                    <a:pt x="1" y="11"/>
                    <a:pt x="2" y="8"/>
                  </a:cubicBezTo>
                  <a:cubicBezTo>
                    <a:pt x="3" y="6"/>
                    <a:pt x="5" y="5"/>
                    <a:pt x="7" y="3"/>
                  </a:cubicBezTo>
                  <a:cubicBezTo>
                    <a:pt x="9" y="2"/>
                    <a:pt x="12" y="1"/>
                    <a:pt x="15" y="0"/>
                  </a:cubicBezTo>
                  <a:cubicBezTo>
                    <a:pt x="18" y="0"/>
                    <a:pt x="21" y="0"/>
                    <a:pt x="24" y="0"/>
                  </a:cubicBezTo>
                  <a:cubicBezTo>
                    <a:pt x="28" y="0"/>
                    <a:pt x="32" y="0"/>
                    <a:pt x="35" y="0"/>
                  </a:cubicBezTo>
                  <a:cubicBezTo>
                    <a:pt x="39" y="0"/>
                    <a:pt x="42" y="1"/>
                    <a:pt x="45" y="1"/>
                  </a:cubicBezTo>
                  <a:cubicBezTo>
                    <a:pt x="47" y="2"/>
                    <a:pt x="48" y="2"/>
                    <a:pt x="48" y="4"/>
                  </a:cubicBezTo>
                  <a:cubicBezTo>
                    <a:pt x="48" y="8"/>
                    <a:pt x="48" y="8"/>
                    <a:pt x="48" y="8"/>
                  </a:cubicBezTo>
                  <a:cubicBezTo>
                    <a:pt x="48" y="10"/>
                    <a:pt x="47" y="10"/>
                    <a:pt x="45" y="10"/>
                  </a:cubicBezTo>
                  <a:cubicBezTo>
                    <a:pt x="45" y="10"/>
                    <a:pt x="45" y="10"/>
                    <a:pt x="45" y="10"/>
                  </a:cubicBezTo>
                  <a:cubicBezTo>
                    <a:pt x="43" y="10"/>
                    <a:pt x="40" y="10"/>
                    <a:pt x="36" y="10"/>
                  </a:cubicBezTo>
                  <a:cubicBezTo>
                    <a:pt x="32" y="9"/>
                    <a:pt x="28" y="9"/>
                    <a:pt x="24" y="9"/>
                  </a:cubicBezTo>
                  <a:cubicBezTo>
                    <a:pt x="21" y="9"/>
                    <a:pt x="18" y="10"/>
                    <a:pt x="15" y="11"/>
                  </a:cubicBezTo>
                  <a:cubicBezTo>
                    <a:pt x="13" y="11"/>
                    <a:pt x="12" y="13"/>
                    <a:pt x="12" y="17"/>
                  </a:cubicBezTo>
                  <a:cubicBezTo>
                    <a:pt x="12" y="19"/>
                    <a:pt x="13" y="20"/>
                    <a:pt x="14" y="22"/>
                  </a:cubicBezTo>
                  <a:cubicBezTo>
                    <a:pt x="16" y="23"/>
                    <a:pt x="18" y="25"/>
                    <a:pt x="21" y="26"/>
                  </a:cubicBezTo>
                  <a:cubicBezTo>
                    <a:pt x="34" y="34"/>
                    <a:pt x="34" y="34"/>
                    <a:pt x="34" y="34"/>
                  </a:cubicBezTo>
                  <a:cubicBezTo>
                    <a:pt x="40" y="37"/>
                    <a:pt x="44" y="40"/>
                    <a:pt x="46" y="43"/>
                  </a:cubicBezTo>
                  <a:cubicBezTo>
                    <a:pt x="48" y="46"/>
                    <a:pt x="49" y="49"/>
                    <a:pt x="49"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Rectangle 261">
              <a:extLst>
                <a:ext uri="{FF2B5EF4-FFF2-40B4-BE49-F238E27FC236}">
                  <a16:creationId xmlns:a16="http://schemas.microsoft.com/office/drawing/2014/main" id="{F9B089D1-FDAF-4A0F-BD3D-664DD198D217}"/>
                </a:ext>
              </a:extLst>
            </p:cNvPr>
            <p:cNvSpPr>
              <a:spLocks noChangeArrowheads="1"/>
            </p:cNvSpPr>
            <p:nvPr/>
          </p:nvSpPr>
          <p:spPr bwMode="auto">
            <a:xfrm>
              <a:off x="4410075" y="-2116138"/>
              <a:ext cx="165100" cy="3333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262">
              <a:extLst>
                <a:ext uri="{FF2B5EF4-FFF2-40B4-BE49-F238E27FC236}">
                  <a16:creationId xmlns:a16="http://schemas.microsoft.com/office/drawing/2014/main" id="{75596C62-BF8E-4158-84B8-949CCA5F54D5}"/>
                </a:ext>
              </a:extLst>
            </p:cNvPr>
            <p:cNvSpPr>
              <a:spLocks/>
            </p:cNvSpPr>
            <p:nvPr/>
          </p:nvSpPr>
          <p:spPr bwMode="auto">
            <a:xfrm>
              <a:off x="4419600" y="-2374900"/>
              <a:ext cx="168275" cy="292100"/>
            </a:xfrm>
            <a:custGeom>
              <a:avLst/>
              <a:gdLst>
                <a:gd name="T0" fmla="*/ 7 w 56"/>
                <a:gd name="T1" fmla="*/ 5 h 96"/>
                <a:gd name="T2" fmla="*/ 30 w 56"/>
                <a:gd name="T3" fmla="*/ 0 h 96"/>
                <a:gd name="T4" fmla="*/ 41 w 56"/>
                <a:gd name="T5" fmla="*/ 0 h 96"/>
                <a:gd name="T6" fmla="*/ 52 w 56"/>
                <a:gd name="T7" fmla="*/ 2 h 96"/>
                <a:gd name="T8" fmla="*/ 54 w 56"/>
                <a:gd name="T9" fmla="*/ 3 h 96"/>
                <a:gd name="T10" fmla="*/ 54 w 56"/>
                <a:gd name="T11" fmla="*/ 5 h 96"/>
                <a:gd name="T12" fmla="*/ 54 w 56"/>
                <a:gd name="T13" fmla="*/ 9 h 96"/>
                <a:gd name="T14" fmla="*/ 52 w 56"/>
                <a:gd name="T15" fmla="*/ 12 h 96"/>
                <a:gd name="T16" fmla="*/ 52 w 56"/>
                <a:gd name="T17" fmla="*/ 12 h 96"/>
                <a:gd name="T18" fmla="*/ 41 w 56"/>
                <a:gd name="T19" fmla="*/ 10 h 96"/>
                <a:gd name="T20" fmla="*/ 30 w 56"/>
                <a:gd name="T21" fmla="*/ 10 h 96"/>
                <a:gd name="T22" fmla="*/ 15 w 56"/>
                <a:gd name="T23" fmla="*/ 13 h 96"/>
                <a:gd name="T24" fmla="*/ 11 w 56"/>
                <a:gd name="T25" fmla="*/ 23 h 96"/>
                <a:gd name="T26" fmla="*/ 11 w 56"/>
                <a:gd name="T27" fmla="*/ 28 h 96"/>
                <a:gd name="T28" fmla="*/ 13 w 56"/>
                <a:gd name="T29" fmla="*/ 32 h 96"/>
                <a:gd name="T30" fmla="*/ 17 w 56"/>
                <a:gd name="T31" fmla="*/ 36 h 96"/>
                <a:gd name="T32" fmla="*/ 24 w 56"/>
                <a:gd name="T33" fmla="*/ 41 h 96"/>
                <a:gd name="T34" fmla="*/ 36 w 56"/>
                <a:gd name="T35" fmla="*/ 49 h 96"/>
                <a:gd name="T36" fmla="*/ 51 w 56"/>
                <a:gd name="T37" fmla="*/ 65 h 96"/>
                <a:gd name="T38" fmla="*/ 56 w 56"/>
                <a:gd name="T39" fmla="*/ 83 h 96"/>
                <a:gd name="T40" fmla="*/ 56 w 56"/>
                <a:gd name="T41" fmla="*/ 93 h 96"/>
                <a:gd name="T42" fmla="*/ 55 w 56"/>
                <a:gd name="T43" fmla="*/ 95 h 96"/>
                <a:gd name="T44" fmla="*/ 53 w 56"/>
                <a:gd name="T45" fmla="*/ 96 h 96"/>
                <a:gd name="T46" fmla="*/ 3 w 56"/>
                <a:gd name="T47" fmla="*/ 96 h 96"/>
                <a:gd name="T48" fmla="*/ 2 w 56"/>
                <a:gd name="T49" fmla="*/ 95 h 96"/>
                <a:gd name="T50" fmla="*/ 1 w 56"/>
                <a:gd name="T51" fmla="*/ 93 h 96"/>
                <a:gd name="T52" fmla="*/ 1 w 56"/>
                <a:gd name="T53" fmla="*/ 88 h 96"/>
                <a:gd name="T54" fmla="*/ 2 w 56"/>
                <a:gd name="T55" fmla="*/ 86 h 96"/>
                <a:gd name="T56" fmla="*/ 3 w 56"/>
                <a:gd name="T57" fmla="*/ 85 h 96"/>
                <a:gd name="T58" fmla="*/ 46 w 56"/>
                <a:gd name="T59" fmla="*/ 85 h 96"/>
                <a:gd name="T60" fmla="*/ 46 w 56"/>
                <a:gd name="T61" fmla="*/ 83 h 96"/>
                <a:gd name="T62" fmla="*/ 45 w 56"/>
                <a:gd name="T63" fmla="*/ 75 h 96"/>
                <a:gd name="T64" fmla="*/ 42 w 56"/>
                <a:gd name="T65" fmla="*/ 69 h 96"/>
                <a:gd name="T66" fmla="*/ 37 w 56"/>
                <a:gd name="T67" fmla="*/ 62 h 96"/>
                <a:gd name="T68" fmla="*/ 28 w 56"/>
                <a:gd name="T69" fmla="*/ 56 h 96"/>
                <a:gd name="T70" fmla="*/ 16 w 56"/>
                <a:gd name="T71" fmla="*/ 47 h 96"/>
                <a:gd name="T72" fmla="*/ 3 w 56"/>
                <a:gd name="T73" fmla="*/ 36 h 96"/>
                <a:gd name="T74" fmla="*/ 0 w 56"/>
                <a:gd name="T75" fmla="*/ 23 h 96"/>
                <a:gd name="T76" fmla="*/ 7 w 56"/>
                <a:gd name="T7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96">
                  <a:moveTo>
                    <a:pt x="7" y="5"/>
                  </a:moveTo>
                  <a:cubicBezTo>
                    <a:pt x="12" y="2"/>
                    <a:pt x="19" y="0"/>
                    <a:pt x="30" y="0"/>
                  </a:cubicBezTo>
                  <a:cubicBezTo>
                    <a:pt x="33" y="0"/>
                    <a:pt x="37" y="0"/>
                    <a:pt x="41" y="0"/>
                  </a:cubicBezTo>
                  <a:cubicBezTo>
                    <a:pt x="45" y="1"/>
                    <a:pt x="49" y="1"/>
                    <a:pt x="52" y="2"/>
                  </a:cubicBezTo>
                  <a:cubicBezTo>
                    <a:pt x="53" y="3"/>
                    <a:pt x="53" y="3"/>
                    <a:pt x="54" y="3"/>
                  </a:cubicBezTo>
                  <a:cubicBezTo>
                    <a:pt x="54" y="3"/>
                    <a:pt x="54" y="4"/>
                    <a:pt x="54" y="5"/>
                  </a:cubicBezTo>
                  <a:cubicBezTo>
                    <a:pt x="54" y="9"/>
                    <a:pt x="54" y="9"/>
                    <a:pt x="54" y="9"/>
                  </a:cubicBezTo>
                  <a:cubicBezTo>
                    <a:pt x="54" y="11"/>
                    <a:pt x="54" y="12"/>
                    <a:pt x="52" y="12"/>
                  </a:cubicBezTo>
                  <a:cubicBezTo>
                    <a:pt x="52" y="12"/>
                    <a:pt x="52" y="12"/>
                    <a:pt x="52" y="12"/>
                  </a:cubicBezTo>
                  <a:cubicBezTo>
                    <a:pt x="48" y="11"/>
                    <a:pt x="45" y="11"/>
                    <a:pt x="41" y="10"/>
                  </a:cubicBezTo>
                  <a:cubicBezTo>
                    <a:pt x="37" y="10"/>
                    <a:pt x="33" y="10"/>
                    <a:pt x="30" y="10"/>
                  </a:cubicBezTo>
                  <a:cubicBezTo>
                    <a:pt x="23" y="10"/>
                    <a:pt x="18" y="11"/>
                    <a:pt x="15" y="13"/>
                  </a:cubicBezTo>
                  <a:cubicBezTo>
                    <a:pt x="12" y="15"/>
                    <a:pt x="11" y="18"/>
                    <a:pt x="11" y="23"/>
                  </a:cubicBezTo>
                  <a:cubicBezTo>
                    <a:pt x="11" y="25"/>
                    <a:pt x="11" y="26"/>
                    <a:pt x="11" y="28"/>
                  </a:cubicBezTo>
                  <a:cubicBezTo>
                    <a:pt x="12" y="29"/>
                    <a:pt x="12" y="31"/>
                    <a:pt x="13" y="32"/>
                  </a:cubicBezTo>
                  <a:cubicBezTo>
                    <a:pt x="14" y="33"/>
                    <a:pt x="16" y="35"/>
                    <a:pt x="17" y="36"/>
                  </a:cubicBezTo>
                  <a:cubicBezTo>
                    <a:pt x="19" y="37"/>
                    <a:pt x="21" y="39"/>
                    <a:pt x="24" y="41"/>
                  </a:cubicBezTo>
                  <a:cubicBezTo>
                    <a:pt x="36" y="49"/>
                    <a:pt x="36" y="49"/>
                    <a:pt x="36" y="49"/>
                  </a:cubicBezTo>
                  <a:cubicBezTo>
                    <a:pt x="43" y="54"/>
                    <a:pt x="48" y="59"/>
                    <a:pt x="51" y="65"/>
                  </a:cubicBezTo>
                  <a:cubicBezTo>
                    <a:pt x="54" y="70"/>
                    <a:pt x="56" y="76"/>
                    <a:pt x="56" y="83"/>
                  </a:cubicBezTo>
                  <a:cubicBezTo>
                    <a:pt x="56" y="93"/>
                    <a:pt x="56" y="93"/>
                    <a:pt x="56" y="93"/>
                  </a:cubicBezTo>
                  <a:cubicBezTo>
                    <a:pt x="56" y="94"/>
                    <a:pt x="56" y="94"/>
                    <a:pt x="55" y="95"/>
                  </a:cubicBezTo>
                  <a:cubicBezTo>
                    <a:pt x="55" y="95"/>
                    <a:pt x="54" y="96"/>
                    <a:pt x="53" y="96"/>
                  </a:cubicBezTo>
                  <a:cubicBezTo>
                    <a:pt x="3" y="96"/>
                    <a:pt x="3" y="96"/>
                    <a:pt x="3" y="96"/>
                  </a:cubicBezTo>
                  <a:cubicBezTo>
                    <a:pt x="3" y="96"/>
                    <a:pt x="2" y="95"/>
                    <a:pt x="2" y="95"/>
                  </a:cubicBezTo>
                  <a:cubicBezTo>
                    <a:pt x="1" y="94"/>
                    <a:pt x="1" y="94"/>
                    <a:pt x="1" y="93"/>
                  </a:cubicBezTo>
                  <a:cubicBezTo>
                    <a:pt x="1" y="88"/>
                    <a:pt x="1" y="88"/>
                    <a:pt x="1" y="88"/>
                  </a:cubicBezTo>
                  <a:cubicBezTo>
                    <a:pt x="1" y="87"/>
                    <a:pt x="1" y="86"/>
                    <a:pt x="2" y="86"/>
                  </a:cubicBezTo>
                  <a:cubicBezTo>
                    <a:pt x="2" y="86"/>
                    <a:pt x="3" y="85"/>
                    <a:pt x="3" y="85"/>
                  </a:cubicBezTo>
                  <a:cubicBezTo>
                    <a:pt x="46" y="85"/>
                    <a:pt x="46" y="85"/>
                    <a:pt x="46" y="85"/>
                  </a:cubicBezTo>
                  <a:cubicBezTo>
                    <a:pt x="46" y="83"/>
                    <a:pt x="46" y="83"/>
                    <a:pt x="46" y="83"/>
                  </a:cubicBezTo>
                  <a:cubicBezTo>
                    <a:pt x="46" y="80"/>
                    <a:pt x="46" y="77"/>
                    <a:pt x="45" y="75"/>
                  </a:cubicBezTo>
                  <a:cubicBezTo>
                    <a:pt x="44" y="73"/>
                    <a:pt x="44" y="71"/>
                    <a:pt x="42" y="69"/>
                  </a:cubicBezTo>
                  <a:cubicBezTo>
                    <a:pt x="41" y="66"/>
                    <a:pt x="39" y="64"/>
                    <a:pt x="37" y="62"/>
                  </a:cubicBezTo>
                  <a:cubicBezTo>
                    <a:pt x="35" y="60"/>
                    <a:pt x="32" y="58"/>
                    <a:pt x="28" y="56"/>
                  </a:cubicBezTo>
                  <a:cubicBezTo>
                    <a:pt x="16" y="47"/>
                    <a:pt x="16" y="47"/>
                    <a:pt x="16" y="47"/>
                  </a:cubicBezTo>
                  <a:cubicBezTo>
                    <a:pt x="10" y="43"/>
                    <a:pt x="6" y="39"/>
                    <a:pt x="3" y="36"/>
                  </a:cubicBezTo>
                  <a:cubicBezTo>
                    <a:pt x="1" y="32"/>
                    <a:pt x="0" y="28"/>
                    <a:pt x="0" y="23"/>
                  </a:cubicBezTo>
                  <a:cubicBezTo>
                    <a:pt x="0" y="15"/>
                    <a:pt x="2" y="9"/>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7235DBE7-9C8E-4A39-B93C-90B4970974DE}"/>
              </a:ext>
            </a:extLst>
          </p:cNvPr>
          <p:cNvSpPr/>
          <p:nvPr/>
        </p:nvSpPr>
        <p:spPr>
          <a:xfrm>
            <a:off x="7064944" y="4424135"/>
            <a:ext cx="4811058"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Go to </a:t>
            </a:r>
            <a:r>
              <a:rPr kumimoji="0" lang="en-US" sz="1800" b="1"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24Slides.com/</a:t>
            </a:r>
            <a:r>
              <a:rPr kumimoji="0" lang="id-ID" sz="1800" b="1"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order </a:t>
            </a:r>
            <a:r>
              <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Open Sans Light"/>
                <a:cs typeface="Segoe UI" panose="020B0502040204020203" pitchFamily="34" charset="0"/>
                <a:sym typeface="Open Sans Light"/>
              </a:rPr>
              <a:t>to find out more</a:t>
            </a:r>
            <a:endParaRPr kumimoji="0" lang="en-US" sz="18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80648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xsOZgbh2gwZa1Nz_5BFAw"/>
</p:tagLst>
</file>

<file path=ppt/theme/theme1.xml><?xml version="1.0" encoding="utf-8"?>
<a:theme xmlns:a="http://schemas.openxmlformats.org/drawingml/2006/main" name="Tema de Offic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37</TotalTime>
  <Words>1513</Words>
  <Application>Microsoft Office PowerPoint</Application>
  <PresentationFormat>Widescreen</PresentationFormat>
  <Paragraphs>212</Paragraphs>
  <Slides>18</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pple-system</vt:lpstr>
      <vt:lpstr>Arial</vt:lpstr>
      <vt:lpstr>Calibri</vt:lpstr>
      <vt:lpstr>Calibri Light</vt:lpstr>
      <vt:lpstr>Segoe UI</vt:lpstr>
      <vt:lpstr>Segoe UI Light</vt:lpstr>
      <vt:lpstr>Tema de Office</vt:lpstr>
      <vt:lpstr>think-cell Slide</vt:lpstr>
      <vt:lpstr>Business Goals</vt:lpstr>
      <vt:lpstr>Our Team</vt:lpstr>
      <vt:lpstr>Projects</vt:lpstr>
      <vt:lpstr>Charts</vt:lpstr>
      <vt:lpstr>Testimoni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uzy Lukman</dc:creator>
  <cp:lastModifiedBy>Oishee Bhattacharyya</cp:lastModifiedBy>
  <cp:revision>53</cp:revision>
  <dcterms:created xsi:type="dcterms:W3CDTF">2017-03-29T09:23:02Z</dcterms:created>
  <dcterms:modified xsi:type="dcterms:W3CDTF">2024-04-07T12:44:25Z</dcterms:modified>
</cp:coreProperties>
</file>